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Override2.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ppt/theme/themeOverride3.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1"/>
  </p:notesMasterIdLst>
  <p:sldIdLst>
    <p:sldId id="474" r:id="rId5"/>
    <p:sldId id="911" r:id="rId6"/>
    <p:sldId id="923" r:id="rId7"/>
    <p:sldId id="925" r:id="rId8"/>
    <p:sldId id="924" r:id="rId9"/>
    <p:sldId id="920" r:id="rId10"/>
  </p:sldIdLst>
  <p:sldSz cx="11522075" cy="6484938"/>
  <p:notesSz cx="6769100" cy="9906000"/>
  <p:custDataLst>
    <p:tags r:id="rId1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athan Rader" initials="NR" lastIdx="35" clrIdx="0">
    <p:extLst>
      <p:ext uri="{19B8F6BF-5375-455C-9EA6-DF929625EA0E}">
        <p15:presenceInfo xmlns:p15="http://schemas.microsoft.com/office/powerpoint/2012/main" userId="Nathan Rader" providerId="None"/>
      </p:ext>
    </p:extLst>
  </p:cmAuthor>
  <p:cmAuthor id="2" name="Kisliuk, Adrian (ext)" initials="KA(" lastIdx="49" clrIdx="1">
    <p:extLst>
      <p:ext uri="{19B8F6BF-5375-455C-9EA6-DF929625EA0E}">
        <p15:presenceInfo xmlns:p15="http://schemas.microsoft.com/office/powerpoint/2012/main" userId="Kisliuk, Adrian (ext)" providerId="None"/>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E4E5"/>
    <a:srgbClr val="004750"/>
    <a:srgbClr val="00A8E6"/>
    <a:srgbClr val="FFC000"/>
    <a:srgbClr val="FF75BA"/>
    <a:srgbClr val="14AFE4"/>
    <a:srgbClr val="00A2B8"/>
    <a:srgbClr val="FF9A1E"/>
    <a:srgbClr val="D6A300"/>
    <a:srgbClr val="FF43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F8F230-9FD2-4072-A43E-878891742AFB}" v="725" dt="2021-06-21T11:57:55.031"/>
    <p1510:client id="{3DED399C-27D4-4AC9-8843-8FD65B0E5C65}" v="17" dt="2021-06-21T15:43:04.471"/>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102" y="558"/>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commentAuthors" Target="commentAuthors.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isliuk, Adrian (ext)" userId="S::adrian.kisliuk@external.t-systems.com::6e619ce3-2643-4cdf-9a13-b4c269650021" providerId="AD" clId="Web-{F51762FA-44D0-2226-05C6-CF12B2011CE6}"/>
    <pc:docChg chg="modSld">
      <pc:chgData name="Kisliuk, Adrian (ext)" userId="S::adrian.kisliuk@external.t-systems.com::6e619ce3-2643-4cdf-9a13-b4c269650021" providerId="AD" clId="Web-{F51762FA-44D0-2226-05C6-CF12B2011CE6}" dt="2021-04-12T19:11:41.759" v="4" actId="14100"/>
      <pc:docMkLst>
        <pc:docMk/>
      </pc:docMkLst>
      <pc:sldChg chg="addSp modSp">
        <pc:chgData name="Kisliuk, Adrian (ext)" userId="S::adrian.kisliuk@external.t-systems.com::6e619ce3-2643-4cdf-9a13-b4c269650021" providerId="AD" clId="Web-{F51762FA-44D0-2226-05C6-CF12B2011CE6}" dt="2021-04-12T19:11:41.759" v="4" actId="14100"/>
        <pc:sldMkLst>
          <pc:docMk/>
          <pc:sldMk cId="588479061" sldId="861"/>
        </pc:sldMkLst>
        <pc:cxnChg chg="add mod">
          <ac:chgData name="Kisliuk, Adrian (ext)" userId="S::adrian.kisliuk@external.t-systems.com::6e619ce3-2643-4cdf-9a13-b4c269650021" providerId="AD" clId="Web-{F51762FA-44D0-2226-05C6-CF12B2011CE6}" dt="2021-04-12T19:11:41.759" v="4" actId="14100"/>
          <ac:cxnSpMkLst>
            <pc:docMk/>
            <pc:sldMk cId="588479061" sldId="861"/>
            <ac:cxnSpMk id="32" creationId="{0D6B49F6-E755-4F2C-8504-4EA332BB6BAA}"/>
          </ac:cxnSpMkLst>
        </pc:cxnChg>
      </pc:sldChg>
    </pc:docChg>
  </pc:docChgLst>
  <pc:docChgLst>
    <pc:chgData name="Adrian Kisliuk" userId="81f189f0-3ed9-4f29-a7b1-770f7af93676" providerId="ADAL" clId="{483A45B6-D6D2-4A11-90BE-341F9E429650}"/>
    <pc:docChg chg="undo custSel addSld delSld modSld sldOrd">
      <pc:chgData name="Adrian Kisliuk" userId="81f189f0-3ed9-4f29-a7b1-770f7af93676" providerId="ADAL" clId="{483A45B6-D6D2-4A11-90BE-341F9E429650}" dt="2021-03-02T09:28:40.301" v="900" actId="20577"/>
      <pc:docMkLst>
        <pc:docMk/>
      </pc:docMkLst>
      <pc:sldChg chg="modSp mod">
        <pc:chgData name="Adrian Kisliuk" userId="81f189f0-3ed9-4f29-a7b1-770f7af93676" providerId="ADAL" clId="{483A45B6-D6D2-4A11-90BE-341F9E429650}" dt="2021-03-02T09:28:40.301" v="900" actId="20577"/>
        <pc:sldMkLst>
          <pc:docMk/>
          <pc:sldMk cId="3888384040" sldId="474"/>
        </pc:sldMkLst>
        <pc:spChg chg="mod">
          <ac:chgData name="Adrian Kisliuk" userId="81f189f0-3ed9-4f29-a7b1-770f7af93676" providerId="ADAL" clId="{483A45B6-D6D2-4A11-90BE-341F9E429650}" dt="2021-03-02T09:28:40.301" v="900" actId="20577"/>
          <ac:spMkLst>
            <pc:docMk/>
            <pc:sldMk cId="3888384040" sldId="474"/>
            <ac:spMk id="10" creationId="{00000000-0000-0000-0000-000000000000}"/>
          </ac:spMkLst>
        </pc:spChg>
      </pc:sldChg>
      <pc:sldChg chg="modSp mod">
        <pc:chgData name="Adrian Kisliuk" userId="81f189f0-3ed9-4f29-a7b1-770f7af93676" providerId="ADAL" clId="{483A45B6-D6D2-4A11-90BE-341F9E429650}" dt="2021-03-02T08:42:58.829" v="13" actId="2711"/>
        <pc:sldMkLst>
          <pc:docMk/>
          <pc:sldMk cId="2209464991" sldId="816"/>
        </pc:sldMkLst>
        <pc:spChg chg="mod">
          <ac:chgData name="Adrian Kisliuk" userId="81f189f0-3ed9-4f29-a7b1-770f7af93676" providerId="ADAL" clId="{483A45B6-D6D2-4A11-90BE-341F9E429650}" dt="2021-03-02T08:42:58.829" v="13" actId="2711"/>
          <ac:spMkLst>
            <pc:docMk/>
            <pc:sldMk cId="2209464991" sldId="816"/>
            <ac:spMk id="3" creationId="{00000000-0000-0000-0000-000000000000}"/>
          </ac:spMkLst>
        </pc:spChg>
      </pc:sldChg>
      <pc:sldChg chg="modSp mod">
        <pc:chgData name="Adrian Kisliuk" userId="81f189f0-3ed9-4f29-a7b1-770f7af93676" providerId="ADAL" clId="{483A45B6-D6D2-4A11-90BE-341F9E429650}" dt="2021-03-02T08:42:51.030" v="12" actId="2711"/>
        <pc:sldMkLst>
          <pc:docMk/>
          <pc:sldMk cId="3075530014" sldId="817"/>
        </pc:sldMkLst>
        <pc:spChg chg="mod">
          <ac:chgData name="Adrian Kisliuk" userId="81f189f0-3ed9-4f29-a7b1-770f7af93676" providerId="ADAL" clId="{483A45B6-D6D2-4A11-90BE-341F9E429650}" dt="2021-03-02T08:42:51.030" v="12" actId="2711"/>
          <ac:spMkLst>
            <pc:docMk/>
            <pc:sldMk cId="3075530014" sldId="817"/>
            <ac:spMk id="3" creationId="{15765966-5C73-4564-BEF2-375082945725}"/>
          </ac:spMkLst>
        </pc:spChg>
      </pc:sldChg>
      <pc:sldChg chg="modSp mod ord">
        <pc:chgData name="Adrian Kisliuk" userId="81f189f0-3ed9-4f29-a7b1-770f7af93676" providerId="ADAL" clId="{483A45B6-D6D2-4A11-90BE-341F9E429650}" dt="2021-03-02T09:19:00.730" v="429" actId="20577"/>
        <pc:sldMkLst>
          <pc:docMk/>
          <pc:sldMk cId="2509517720" sldId="820"/>
        </pc:sldMkLst>
        <pc:spChg chg="mod">
          <ac:chgData name="Adrian Kisliuk" userId="81f189f0-3ed9-4f29-a7b1-770f7af93676" providerId="ADAL" clId="{483A45B6-D6D2-4A11-90BE-341F9E429650}" dt="2021-03-02T08:41:53.292" v="7" actId="2711"/>
          <ac:spMkLst>
            <pc:docMk/>
            <pc:sldMk cId="2509517720" sldId="820"/>
            <ac:spMk id="3" creationId="{00000000-0000-0000-0000-000000000000}"/>
          </ac:spMkLst>
        </pc:spChg>
        <pc:spChg chg="mod">
          <ac:chgData name="Adrian Kisliuk" userId="81f189f0-3ed9-4f29-a7b1-770f7af93676" providerId="ADAL" clId="{483A45B6-D6D2-4A11-90BE-341F9E429650}" dt="2021-03-02T09:19:00.730" v="429" actId="20577"/>
          <ac:spMkLst>
            <pc:docMk/>
            <pc:sldMk cId="2509517720" sldId="820"/>
            <ac:spMk id="4" creationId="{00000000-0000-0000-0000-000000000000}"/>
          </ac:spMkLst>
        </pc:spChg>
        <pc:spChg chg="mod">
          <ac:chgData name="Adrian Kisliuk" userId="81f189f0-3ed9-4f29-a7b1-770f7af93676" providerId="ADAL" clId="{483A45B6-D6D2-4A11-90BE-341F9E429650}" dt="2021-03-02T08:42:03.744" v="9" actId="2711"/>
          <ac:spMkLst>
            <pc:docMk/>
            <pc:sldMk cId="2509517720" sldId="820"/>
            <ac:spMk id="11" creationId="{4F40012B-730E-4563-9DD9-41229AD9971E}"/>
          </ac:spMkLst>
        </pc:spChg>
      </pc:sldChg>
      <pc:sldChg chg="modSp mod">
        <pc:chgData name="Adrian Kisliuk" userId="81f189f0-3ed9-4f29-a7b1-770f7af93676" providerId="ADAL" clId="{483A45B6-D6D2-4A11-90BE-341F9E429650}" dt="2021-03-02T09:25:04.406" v="690" actId="20577"/>
        <pc:sldMkLst>
          <pc:docMk/>
          <pc:sldMk cId="1161844579" sldId="821"/>
        </pc:sldMkLst>
        <pc:spChg chg="mod">
          <ac:chgData name="Adrian Kisliuk" userId="81f189f0-3ed9-4f29-a7b1-770f7af93676" providerId="ADAL" clId="{483A45B6-D6D2-4A11-90BE-341F9E429650}" dt="2021-03-02T08:42:27.745" v="10" actId="2711"/>
          <ac:spMkLst>
            <pc:docMk/>
            <pc:sldMk cId="1161844579" sldId="821"/>
            <ac:spMk id="3" creationId="{00000000-0000-0000-0000-000000000000}"/>
          </ac:spMkLst>
        </pc:spChg>
        <pc:spChg chg="mod">
          <ac:chgData name="Adrian Kisliuk" userId="81f189f0-3ed9-4f29-a7b1-770f7af93676" providerId="ADAL" clId="{483A45B6-D6D2-4A11-90BE-341F9E429650}" dt="2021-03-02T09:02:57.125" v="194" actId="403"/>
          <ac:spMkLst>
            <pc:docMk/>
            <pc:sldMk cId="1161844579" sldId="821"/>
            <ac:spMk id="9" creationId="{D6E18E4B-4E9B-4CFD-AF88-29C3A515D1B4}"/>
          </ac:spMkLst>
        </pc:spChg>
        <pc:spChg chg="mod">
          <ac:chgData name="Adrian Kisliuk" userId="81f189f0-3ed9-4f29-a7b1-770f7af93676" providerId="ADAL" clId="{483A45B6-D6D2-4A11-90BE-341F9E429650}" dt="2021-03-02T09:25:04.406" v="690" actId="20577"/>
          <ac:spMkLst>
            <pc:docMk/>
            <pc:sldMk cId="1161844579" sldId="821"/>
            <ac:spMk id="18" creationId="{A4FA0F6C-1044-40F3-A415-376719684F27}"/>
          </ac:spMkLst>
        </pc:spChg>
      </pc:sldChg>
      <pc:sldChg chg="addSp delSp modSp mod">
        <pc:chgData name="Adrian Kisliuk" userId="81f189f0-3ed9-4f29-a7b1-770f7af93676" providerId="ADAL" clId="{483A45B6-D6D2-4A11-90BE-341F9E429650}" dt="2021-03-02T09:18:02.888" v="415" actId="478"/>
        <pc:sldMkLst>
          <pc:docMk/>
          <pc:sldMk cId="259345786" sldId="822"/>
        </pc:sldMkLst>
        <pc:spChg chg="mod">
          <ac:chgData name="Adrian Kisliuk" userId="81f189f0-3ed9-4f29-a7b1-770f7af93676" providerId="ADAL" clId="{483A45B6-D6D2-4A11-90BE-341F9E429650}" dt="2021-03-02T08:41:46.519" v="6" actId="2711"/>
          <ac:spMkLst>
            <pc:docMk/>
            <pc:sldMk cId="259345786" sldId="822"/>
            <ac:spMk id="3" creationId="{5CD78C9C-FC67-400A-AB19-9FAF630ADB32}"/>
          </ac:spMkLst>
        </pc:spChg>
        <pc:spChg chg="mod">
          <ac:chgData name="Adrian Kisliuk" userId="81f189f0-3ed9-4f29-a7b1-770f7af93676" providerId="ADAL" clId="{483A45B6-D6D2-4A11-90BE-341F9E429650}" dt="2021-03-02T09:17:58.078" v="414" actId="20577"/>
          <ac:spMkLst>
            <pc:docMk/>
            <pc:sldMk cId="259345786" sldId="822"/>
            <ac:spMk id="5" creationId="{FC298125-D680-4F92-8081-A588B2F8C85A}"/>
          </ac:spMkLst>
        </pc:spChg>
        <pc:spChg chg="del">
          <ac:chgData name="Adrian Kisliuk" userId="81f189f0-3ed9-4f29-a7b1-770f7af93676" providerId="ADAL" clId="{483A45B6-D6D2-4A11-90BE-341F9E429650}" dt="2021-03-02T09:18:02.888" v="415" actId="478"/>
          <ac:spMkLst>
            <pc:docMk/>
            <pc:sldMk cId="259345786" sldId="822"/>
            <ac:spMk id="6" creationId="{3A6602AB-52F5-4AA7-B758-5250A46B431C}"/>
          </ac:spMkLst>
        </pc:spChg>
        <pc:picChg chg="del">
          <ac:chgData name="Adrian Kisliuk" userId="81f189f0-3ed9-4f29-a7b1-770f7af93676" providerId="ADAL" clId="{483A45B6-D6D2-4A11-90BE-341F9E429650}" dt="2021-03-02T09:17:11.788" v="409" actId="478"/>
          <ac:picMkLst>
            <pc:docMk/>
            <pc:sldMk cId="259345786" sldId="822"/>
            <ac:picMk id="4" creationId="{B38C7461-3E12-4A25-836A-5CD4C410ADFA}"/>
          </ac:picMkLst>
        </pc:picChg>
        <pc:picChg chg="add mod">
          <ac:chgData name="Adrian Kisliuk" userId="81f189f0-3ed9-4f29-a7b1-770f7af93676" providerId="ADAL" clId="{483A45B6-D6D2-4A11-90BE-341F9E429650}" dt="2021-03-02T09:17:20.122" v="412" actId="1076"/>
          <ac:picMkLst>
            <pc:docMk/>
            <pc:sldMk cId="259345786" sldId="822"/>
            <ac:picMk id="7" creationId="{3ACEBED3-CD35-4DC6-B904-D7E4B33F5209}"/>
          </ac:picMkLst>
        </pc:picChg>
      </pc:sldChg>
      <pc:sldChg chg="modSp mod">
        <pc:chgData name="Adrian Kisliuk" userId="81f189f0-3ed9-4f29-a7b1-770f7af93676" providerId="ADAL" clId="{483A45B6-D6D2-4A11-90BE-341F9E429650}" dt="2021-03-02T08:42:42.767" v="11" actId="2711"/>
        <pc:sldMkLst>
          <pc:docMk/>
          <pc:sldMk cId="3175708426" sldId="823"/>
        </pc:sldMkLst>
        <pc:spChg chg="mod">
          <ac:chgData name="Adrian Kisliuk" userId="81f189f0-3ed9-4f29-a7b1-770f7af93676" providerId="ADAL" clId="{483A45B6-D6D2-4A11-90BE-341F9E429650}" dt="2021-03-02T08:42:42.767" v="11" actId="2711"/>
          <ac:spMkLst>
            <pc:docMk/>
            <pc:sldMk cId="3175708426" sldId="823"/>
            <ac:spMk id="3" creationId="{5CD78C9C-FC67-400A-AB19-9FAF630ADB32}"/>
          </ac:spMkLst>
        </pc:spChg>
      </pc:sldChg>
      <pc:sldChg chg="del">
        <pc:chgData name="Adrian Kisliuk" userId="81f189f0-3ed9-4f29-a7b1-770f7af93676" providerId="ADAL" clId="{483A45B6-D6D2-4A11-90BE-341F9E429650}" dt="2021-03-02T08:40:06.898" v="0" actId="47"/>
        <pc:sldMkLst>
          <pc:docMk/>
          <pc:sldMk cId="2969731555" sldId="824"/>
        </pc:sldMkLst>
      </pc:sldChg>
      <pc:sldChg chg="del">
        <pc:chgData name="Adrian Kisliuk" userId="81f189f0-3ed9-4f29-a7b1-770f7af93676" providerId="ADAL" clId="{483A45B6-D6D2-4A11-90BE-341F9E429650}" dt="2021-03-02T08:40:07.772" v="1" actId="47"/>
        <pc:sldMkLst>
          <pc:docMk/>
          <pc:sldMk cId="2172830039" sldId="825"/>
        </pc:sldMkLst>
      </pc:sldChg>
      <pc:sldChg chg="modSp mod ord">
        <pc:chgData name="Adrian Kisliuk" userId="81f189f0-3ed9-4f29-a7b1-770f7af93676" providerId="ADAL" clId="{483A45B6-D6D2-4A11-90BE-341F9E429650}" dt="2021-03-02T08:58:50.629" v="113"/>
        <pc:sldMkLst>
          <pc:docMk/>
          <pc:sldMk cId="1692962519" sldId="826"/>
        </pc:sldMkLst>
        <pc:spChg chg="mod">
          <ac:chgData name="Adrian Kisliuk" userId="81f189f0-3ed9-4f29-a7b1-770f7af93676" providerId="ADAL" clId="{483A45B6-D6D2-4A11-90BE-341F9E429650}" dt="2021-03-02T08:40:37.328" v="3" actId="2711"/>
          <ac:spMkLst>
            <pc:docMk/>
            <pc:sldMk cId="1692962519" sldId="826"/>
            <ac:spMk id="3" creationId="{5CD78C9C-FC67-400A-AB19-9FAF630ADB32}"/>
          </ac:spMkLst>
        </pc:spChg>
      </pc:sldChg>
      <pc:sldChg chg="add del">
        <pc:chgData name="Adrian Kisliuk" userId="81f189f0-3ed9-4f29-a7b1-770f7af93676" providerId="ADAL" clId="{483A45B6-D6D2-4A11-90BE-341F9E429650}" dt="2021-03-02T08:41:23.615" v="5" actId="47"/>
        <pc:sldMkLst>
          <pc:docMk/>
          <pc:sldMk cId="1829875123" sldId="827"/>
        </pc:sldMkLst>
      </pc:sldChg>
      <pc:sldChg chg="addSp delSp modSp add mod">
        <pc:chgData name="Adrian Kisliuk" userId="81f189f0-3ed9-4f29-a7b1-770f7af93676" providerId="ADAL" clId="{483A45B6-D6D2-4A11-90BE-341F9E429650}" dt="2021-03-02T09:24:05.911" v="667" actId="1076"/>
        <pc:sldMkLst>
          <pc:docMk/>
          <pc:sldMk cId="3423490071" sldId="827"/>
        </pc:sldMkLst>
        <pc:spChg chg="mod">
          <ac:chgData name="Adrian Kisliuk" userId="81f189f0-3ed9-4f29-a7b1-770f7af93676" providerId="ADAL" clId="{483A45B6-D6D2-4A11-90BE-341F9E429650}" dt="2021-03-02T09:06:10.205" v="241" actId="20577"/>
          <ac:spMkLst>
            <pc:docMk/>
            <pc:sldMk cId="3423490071" sldId="827"/>
            <ac:spMk id="3" creationId="{5CD78C9C-FC67-400A-AB19-9FAF630ADB32}"/>
          </ac:spMkLst>
        </pc:spChg>
        <pc:spChg chg="mod">
          <ac:chgData name="Adrian Kisliuk" userId="81f189f0-3ed9-4f29-a7b1-770f7af93676" providerId="ADAL" clId="{483A45B6-D6D2-4A11-90BE-341F9E429650}" dt="2021-03-02T09:07:26.544" v="336" actId="20577"/>
          <ac:spMkLst>
            <pc:docMk/>
            <pc:sldMk cId="3423490071" sldId="827"/>
            <ac:spMk id="5" creationId="{FC298125-D680-4F92-8081-A588B2F8C85A}"/>
          </ac:spMkLst>
        </pc:spChg>
        <pc:spChg chg="add mod">
          <ac:chgData name="Adrian Kisliuk" userId="81f189f0-3ed9-4f29-a7b1-770f7af93676" providerId="ADAL" clId="{483A45B6-D6D2-4A11-90BE-341F9E429650}" dt="2021-03-02T09:09:53.583" v="408" actId="14100"/>
          <ac:spMkLst>
            <pc:docMk/>
            <pc:sldMk cId="3423490071" sldId="827"/>
            <ac:spMk id="6" creationId="{C28389AB-B4E9-4828-810A-28B58C47BD5B}"/>
          </ac:spMkLst>
        </pc:spChg>
        <pc:spChg chg="add del mod">
          <ac:chgData name="Adrian Kisliuk" userId="81f189f0-3ed9-4f29-a7b1-770f7af93676" providerId="ADAL" clId="{483A45B6-D6D2-4A11-90BE-341F9E429650}" dt="2021-03-02T09:21:09.704" v="576" actId="478"/>
          <ac:spMkLst>
            <pc:docMk/>
            <pc:sldMk cId="3423490071" sldId="827"/>
            <ac:spMk id="7" creationId="{3B392E76-E206-438E-BF77-1090E90F360E}"/>
          </ac:spMkLst>
        </pc:spChg>
        <pc:spChg chg="add del mod">
          <ac:chgData name="Adrian Kisliuk" userId="81f189f0-3ed9-4f29-a7b1-770f7af93676" providerId="ADAL" clId="{483A45B6-D6D2-4A11-90BE-341F9E429650}" dt="2021-03-02T09:23:20.856" v="663" actId="478"/>
          <ac:spMkLst>
            <pc:docMk/>
            <pc:sldMk cId="3423490071" sldId="827"/>
            <ac:spMk id="8" creationId="{87B9E8F0-1980-4CFB-9825-1C5954DFF332}"/>
          </ac:spMkLst>
        </pc:spChg>
        <pc:spChg chg="add del mod">
          <ac:chgData name="Adrian Kisliuk" userId="81f189f0-3ed9-4f29-a7b1-770f7af93676" providerId="ADAL" clId="{483A45B6-D6D2-4A11-90BE-341F9E429650}" dt="2021-03-02T09:23:27.423" v="664" actId="478"/>
          <ac:spMkLst>
            <pc:docMk/>
            <pc:sldMk cId="3423490071" sldId="827"/>
            <ac:spMk id="9" creationId="{1DFA386F-4A91-47AE-BA1D-5E0C5E17F66E}"/>
          </ac:spMkLst>
        </pc:spChg>
        <pc:spChg chg="add del mod">
          <ac:chgData name="Adrian Kisliuk" userId="81f189f0-3ed9-4f29-a7b1-770f7af93676" providerId="ADAL" clId="{483A45B6-D6D2-4A11-90BE-341F9E429650}" dt="2021-03-02T09:23:29.672" v="665" actId="478"/>
          <ac:spMkLst>
            <pc:docMk/>
            <pc:sldMk cId="3423490071" sldId="827"/>
            <ac:spMk id="10" creationId="{7FDE7FFE-9516-433D-ADF8-DFCD292947AC}"/>
          </ac:spMkLst>
        </pc:spChg>
        <pc:spChg chg="add mod">
          <ac:chgData name="Adrian Kisliuk" userId="81f189f0-3ed9-4f29-a7b1-770f7af93676" providerId="ADAL" clId="{483A45B6-D6D2-4A11-90BE-341F9E429650}" dt="2021-03-02T09:22:09.503" v="577" actId="1076"/>
          <ac:spMkLst>
            <pc:docMk/>
            <pc:sldMk cId="3423490071" sldId="827"/>
            <ac:spMk id="11" creationId="{663DCA79-14CD-4BB2-A65E-576EBF1DF34A}"/>
          </ac:spMkLst>
        </pc:spChg>
        <pc:spChg chg="add mod">
          <ac:chgData name="Adrian Kisliuk" userId="81f189f0-3ed9-4f29-a7b1-770f7af93676" providerId="ADAL" clId="{483A45B6-D6D2-4A11-90BE-341F9E429650}" dt="2021-03-02T09:24:05.911" v="667" actId="1076"/>
          <ac:spMkLst>
            <pc:docMk/>
            <pc:sldMk cId="3423490071" sldId="827"/>
            <ac:spMk id="12" creationId="{07993F73-5B48-4E3A-8307-CA4FAAF12CE6}"/>
          </ac:spMkLst>
        </pc:spChg>
        <pc:spChg chg="add mod">
          <ac:chgData name="Adrian Kisliuk" userId="81f189f0-3ed9-4f29-a7b1-770f7af93676" providerId="ADAL" clId="{483A45B6-D6D2-4A11-90BE-341F9E429650}" dt="2021-03-02T09:24:05.911" v="667" actId="1076"/>
          <ac:spMkLst>
            <pc:docMk/>
            <pc:sldMk cId="3423490071" sldId="827"/>
            <ac:spMk id="13" creationId="{F46F9EF4-A3CA-4981-A6BC-80F80427C81F}"/>
          </ac:spMkLst>
        </pc:spChg>
      </pc:sldChg>
      <pc:sldChg chg="add ord">
        <pc:chgData name="Adrian Kisliuk" userId="81f189f0-3ed9-4f29-a7b1-770f7af93676" providerId="ADAL" clId="{483A45B6-D6D2-4A11-90BE-341F9E429650}" dt="2021-03-02T09:19:04.555" v="431"/>
        <pc:sldMkLst>
          <pc:docMk/>
          <pc:sldMk cId="346040756" sldId="828"/>
        </pc:sldMkLst>
      </pc:sldChg>
      <pc:sldChg chg="delSp modSp add mod">
        <pc:chgData name="Adrian Kisliuk" userId="81f189f0-3ed9-4f29-a7b1-770f7af93676" providerId="ADAL" clId="{483A45B6-D6D2-4A11-90BE-341F9E429650}" dt="2021-03-02T09:23:05.943" v="662" actId="1076"/>
        <pc:sldMkLst>
          <pc:docMk/>
          <pc:sldMk cId="2411429876" sldId="829"/>
        </pc:sldMkLst>
        <pc:spChg chg="mod">
          <ac:chgData name="Adrian Kisliuk" userId="81f189f0-3ed9-4f29-a7b1-770f7af93676" providerId="ADAL" clId="{483A45B6-D6D2-4A11-90BE-341F9E429650}" dt="2021-03-02T09:22:47.710" v="613" actId="20577"/>
          <ac:spMkLst>
            <pc:docMk/>
            <pc:sldMk cId="2411429876" sldId="829"/>
            <ac:spMk id="3" creationId="{5CD78C9C-FC67-400A-AB19-9FAF630ADB32}"/>
          </ac:spMkLst>
        </pc:spChg>
        <pc:spChg chg="mod">
          <ac:chgData name="Adrian Kisliuk" userId="81f189f0-3ed9-4f29-a7b1-770f7af93676" providerId="ADAL" clId="{483A45B6-D6D2-4A11-90BE-341F9E429650}" dt="2021-03-02T09:23:05.943" v="662" actId="1076"/>
          <ac:spMkLst>
            <pc:docMk/>
            <pc:sldMk cId="2411429876" sldId="829"/>
            <ac:spMk id="5" creationId="{FC298125-D680-4F92-8081-A588B2F8C85A}"/>
          </ac:spMkLst>
        </pc:spChg>
        <pc:picChg chg="del">
          <ac:chgData name="Adrian Kisliuk" userId="81f189f0-3ed9-4f29-a7b1-770f7af93676" providerId="ADAL" clId="{483A45B6-D6D2-4A11-90BE-341F9E429650}" dt="2021-03-02T09:22:50.055" v="614" actId="478"/>
          <ac:picMkLst>
            <pc:docMk/>
            <pc:sldMk cId="2411429876" sldId="829"/>
            <ac:picMk id="7" creationId="{3ACEBED3-CD35-4DC6-B904-D7E4B33F5209}"/>
          </ac:picMkLst>
        </pc:picChg>
      </pc:sldChg>
      <pc:sldChg chg="delSp modSp add mod">
        <pc:chgData name="Adrian Kisliuk" userId="81f189f0-3ed9-4f29-a7b1-770f7af93676" providerId="ADAL" clId="{483A45B6-D6D2-4A11-90BE-341F9E429650}" dt="2021-03-02T09:28:10.454" v="898" actId="478"/>
        <pc:sldMkLst>
          <pc:docMk/>
          <pc:sldMk cId="3742493326" sldId="830"/>
        </pc:sldMkLst>
        <pc:spChg chg="mod">
          <ac:chgData name="Adrian Kisliuk" userId="81f189f0-3ed9-4f29-a7b1-770f7af93676" providerId="ADAL" clId="{483A45B6-D6D2-4A11-90BE-341F9E429650}" dt="2021-03-02T09:26:56.454" v="856" actId="20577"/>
          <ac:spMkLst>
            <pc:docMk/>
            <pc:sldMk cId="3742493326" sldId="830"/>
            <ac:spMk id="9" creationId="{D6E18E4B-4E9B-4CFD-AF88-29C3A515D1B4}"/>
          </ac:spMkLst>
        </pc:spChg>
        <pc:spChg chg="del">
          <ac:chgData name="Adrian Kisliuk" userId="81f189f0-3ed9-4f29-a7b1-770f7af93676" providerId="ADAL" clId="{483A45B6-D6D2-4A11-90BE-341F9E429650}" dt="2021-03-02T09:27:55.778" v="897" actId="478"/>
          <ac:spMkLst>
            <pc:docMk/>
            <pc:sldMk cId="3742493326" sldId="830"/>
            <ac:spMk id="15" creationId="{438E61C8-3310-417E-857B-5FE9009B583C}"/>
          </ac:spMkLst>
        </pc:spChg>
        <pc:spChg chg="mod">
          <ac:chgData name="Adrian Kisliuk" userId="81f189f0-3ed9-4f29-a7b1-770f7af93676" providerId="ADAL" clId="{483A45B6-D6D2-4A11-90BE-341F9E429650}" dt="2021-03-02T09:27:18.332" v="895" actId="20577"/>
          <ac:spMkLst>
            <pc:docMk/>
            <pc:sldMk cId="3742493326" sldId="830"/>
            <ac:spMk id="17" creationId="{28DC8D71-92A3-47AA-97BB-5BCFF31B461A}"/>
          </ac:spMkLst>
        </pc:spChg>
        <pc:spChg chg="del">
          <ac:chgData name="Adrian Kisliuk" userId="81f189f0-3ed9-4f29-a7b1-770f7af93676" providerId="ADAL" clId="{483A45B6-D6D2-4A11-90BE-341F9E429650}" dt="2021-03-02T09:27:48.988" v="896" actId="478"/>
          <ac:spMkLst>
            <pc:docMk/>
            <pc:sldMk cId="3742493326" sldId="830"/>
            <ac:spMk id="18" creationId="{A4FA0F6C-1044-40F3-A415-376719684F27}"/>
          </ac:spMkLst>
        </pc:spChg>
        <pc:cxnChg chg="del">
          <ac:chgData name="Adrian Kisliuk" userId="81f189f0-3ed9-4f29-a7b1-770f7af93676" providerId="ADAL" clId="{483A45B6-D6D2-4A11-90BE-341F9E429650}" dt="2021-03-02T09:28:10.454" v="898" actId="478"/>
          <ac:cxnSpMkLst>
            <pc:docMk/>
            <pc:sldMk cId="3742493326" sldId="830"/>
            <ac:cxnSpMk id="19" creationId="{FDD861AD-2623-4DFE-BE15-0320BD4DED87}"/>
          </ac:cxnSpMkLst>
        </pc:cxnChg>
      </pc:sldChg>
    </pc:docChg>
  </pc:docChgLst>
  <pc:docChgLst>
    <pc:chgData name="Kisliuk, Adrian (ext)" userId="6e619ce3-2643-4cdf-9a13-b4c269650021" providerId="ADAL" clId="{20FE0EF6-E23A-4383-9073-7BA0063BC6E2}"/>
    <pc:docChg chg="undo redo custSel addSld delSld modSld sldOrd">
      <pc:chgData name="Kisliuk, Adrian (ext)" userId="6e619ce3-2643-4cdf-9a13-b4c269650021" providerId="ADAL" clId="{20FE0EF6-E23A-4383-9073-7BA0063BC6E2}" dt="2021-04-12T11:59:48.112" v="3474" actId="1076"/>
      <pc:docMkLst>
        <pc:docMk/>
      </pc:docMkLst>
      <pc:sldChg chg="modSp mod">
        <pc:chgData name="Kisliuk, Adrian (ext)" userId="6e619ce3-2643-4cdf-9a13-b4c269650021" providerId="ADAL" clId="{20FE0EF6-E23A-4383-9073-7BA0063BC6E2}" dt="2021-04-12T10:45:42.370" v="1710" actId="404"/>
        <pc:sldMkLst>
          <pc:docMk/>
          <pc:sldMk cId="3888384040" sldId="474"/>
        </pc:sldMkLst>
        <pc:spChg chg="mod">
          <ac:chgData name="Kisliuk, Adrian (ext)" userId="6e619ce3-2643-4cdf-9a13-b4c269650021" providerId="ADAL" clId="{20FE0EF6-E23A-4383-9073-7BA0063BC6E2}" dt="2021-04-12T10:45:42.370" v="1710" actId="404"/>
          <ac:spMkLst>
            <pc:docMk/>
            <pc:sldMk cId="3888384040" sldId="474"/>
            <ac:spMk id="10" creationId="{00000000-0000-0000-0000-000000000000}"/>
          </ac:spMkLst>
        </pc:spChg>
      </pc:sldChg>
      <pc:sldChg chg="mod modTransition modShow">
        <pc:chgData name="Kisliuk, Adrian (ext)" userId="6e619ce3-2643-4cdf-9a13-b4c269650021" providerId="ADAL" clId="{20FE0EF6-E23A-4383-9073-7BA0063BC6E2}" dt="2021-04-12T10:45:28.822" v="1709"/>
        <pc:sldMkLst>
          <pc:docMk/>
          <pc:sldMk cId="2509517720" sldId="820"/>
        </pc:sldMkLst>
      </pc:sldChg>
      <pc:sldChg chg="addSp delSp modSp mod">
        <pc:chgData name="Kisliuk, Adrian (ext)" userId="6e619ce3-2643-4cdf-9a13-b4c269650021" providerId="ADAL" clId="{20FE0EF6-E23A-4383-9073-7BA0063BC6E2}" dt="2021-04-12T09:48:54.343" v="66"/>
        <pc:sldMkLst>
          <pc:docMk/>
          <pc:sldMk cId="692313280" sldId="839"/>
        </pc:sldMkLst>
        <pc:spChg chg="mod">
          <ac:chgData name="Kisliuk, Adrian (ext)" userId="6e619ce3-2643-4cdf-9a13-b4c269650021" providerId="ADAL" clId="{20FE0EF6-E23A-4383-9073-7BA0063BC6E2}" dt="2021-04-12T09:48:54.304" v="27" actId="948"/>
          <ac:spMkLst>
            <pc:docMk/>
            <pc:sldMk cId="692313280" sldId="839"/>
            <ac:spMk id="4" creationId="{C32F903F-A4E8-491F-8C7C-2288947BD34E}"/>
          </ac:spMkLst>
        </pc:spChg>
        <pc:spChg chg="add del mod modVis">
          <ac:chgData name="Kisliuk, Adrian (ext)" userId="6e619ce3-2643-4cdf-9a13-b4c269650021" providerId="ADAL" clId="{20FE0EF6-E23A-4383-9073-7BA0063BC6E2}" dt="2021-04-12T09:48:54.341" v="64"/>
          <ac:spMkLst>
            <pc:docMk/>
            <pc:sldMk cId="692313280" sldId="839"/>
            <ac:spMk id="5" creationId="{65B8FD5F-86A7-4118-9B2A-DC1709C62038}"/>
          </ac:spMkLst>
        </pc:spChg>
        <pc:graphicFrameChg chg="mod">
          <ac:chgData name="Kisliuk, Adrian (ext)" userId="6e619ce3-2643-4cdf-9a13-b4c269650021" providerId="ADAL" clId="{20FE0EF6-E23A-4383-9073-7BA0063BC6E2}" dt="2021-04-12T09:48:54.343" v="66"/>
          <ac:graphicFrameMkLst>
            <pc:docMk/>
            <pc:sldMk cId="692313280" sldId="839"/>
            <ac:graphicFrameMk id="7" creationId="{5660D7B9-2AFE-459A-88CF-B12E9607ECF2}"/>
          </ac:graphicFrameMkLst>
        </pc:graphicFrameChg>
      </pc:sldChg>
      <pc:sldChg chg="addSp modSp mod">
        <pc:chgData name="Kisliuk, Adrian (ext)" userId="6e619ce3-2643-4cdf-9a13-b4c269650021" providerId="ADAL" clId="{20FE0EF6-E23A-4383-9073-7BA0063BC6E2}" dt="2021-04-12T09:48:37.907" v="25" actId="113"/>
        <pc:sldMkLst>
          <pc:docMk/>
          <pc:sldMk cId="3131407806" sldId="845"/>
        </pc:sldMkLst>
        <pc:spChg chg="mod">
          <ac:chgData name="Kisliuk, Adrian (ext)" userId="6e619ce3-2643-4cdf-9a13-b4c269650021" providerId="ADAL" clId="{20FE0EF6-E23A-4383-9073-7BA0063BC6E2}" dt="2021-04-12T09:48:37.907" v="25" actId="113"/>
          <ac:spMkLst>
            <pc:docMk/>
            <pc:sldMk cId="3131407806" sldId="845"/>
            <ac:spMk id="2" creationId="{9F7B6424-8ABE-4501-9938-BBDF5E5441F2}"/>
          </ac:spMkLst>
        </pc:spChg>
        <pc:graphicFrameChg chg="add mod ord modVis">
          <ac:chgData name="Kisliuk, Adrian (ext)" userId="6e619ce3-2643-4cdf-9a13-b4c269650021" providerId="ADAL" clId="{20FE0EF6-E23A-4383-9073-7BA0063BC6E2}" dt="2021-04-12T09:48:37.904" v="23" actId="14100"/>
          <ac:graphicFrameMkLst>
            <pc:docMk/>
            <pc:sldMk cId="3131407806" sldId="845"/>
            <ac:graphicFrameMk id="4" creationId="{9D8C22B9-B12B-4AD7-8B73-F2963D553C92}"/>
          </ac:graphicFrameMkLst>
        </pc:graphicFrameChg>
      </pc:sldChg>
      <pc:sldChg chg="addSp modSp mod">
        <pc:chgData name="Kisliuk, Adrian (ext)" userId="6e619ce3-2643-4cdf-9a13-b4c269650021" providerId="ADAL" clId="{20FE0EF6-E23A-4383-9073-7BA0063BC6E2}" dt="2021-04-12T09:51:48.404" v="114" actId="20577"/>
        <pc:sldMkLst>
          <pc:docMk/>
          <pc:sldMk cId="1129299907" sldId="848"/>
        </pc:sldMkLst>
        <pc:spChg chg="add mod">
          <ac:chgData name="Kisliuk, Adrian (ext)" userId="6e619ce3-2643-4cdf-9a13-b4c269650021" providerId="ADAL" clId="{20FE0EF6-E23A-4383-9073-7BA0063BC6E2}" dt="2021-04-12T09:51:48.404" v="114" actId="20577"/>
          <ac:spMkLst>
            <pc:docMk/>
            <pc:sldMk cId="1129299907" sldId="848"/>
            <ac:spMk id="6" creationId="{FA7C72A2-2887-47CB-803A-C612D3F4BD37}"/>
          </ac:spMkLst>
        </pc:spChg>
      </pc:sldChg>
      <pc:sldChg chg="addSp delSp modSp add mod">
        <pc:chgData name="Kisliuk, Adrian (ext)" userId="6e619ce3-2643-4cdf-9a13-b4c269650021" providerId="ADAL" clId="{20FE0EF6-E23A-4383-9073-7BA0063BC6E2}" dt="2021-04-12T11:20:50.190" v="2935" actId="1076"/>
        <pc:sldMkLst>
          <pc:docMk/>
          <pc:sldMk cId="1627132099" sldId="849"/>
        </pc:sldMkLst>
        <pc:spChg chg="mod">
          <ac:chgData name="Kisliuk, Adrian (ext)" userId="6e619ce3-2643-4cdf-9a13-b4c269650021" providerId="ADAL" clId="{20FE0EF6-E23A-4383-9073-7BA0063BC6E2}" dt="2021-04-12T10:14:49.177" v="1341" actId="948"/>
          <ac:spMkLst>
            <pc:docMk/>
            <pc:sldMk cId="1627132099" sldId="849"/>
            <ac:spMk id="2" creationId="{DE936FAF-2E76-49E3-A26B-EE542092B6EF}"/>
          </ac:spMkLst>
        </pc:spChg>
        <pc:spChg chg="add del">
          <ac:chgData name="Kisliuk, Adrian (ext)" userId="6e619ce3-2643-4cdf-9a13-b4c269650021" providerId="ADAL" clId="{20FE0EF6-E23A-4383-9073-7BA0063BC6E2}" dt="2021-04-12T10:06:48.692" v="249" actId="478"/>
          <ac:spMkLst>
            <pc:docMk/>
            <pc:sldMk cId="1627132099" sldId="849"/>
            <ac:spMk id="7" creationId="{FAF33953-BB45-4B3C-8F18-8F8167379D1B}"/>
          </ac:spMkLst>
        </pc:spChg>
        <pc:spChg chg="add del mod modVis">
          <ac:chgData name="Kisliuk, Adrian (ext)" userId="6e619ce3-2643-4cdf-9a13-b4c269650021" providerId="ADAL" clId="{20FE0EF6-E23A-4383-9073-7BA0063BC6E2}" dt="2021-04-12T10:13:20.835" v="346"/>
          <ac:spMkLst>
            <pc:docMk/>
            <pc:sldMk cId="1627132099" sldId="849"/>
            <ac:spMk id="8" creationId="{EFB1C2FF-07AA-4F2A-94A3-D437BA786A34}"/>
          </ac:spMkLst>
        </pc:spChg>
        <pc:spChg chg="add del">
          <ac:chgData name="Kisliuk, Adrian (ext)" userId="6e619ce3-2643-4cdf-9a13-b4c269650021" providerId="ADAL" clId="{20FE0EF6-E23A-4383-9073-7BA0063BC6E2}" dt="2021-04-12T10:03:30.951" v="205" actId="478"/>
          <ac:spMkLst>
            <pc:docMk/>
            <pc:sldMk cId="1627132099" sldId="849"/>
            <ac:spMk id="9" creationId="{D6E18E4B-4E9B-4CFD-AF88-29C3A515D1B4}"/>
          </ac:spMkLst>
        </pc:spChg>
        <pc:spChg chg="add del mod modVis">
          <ac:chgData name="Kisliuk, Adrian (ext)" userId="6e619ce3-2643-4cdf-9a13-b4c269650021" providerId="ADAL" clId="{20FE0EF6-E23A-4383-9073-7BA0063BC6E2}" dt="2021-04-12T10:13:22.473" v="388"/>
          <ac:spMkLst>
            <pc:docMk/>
            <pc:sldMk cId="1627132099" sldId="849"/>
            <ac:spMk id="11" creationId="{F68D4D42-D475-4857-814B-1090112B72F6}"/>
          </ac:spMkLst>
        </pc:spChg>
        <pc:spChg chg="add del mod">
          <ac:chgData name="Kisliuk, Adrian (ext)" userId="6e619ce3-2643-4cdf-9a13-b4c269650021" providerId="ADAL" clId="{20FE0EF6-E23A-4383-9073-7BA0063BC6E2}" dt="2021-04-12T11:20:24.304" v="2928" actId="21"/>
          <ac:spMkLst>
            <pc:docMk/>
            <pc:sldMk cId="1627132099" sldId="849"/>
            <ac:spMk id="12" creationId="{E0DE1F06-906B-415C-A63B-561D4ACC6153}"/>
          </ac:spMkLst>
        </pc:spChg>
        <pc:spChg chg="add del mod">
          <ac:chgData name="Kisliuk, Adrian (ext)" userId="6e619ce3-2643-4cdf-9a13-b4c269650021" providerId="ADAL" clId="{20FE0EF6-E23A-4383-9073-7BA0063BC6E2}" dt="2021-04-12T10:05:30.096" v="233" actId="478"/>
          <ac:spMkLst>
            <pc:docMk/>
            <pc:sldMk cId="1627132099" sldId="849"/>
            <ac:spMk id="13" creationId="{7E88D781-EED1-43E2-BC62-F40E671949CB}"/>
          </ac:spMkLst>
        </pc:spChg>
        <pc:spChg chg="add del mod modVis">
          <ac:chgData name="Kisliuk, Adrian (ext)" userId="6e619ce3-2643-4cdf-9a13-b4c269650021" providerId="ADAL" clId="{20FE0EF6-E23A-4383-9073-7BA0063BC6E2}" dt="2021-04-12T10:13:37.382" v="437"/>
          <ac:spMkLst>
            <pc:docMk/>
            <pc:sldMk cId="1627132099" sldId="849"/>
            <ac:spMk id="14" creationId="{B8B9D785-5808-4629-B5B3-0EDFD359F514}"/>
          </ac:spMkLst>
        </pc:spChg>
        <pc:spChg chg="add del">
          <ac:chgData name="Kisliuk, Adrian (ext)" userId="6e619ce3-2643-4cdf-9a13-b4c269650021" providerId="ADAL" clId="{20FE0EF6-E23A-4383-9073-7BA0063BC6E2}" dt="2021-04-12T10:03:30.951" v="205" actId="478"/>
          <ac:spMkLst>
            <pc:docMk/>
            <pc:sldMk cId="1627132099" sldId="849"/>
            <ac:spMk id="15" creationId="{438E61C8-3310-417E-857B-5FE9009B583C}"/>
          </ac:spMkLst>
        </pc:spChg>
        <pc:spChg chg="add del mod">
          <ac:chgData name="Kisliuk, Adrian (ext)" userId="6e619ce3-2643-4cdf-9a13-b4c269650021" providerId="ADAL" clId="{20FE0EF6-E23A-4383-9073-7BA0063BC6E2}" dt="2021-04-12T10:11:15.554" v="287" actId="478"/>
          <ac:spMkLst>
            <pc:docMk/>
            <pc:sldMk cId="1627132099" sldId="849"/>
            <ac:spMk id="16" creationId="{7B95E49B-69EF-4E7A-9A87-B0A5FA387717}"/>
          </ac:spMkLst>
        </pc:spChg>
        <pc:spChg chg="del mod">
          <ac:chgData name="Kisliuk, Adrian (ext)" userId="6e619ce3-2643-4cdf-9a13-b4c269650021" providerId="ADAL" clId="{20FE0EF6-E23A-4383-9073-7BA0063BC6E2}" dt="2021-04-12T10:03:23.915" v="202" actId="21"/>
          <ac:spMkLst>
            <pc:docMk/>
            <pc:sldMk cId="1627132099" sldId="849"/>
            <ac:spMk id="17" creationId="{28DC8D71-92A3-47AA-97BB-5BCFF31B461A}"/>
          </ac:spMkLst>
        </pc:spChg>
        <pc:spChg chg="add del mod">
          <ac:chgData name="Kisliuk, Adrian (ext)" userId="6e619ce3-2643-4cdf-9a13-b4c269650021" providerId="ADAL" clId="{20FE0EF6-E23A-4383-9073-7BA0063BC6E2}" dt="2021-04-12T10:03:26.298" v="203" actId="478"/>
          <ac:spMkLst>
            <pc:docMk/>
            <pc:sldMk cId="1627132099" sldId="849"/>
            <ac:spMk id="18" creationId="{A4FA0F6C-1044-40F3-A415-376719684F27}"/>
          </ac:spMkLst>
        </pc:spChg>
        <pc:spChg chg="add del mod modVis">
          <ac:chgData name="Kisliuk, Adrian (ext)" userId="6e619ce3-2643-4cdf-9a13-b4c269650021" providerId="ADAL" clId="{20FE0EF6-E23A-4383-9073-7BA0063BC6E2}" dt="2021-04-12T10:13:39.072" v="478"/>
          <ac:spMkLst>
            <pc:docMk/>
            <pc:sldMk cId="1627132099" sldId="849"/>
            <ac:spMk id="20" creationId="{ED708000-2C84-4115-BCE8-6BAD7F1E4030}"/>
          </ac:spMkLst>
        </pc:spChg>
        <pc:spChg chg="add del mod modVis">
          <ac:chgData name="Kisliuk, Adrian (ext)" userId="6e619ce3-2643-4cdf-9a13-b4c269650021" providerId="ADAL" clId="{20FE0EF6-E23A-4383-9073-7BA0063BC6E2}" dt="2021-04-12T10:13:40.460" v="522"/>
          <ac:spMkLst>
            <pc:docMk/>
            <pc:sldMk cId="1627132099" sldId="849"/>
            <ac:spMk id="21" creationId="{23DC0FF3-A4A2-4604-A633-0EFDFF09BAEF}"/>
          </ac:spMkLst>
        </pc:spChg>
        <pc:spChg chg="add del mod modVis">
          <ac:chgData name="Kisliuk, Adrian (ext)" userId="6e619ce3-2643-4cdf-9a13-b4c269650021" providerId="ADAL" clId="{20FE0EF6-E23A-4383-9073-7BA0063BC6E2}" dt="2021-04-12T10:13:41.245" v="564"/>
          <ac:spMkLst>
            <pc:docMk/>
            <pc:sldMk cId="1627132099" sldId="849"/>
            <ac:spMk id="22" creationId="{49E8175B-A10C-4919-BC1E-6D8341E862C6}"/>
          </ac:spMkLst>
        </pc:spChg>
        <pc:spChg chg="add del mod modVis">
          <ac:chgData name="Kisliuk, Adrian (ext)" userId="6e619ce3-2643-4cdf-9a13-b4c269650021" providerId="ADAL" clId="{20FE0EF6-E23A-4383-9073-7BA0063BC6E2}" dt="2021-04-12T10:13:43.193" v="610"/>
          <ac:spMkLst>
            <pc:docMk/>
            <pc:sldMk cId="1627132099" sldId="849"/>
            <ac:spMk id="23" creationId="{EEFC9DA5-9C58-4417-846A-8603A3C3B619}"/>
          </ac:spMkLst>
        </pc:spChg>
        <pc:spChg chg="add del mod modVis">
          <ac:chgData name="Kisliuk, Adrian (ext)" userId="6e619ce3-2643-4cdf-9a13-b4c269650021" providerId="ADAL" clId="{20FE0EF6-E23A-4383-9073-7BA0063BC6E2}" dt="2021-04-12T10:13:47.321" v="651"/>
          <ac:spMkLst>
            <pc:docMk/>
            <pc:sldMk cId="1627132099" sldId="849"/>
            <ac:spMk id="24" creationId="{42223DBC-D1AB-4B53-BAD5-7C10BA820F5B}"/>
          </ac:spMkLst>
        </pc:spChg>
        <pc:spChg chg="add del mod modVis">
          <ac:chgData name="Kisliuk, Adrian (ext)" userId="6e619ce3-2643-4cdf-9a13-b4c269650021" providerId="ADAL" clId="{20FE0EF6-E23A-4383-9073-7BA0063BC6E2}" dt="2021-04-12T10:13:48.345" v="693"/>
          <ac:spMkLst>
            <pc:docMk/>
            <pc:sldMk cId="1627132099" sldId="849"/>
            <ac:spMk id="25" creationId="{F623A89E-E351-460C-A03A-CD1D918FC7BB}"/>
          </ac:spMkLst>
        </pc:spChg>
        <pc:spChg chg="add del mod modVis">
          <ac:chgData name="Kisliuk, Adrian (ext)" userId="6e619ce3-2643-4cdf-9a13-b4c269650021" providerId="ADAL" clId="{20FE0EF6-E23A-4383-9073-7BA0063BC6E2}" dt="2021-04-12T10:13:50.520" v="742"/>
          <ac:spMkLst>
            <pc:docMk/>
            <pc:sldMk cId="1627132099" sldId="849"/>
            <ac:spMk id="26" creationId="{DCB3B3E6-7C26-4A7D-984F-8C7F81B9017D}"/>
          </ac:spMkLst>
        </pc:spChg>
        <pc:spChg chg="add del mod modVis">
          <ac:chgData name="Kisliuk, Adrian (ext)" userId="6e619ce3-2643-4cdf-9a13-b4c269650021" providerId="ADAL" clId="{20FE0EF6-E23A-4383-9073-7BA0063BC6E2}" dt="2021-04-12T10:13:52.833" v="787"/>
          <ac:spMkLst>
            <pc:docMk/>
            <pc:sldMk cId="1627132099" sldId="849"/>
            <ac:spMk id="27" creationId="{9665DD36-B83B-49A5-BFC1-0FF0713F2110}"/>
          </ac:spMkLst>
        </pc:spChg>
        <pc:spChg chg="add del mod modVis">
          <ac:chgData name="Kisliuk, Adrian (ext)" userId="6e619ce3-2643-4cdf-9a13-b4c269650021" providerId="ADAL" clId="{20FE0EF6-E23A-4383-9073-7BA0063BC6E2}" dt="2021-04-12T10:13:56.465" v="831"/>
          <ac:spMkLst>
            <pc:docMk/>
            <pc:sldMk cId="1627132099" sldId="849"/>
            <ac:spMk id="28" creationId="{DE07FA39-9C04-4647-8DBE-03E403C54EED}"/>
          </ac:spMkLst>
        </pc:spChg>
        <pc:spChg chg="add del mod modVis">
          <ac:chgData name="Kisliuk, Adrian (ext)" userId="6e619ce3-2643-4cdf-9a13-b4c269650021" providerId="ADAL" clId="{20FE0EF6-E23A-4383-9073-7BA0063BC6E2}" dt="2021-04-12T10:13:59.318" v="879"/>
          <ac:spMkLst>
            <pc:docMk/>
            <pc:sldMk cId="1627132099" sldId="849"/>
            <ac:spMk id="29" creationId="{C1AC4690-1F91-4FE0-8FD7-AFF15FA35CE2}"/>
          </ac:spMkLst>
        </pc:spChg>
        <pc:spChg chg="add del mod modVis">
          <ac:chgData name="Kisliuk, Adrian (ext)" userId="6e619ce3-2643-4cdf-9a13-b4c269650021" providerId="ADAL" clId="{20FE0EF6-E23A-4383-9073-7BA0063BC6E2}" dt="2021-04-12T10:14:27.625" v="927"/>
          <ac:spMkLst>
            <pc:docMk/>
            <pc:sldMk cId="1627132099" sldId="849"/>
            <ac:spMk id="30" creationId="{673F228A-8A9C-42D2-90F2-3D61E1DB4353}"/>
          </ac:spMkLst>
        </pc:spChg>
        <pc:spChg chg="add del mod modVis">
          <ac:chgData name="Kisliuk, Adrian (ext)" userId="6e619ce3-2643-4cdf-9a13-b4c269650021" providerId="ADAL" clId="{20FE0EF6-E23A-4383-9073-7BA0063BC6E2}" dt="2021-04-12T10:14:30.387" v="974"/>
          <ac:spMkLst>
            <pc:docMk/>
            <pc:sldMk cId="1627132099" sldId="849"/>
            <ac:spMk id="31" creationId="{CA7319F1-287C-482E-A2A6-3C1BBE0E3000}"/>
          </ac:spMkLst>
        </pc:spChg>
        <pc:spChg chg="add del mod modVis">
          <ac:chgData name="Kisliuk, Adrian (ext)" userId="6e619ce3-2643-4cdf-9a13-b4c269650021" providerId="ADAL" clId="{20FE0EF6-E23A-4383-9073-7BA0063BC6E2}" dt="2021-04-12T10:14:32.275" v="1019"/>
          <ac:spMkLst>
            <pc:docMk/>
            <pc:sldMk cId="1627132099" sldId="849"/>
            <ac:spMk id="32" creationId="{40BC9E02-68C9-4C60-ADB6-1AB7F055ABBE}"/>
          </ac:spMkLst>
        </pc:spChg>
        <pc:spChg chg="add del mod modVis">
          <ac:chgData name="Kisliuk, Adrian (ext)" userId="6e619ce3-2643-4cdf-9a13-b4c269650021" providerId="ADAL" clId="{20FE0EF6-E23A-4383-9073-7BA0063BC6E2}" dt="2021-04-12T10:14:34.240" v="1069"/>
          <ac:spMkLst>
            <pc:docMk/>
            <pc:sldMk cId="1627132099" sldId="849"/>
            <ac:spMk id="33" creationId="{BAB5241B-A315-4A64-8B96-B9BD3711FFC9}"/>
          </ac:spMkLst>
        </pc:spChg>
        <pc:spChg chg="add del mod modVis">
          <ac:chgData name="Kisliuk, Adrian (ext)" userId="6e619ce3-2643-4cdf-9a13-b4c269650021" providerId="ADAL" clId="{20FE0EF6-E23A-4383-9073-7BA0063BC6E2}" dt="2021-04-12T10:14:34.987" v="1110"/>
          <ac:spMkLst>
            <pc:docMk/>
            <pc:sldMk cId="1627132099" sldId="849"/>
            <ac:spMk id="34" creationId="{AE52660B-0BC5-4D0B-9E19-75BD8F3E21FE}"/>
          </ac:spMkLst>
        </pc:spChg>
        <pc:spChg chg="add del mod modVis">
          <ac:chgData name="Kisliuk, Adrian (ext)" userId="6e619ce3-2643-4cdf-9a13-b4c269650021" providerId="ADAL" clId="{20FE0EF6-E23A-4383-9073-7BA0063BC6E2}" dt="2021-04-12T10:14:36.303" v="1155"/>
          <ac:spMkLst>
            <pc:docMk/>
            <pc:sldMk cId="1627132099" sldId="849"/>
            <ac:spMk id="35" creationId="{1AB329B1-D8A5-46BA-858D-0EB5500F6CC0}"/>
          </ac:spMkLst>
        </pc:spChg>
        <pc:spChg chg="add del mod modVis">
          <ac:chgData name="Kisliuk, Adrian (ext)" userId="6e619ce3-2643-4cdf-9a13-b4c269650021" providerId="ADAL" clId="{20FE0EF6-E23A-4383-9073-7BA0063BC6E2}" dt="2021-04-12T10:14:38.224" v="1203"/>
          <ac:spMkLst>
            <pc:docMk/>
            <pc:sldMk cId="1627132099" sldId="849"/>
            <ac:spMk id="36" creationId="{9AE54CCE-5CAE-4D29-B467-4987736E4F5A}"/>
          </ac:spMkLst>
        </pc:spChg>
        <pc:spChg chg="add del mod modVis">
          <ac:chgData name="Kisliuk, Adrian (ext)" userId="6e619ce3-2643-4cdf-9a13-b4c269650021" providerId="ADAL" clId="{20FE0EF6-E23A-4383-9073-7BA0063BC6E2}" dt="2021-04-12T10:14:39.164" v="1244"/>
          <ac:spMkLst>
            <pc:docMk/>
            <pc:sldMk cId="1627132099" sldId="849"/>
            <ac:spMk id="37" creationId="{278F7837-5038-4E02-BDF2-DE0512FADD99}"/>
          </ac:spMkLst>
        </pc:spChg>
        <pc:spChg chg="add del mod modVis">
          <ac:chgData name="Kisliuk, Adrian (ext)" userId="6e619ce3-2643-4cdf-9a13-b4c269650021" providerId="ADAL" clId="{20FE0EF6-E23A-4383-9073-7BA0063BC6E2}" dt="2021-04-12T10:14:42.017" v="1287"/>
          <ac:spMkLst>
            <pc:docMk/>
            <pc:sldMk cId="1627132099" sldId="849"/>
            <ac:spMk id="38" creationId="{07B3C93A-1D93-44A0-9381-D72EDC0D1AEA}"/>
          </ac:spMkLst>
        </pc:spChg>
        <pc:spChg chg="add del mod modVis">
          <ac:chgData name="Kisliuk, Adrian (ext)" userId="6e619ce3-2643-4cdf-9a13-b4c269650021" providerId="ADAL" clId="{20FE0EF6-E23A-4383-9073-7BA0063BC6E2}" dt="2021-04-12T10:14:44.169" v="1337"/>
          <ac:spMkLst>
            <pc:docMk/>
            <pc:sldMk cId="1627132099" sldId="849"/>
            <ac:spMk id="39" creationId="{9BCE83ED-2EBA-4CA4-935C-3DF8D0F6C8DB}"/>
          </ac:spMkLst>
        </pc:spChg>
        <pc:spChg chg="add del mod modVis">
          <ac:chgData name="Kisliuk, Adrian (ext)" userId="6e619ce3-2643-4cdf-9a13-b4c269650021" providerId="ADAL" clId="{20FE0EF6-E23A-4383-9073-7BA0063BC6E2}" dt="2021-04-12T10:14:49.212" v="1378"/>
          <ac:spMkLst>
            <pc:docMk/>
            <pc:sldMk cId="1627132099" sldId="849"/>
            <ac:spMk id="40" creationId="{85533973-FF3E-42F2-A1E4-5FB51460D47B}"/>
          </ac:spMkLst>
        </pc:spChg>
        <pc:spChg chg="add mod">
          <ac:chgData name="Kisliuk, Adrian (ext)" userId="6e619ce3-2643-4cdf-9a13-b4c269650021" providerId="ADAL" clId="{20FE0EF6-E23A-4383-9073-7BA0063BC6E2}" dt="2021-04-12T11:20:50.190" v="2935" actId="1076"/>
          <ac:spMkLst>
            <pc:docMk/>
            <pc:sldMk cId="1627132099" sldId="849"/>
            <ac:spMk id="41" creationId="{E93AE095-6BBA-4A81-A7A1-FFD7B8304500}"/>
          </ac:spMkLst>
        </pc:spChg>
        <pc:spChg chg="add del mod">
          <ac:chgData name="Kisliuk, Adrian (ext)" userId="6e619ce3-2643-4cdf-9a13-b4c269650021" providerId="ADAL" clId="{20FE0EF6-E23A-4383-9073-7BA0063BC6E2}" dt="2021-04-12T10:20:58.632" v="1484" actId="478"/>
          <ac:spMkLst>
            <pc:docMk/>
            <pc:sldMk cId="1627132099" sldId="849"/>
            <ac:spMk id="42" creationId="{EB2926DB-66FC-42AE-9934-39A57BD19832}"/>
          </ac:spMkLst>
        </pc:spChg>
        <pc:spChg chg="add del mod">
          <ac:chgData name="Kisliuk, Adrian (ext)" userId="6e619ce3-2643-4cdf-9a13-b4c269650021" providerId="ADAL" clId="{20FE0EF6-E23A-4383-9073-7BA0063BC6E2}" dt="2021-04-12T11:20:25.992" v="2929" actId="478"/>
          <ac:spMkLst>
            <pc:docMk/>
            <pc:sldMk cId="1627132099" sldId="849"/>
            <ac:spMk id="43" creationId="{22FE9C09-4333-4E11-A37D-0783D1B59516}"/>
          </ac:spMkLst>
        </pc:spChg>
        <pc:spChg chg="add mod">
          <ac:chgData name="Kisliuk, Adrian (ext)" userId="6e619ce3-2643-4cdf-9a13-b4c269650021" providerId="ADAL" clId="{20FE0EF6-E23A-4383-9073-7BA0063BC6E2}" dt="2021-04-12T11:20:26.452" v="2930"/>
          <ac:spMkLst>
            <pc:docMk/>
            <pc:sldMk cId="1627132099" sldId="849"/>
            <ac:spMk id="44" creationId="{5BE3AE2B-4A0E-4204-B25A-B404EC4FDDA8}"/>
          </ac:spMkLst>
        </pc:spChg>
        <pc:graphicFrameChg chg="mod">
          <ac:chgData name="Kisliuk, Adrian (ext)" userId="6e619ce3-2643-4cdf-9a13-b4c269650021" providerId="ADAL" clId="{20FE0EF6-E23A-4383-9073-7BA0063BC6E2}" dt="2021-04-12T10:14:49.214" v="1380"/>
          <ac:graphicFrameMkLst>
            <pc:docMk/>
            <pc:sldMk cId="1627132099" sldId="849"/>
            <ac:graphicFrameMk id="6" creationId="{580DFCAE-76C4-413B-B499-F7B76F1E13AF}"/>
          </ac:graphicFrameMkLst>
        </pc:graphicFrameChg>
        <pc:picChg chg="add mod">
          <ac:chgData name="Kisliuk, Adrian (ext)" userId="6e619ce3-2643-4cdf-9a13-b4c269650021" providerId="ADAL" clId="{20FE0EF6-E23A-4383-9073-7BA0063BC6E2}" dt="2021-04-12T11:20:47.560" v="2934" actId="1076"/>
          <ac:picMkLst>
            <pc:docMk/>
            <pc:sldMk cId="1627132099" sldId="849"/>
            <ac:picMk id="5" creationId="{399BAB72-161B-4538-86A9-083786AB9CE3}"/>
          </ac:picMkLst>
        </pc:picChg>
        <pc:cxnChg chg="add del">
          <ac:chgData name="Kisliuk, Adrian (ext)" userId="6e619ce3-2643-4cdf-9a13-b4c269650021" providerId="ADAL" clId="{20FE0EF6-E23A-4383-9073-7BA0063BC6E2}" dt="2021-04-12T10:03:30.951" v="205" actId="478"/>
          <ac:cxnSpMkLst>
            <pc:docMk/>
            <pc:sldMk cId="1627132099" sldId="849"/>
            <ac:cxnSpMk id="10" creationId="{358A171D-C672-4196-9360-80C5160B1063}"/>
          </ac:cxnSpMkLst>
        </pc:cxnChg>
        <pc:cxnChg chg="add del">
          <ac:chgData name="Kisliuk, Adrian (ext)" userId="6e619ce3-2643-4cdf-9a13-b4c269650021" providerId="ADAL" clId="{20FE0EF6-E23A-4383-9073-7BA0063BC6E2}" dt="2021-04-12T10:03:30.951" v="205" actId="478"/>
          <ac:cxnSpMkLst>
            <pc:docMk/>
            <pc:sldMk cId="1627132099" sldId="849"/>
            <ac:cxnSpMk id="19" creationId="{FDD861AD-2623-4DFE-BE15-0320BD4DED87}"/>
          </ac:cxnSpMkLst>
        </pc:cxnChg>
      </pc:sldChg>
      <pc:sldChg chg="addSp delSp modSp add mod">
        <pc:chgData name="Kisliuk, Adrian (ext)" userId="6e619ce3-2643-4cdf-9a13-b4c269650021" providerId="ADAL" clId="{20FE0EF6-E23A-4383-9073-7BA0063BC6E2}" dt="2021-04-12T11:11:06.096" v="2397" actId="478"/>
        <pc:sldMkLst>
          <pc:docMk/>
          <pc:sldMk cId="3424724315" sldId="850"/>
        </pc:sldMkLst>
        <pc:spChg chg="add del mod">
          <ac:chgData name="Kisliuk, Adrian (ext)" userId="6e619ce3-2643-4cdf-9a13-b4c269650021" providerId="ADAL" clId="{20FE0EF6-E23A-4383-9073-7BA0063BC6E2}" dt="2021-04-12T10:21:49.295" v="1492" actId="478"/>
          <ac:spMkLst>
            <pc:docMk/>
            <pc:sldMk cId="3424724315" sldId="850"/>
            <ac:spMk id="10" creationId="{A5D8D66C-E3E0-4674-B01B-27778AB6DF6B}"/>
          </ac:spMkLst>
        </pc:spChg>
        <pc:spChg chg="mod">
          <ac:chgData name="Kisliuk, Adrian (ext)" userId="6e619ce3-2643-4cdf-9a13-b4c269650021" providerId="ADAL" clId="{20FE0EF6-E23A-4383-9073-7BA0063BC6E2}" dt="2021-04-12T11:10:02.501" v="2328" actId="1038"/>
          <ac:spMkLst>
            <pc:docMk/>
            <pc:sldMk cId="3424724315" sldId="850"/>
            <ac:spMk id="11" creationId="{4F40012B-730E-4563-9DD9-41229AD9971E}"/>
          </ac:spMkLst>
        </pc:spChg>
        <pc:spChg chg="add del mod">
          <ac:chgData name="Kisliuk, Adrian (ext)" userId="6e619ce3-2643-4cdf-9a13-b4c269650021" providerId="ADAL" clId="{20FE0EF6-E23A-4383-9073-7BA0063BC6E2}" dt="2021-04-12T10:27:17.054" v="1546" actId="478"/>
          <ac:spMkLst>
            <pc:docMk/>
            <pc:sldMk cId="3424724315" sldId="850"/>
            <ac:spMk id="13" creationId="{7E1D5E94-7749-49BB-A8DD-682E6E172570}"/>
          </ac:spMkLst>
        </pc:spChg>
        <pc:spChg chg="add del mod">
          <ac:chgData name="Kisliuk, Adrian (ext)" userId="6e619ce3-2643-4cdf-9a13-b4c269650021" providerId="ADAL" clId="{20FE0EF6-E23A-4383-9073-7BA0063BC6E2}" dt="2021-04-12T11:11:06.096" v="2397" actId="478"/>
          <ac:spMkLst>
            <pc:docMk/>
            <pc:sldMk cId="3424724315" sldId="850"/>
            <ac:spMk id="16" creationId="{741AABAA-8996-4A1C-97CA-449EC4A861B4}"/>
          </ac:spMkLst>
        </pc:spChg>
        <pc:spChg chg="mod">
          <ac:chgData name="Kisliuk, Adrian (ext)" userId="6e619ce3-2643-4cdf-9a13-b4c269650021" providerId="ADAL" clId="{20FE0EF6-E23A-4383-9073-7BA0063BC6E2}" dt="2021-04-12T11:11:03.529" v="2396" actId="14100"/>
          <ac:spMkLst>
            <pc:docMk/>
            <pc:sldMk cId="3424724315" sldId="850"/>
            <ac:spMk id="26" creationId="{CE1C3E13-AF8F-4301-B411-986CE84A3DD5}"/>
          </ac:spMkLst>
        </pc:spChg>
        <pc:spChg chg="del">
          <ac:chgData name="Kisliuk, Adrian (ext)" userId="6e619ce3-2643-4cdf-9a13-b4c269650021" providerId="ADAL" clId="{20FE0EF6-E23A-4383-9073-7BA0063BC6E2}" dt="2021-04-12T10:21:16.691" v="1487" actId="478"/>
          <ac:spMkLst>
            <pc:docMk/>
            <pc:sldMk cId="3424724315" sldId="850"/>
            <ac:spMk id="28" creationId="{EBCF4F41-59E1-4F76-BE07-8DD6A2304129}"/>
          </ac:spMkLst>
        </pc:spChg>
        <pc:spChg chg="del">
          <ac:chgData name="Kisliuk, Adrian (ext)" userId="6e619ce3-2643-4cdf-9a13-b4c269650021" providerId="ADAL" clId="{20FE0EF6-E23A-4383-9073-7BA0063BC6E2}" dt="2021-04-12T10:21:12.958" v="1485" actId="478"/>
          <ac:spMkLst>
            <pc:docMk/>
            <pc:sldMk cId="3424724315" sldId="850"/>
            <ac:spMk id="29" creationId="{17760F75-D6E9-4BB1-BA35-50F4ACDBFC19}"/>
          </ac:spMkLst>
        </pc:spChg>
        <pc:cxnChg chg="add mod">
          <ac:chgData name="Kisliuk, Adrian (ext)" userId="6e619ce3-2643-4cdf-9a13-b4c269650021" providerId="ADAL" clId="{20FE0EF6-E23A-4383-9073-7BA0063BC6E2}" dt="2021-04-12T11:10:18.328" v="2383" actId="1038"/>
          <ac:cxnSpMkLst>
            <pc:docMk/>
            <pc:sldMk cId="3424724315" sldId="850"/>
            <ac:cxnSpMk id="12" creationId="{B9C97427-D5FD-46D0-AA98-AE1D9BFFC619}"/>
          </ac:cxnSpMkLst>
        </pc:cxnChg>
        <pc:cxnChg chg="del">
          <ac:chgData name="Kisliuk, Adrian (ext)" userId="6e619ce3-2643-4cdf-9a13-b4c269650021" providerId="ADAL" clId="{20FE0EF6-E23A-4383-9073-7BA0063BC6E2}" dt="2021-04-12T10:21:15.067" v="1486" actId="478"/>
          <ac:cxnSpMkLst>
            <pc:docMk/>
            <pc:sldMk cId="3424724315" sldId="850"/>
            <ac:cxnSpMk id="27" creationId="{F23228C4-B5F4-4412-B4C7-E4B06BBF02CA}"/>
          </ac:cxnSpMkLst>
        </pc:cxnChg>
      </pc:sldChg>
      <pc:sldChg chg="addSp delSp modSp add mod ord">
        <pc:chgData name="Kisliuk, Adrian (ext)" userId="6e619ce3-2643-4cdf-9a13-b4c269650021" providerId="ADAL" clId="{20FE0EF6-E23A-4383-9073-7BA0063BC6E2}" dt="2021-04-12T11:19:28.039" v="2919" actId="1076"/>
        <pc:sldMkLst>
          <pc:docMk/>
          <pc:sldMk cId="530366835" sldId="851"/>
        </pc:sldMkLst>
        <pc:spChg chg="add del mod">
          <ac:chgData name="Kisliuk, Adrian (ext)" userId="6e619ce3-2643-4cdf-9a13-b4c269650021" providerId="ADAL" clId="{20FE0EF6-E23A-4383-9073-7BA0063BC6E2}" dt="2021-04-12T11:08:46.585" v="2298" actId="478"/>
          <ac:spMkLst>
            <pc:docMk/>
            <pc:sldMk cId="530366835" sldId="851"/>
            <ac:spMk id="8" creationId="{A3ED8A2D-639D-4BF5-BEEB-51738B697D1B}"/>
          </ac:spMkLst>
        </pc:spChg>
        <pc:spChg chg="add del mod">
          <ac:chgData name="Kisliuk, Adrian (ext)" userId="6e619ce3-2643-4cdf-9a13-b4c269650021" providerId="ADAL" clId="{20FE0EF6-E23A-4383-9073-7BA0063BC6E2}" dt="2021-04-12T11:13:33.997" v="2418"/>
          <ac:spMkLst>
            <pc:docMk/>
            <pc:sldMk cId="530366835" sldId="851"/>
            <ac:spMk id="9" creationId="{FC5396D8-C138-4AAB-8D0E-BFD346980FA5}"/>
          </ac:spMkLst>
        </pc:spChg>
        <pc:spChg chg="mod">
          <ac:chgData name="Kisliuk, Adrian (ext)" userId="6e619ce3-2643-4cdf-9a13-b4c269650021" providerId="ADAL" clId="{20FE0EF6-E23A-4383-9073-7BA0063BC6E2}" dt="2021-04-12T10:39:11.448" v="1634" actId="14100"/>
          <ac:spMkLst>
            <pc:docMk/>
            <pc:sldMk cId="530366835" sldId="851"/>
            <ac:spMk id="11" creationId="{4F40012B-730E-4563-9DD9-41229AD9971E}"/>
          </ac:spMkLst>
        </pc:spChg>
        <pc:spChg chg="mod">
          <ac:chgData name="Kisliuk, Adrian (ext)" userId="6e619ce3-2643-4cdf-9a13-b4c269650021" providerId="ADAL" clId="{20FE0EF6-E23A-4383-9073-7BA0063BC6E2}" dt="2021-04-12T11:19:17.481" v="2918" actId="1076"/>
          <ac:spMkLst>
            <pc:docMk/>
            <pc:sldMk cId="530366835" sldId="851"/>
            <ac:spMk id="26" creationId="{CE1C3E13-AF8F-4301-B411-986CE84A3DD5}"/>
          </ac:spMkLst>
        </pc:spChg>
        <pc:cxnChg chg="mod">
          <ac:chgData name="Kisliuk, Adrian (ext)" userId="6e619ce3-2643-4cdf-9a13-b4c269650021" providerId="ADAL" clId="{20FE0EF6-E23A-4383-9073-7BA0063BC6E2}" dt="2021-04-12T11:19:28.039" v="2919" actId="1076"/>
          <ac:cxnSpMkLst>
            <pc:docMk/>
            <pc:sldMk cId="530366835" sldId="851"/>
            <ac:cxnSpMk id="12" creationId="{B9C97427-D5FD-46D0-AA98-AE1D9BFFC619}"/>
          </ac:cxnSpMkLst>
        </pc:cxnChg>
      </pc:sldChg>
      <pc:sldChg chg="addSp delSp modSp add mod ord">
        <pc:chgData name="Kisliuk, Adrian (ext)" userId="6e619ce3-2643-4cdf-9a13-b4c269650021" providerId="ADAL" clId="{20FE0EF6-E23A-4383-9073-7BA0063BC6E2}" dt="2021-04-12T11:19:55.388" v="2925"/>
        <pc:sldMkLst>
          <pc:docMk/>
          <pc:sldMk cId="408860177" sldId="852"/>
        </pc:sldMkLst>
        <pc:spChg chg="add del mod">
          <ac:chgData name="Kisliuk, Adrian (ext)" userId="6e619ce3-2643-4cdf-9a13-b4c269650021" providerId="ADAL" clId="{20FE0EF6-E23A-4383-9073-7BA0063BC6E2}" dt="2021-04-12T11:19:52.592" v="2923" actId="21"/>
          <ac:spMkLst>
            <pc:docMk/>
            <pc:sldMk cId="408860177" sldId="852"/>
            <ac:spMk id="8" creationId="{AC29241A-975E-4DEB-99CA-2426913FB41F}"/>
          </ac:spMkLst>
        </pc:spChg>
        <pc:spChg chg="add del mod">
          <ac:chgData name="Kisliuk, Adrian (ext)" userId="6e619ce3-2643-4cdf-9a13-b4c269650021" providerId="ADAL" clId="{20FE0EF6-E23A-4383-9073-7BA0063BC6E2}" dt="2021-04-12T11:19:54.920" v="2924" actId="478"/>
          <ac:spMkLst>
            <pc:docMk/>
            <pc:sldMk cId="408860177" sldId="852"/>
            <ac:spMk id="9" creationId="{76D588D6-F201-4BB4-A1B6-B5A86B8DAA2F}"/>
          </ac:spMkLst>
        </pc:spChg>
        <pc:spChg chg="mod">
          <ac:chgData name="Kisliuk, Adrian (ext)" userId="6e619ce3-2643-4cdf-9a13-b4c269650021" providerId="ADAL" clId="{20FE0EF6-E23A-4383-9073-7BA0063BC6E2}" dt="2021-04-12T10:57:02.109" v="1732" actId="14100"/>
          <ac:spMkLst>
            <pc:docMk/>
            <pc:sldMk cId="408860177" sldId="852"/>
            <ac:spMk id="11" creationId="{4F40012B-730E-4563-9DD9-41229AD9971E}"/>
          </ac:spMkLst>
        </pc:spChg>
        <pc:spChg chg="add mod">
          <ac:chgData name="Kisliuk, Adrian (ext)" userId="6e619ce3-2643-4cdf-9a13-b4c269650021" providerId="ADAL" clId="{20FE0EF6-E23A-4383-9073-7BA0063BC6E2}" dt="2021-04-12T11:19:55.388" v="2925"/>
          <ac:spMkLst>
            <pc:docMk/>
            <pc:sldMk cId="408860177" sldId="852"/>
            <ac:spMk id="13" creationId="{73821551-7EF5-4C59-9DF7-6839525ACB76}"/>
          </ac:spMkLst>
        </pc:spChg>
        <pc:spChg chg="del">
          <ac:chgData name="Kisliuk, Adrian (ext)" userId="6e619ce3-2643-4cdf-9a13-b4c269650021" providerId="ADAL" clId="{20FE0EF6-E23A-4383-9073-7BA0063BC6E2}" dt="2021-04-12T11:14:03.729" v="2419" actId="478"/>
          <ac:spMkLst>
            <pc:docMk/>
            <pc:sldMk cId="408860177" sldId="852"/>
            <ac:spMk id="26" creationId="{CE1C3E13-AF8F-4301-B411-986CE84A3DD5}"/>
          </ac:spMkLst>
        </pc:spChg>
        <pc:cxnChg chg="add mod">
          <ac:chgData name="Kisliuk, Adrian (ext)" userId="6e619ce3-2643-4cdf-9a13-b4c269650021" providerId="ADAL" clId="{20FE0EF6-E23A-4383-9073-7BA0063BC6E2}" dt="2021-04-12T11:19:43.295" v="2921"/>
          <ac:cxnSpMkLst>
            <pc:docMk/>
            <pc:sldMk cId="408860177" sldId="852"/>
            <ac:cxnSpMk id="10" creationId="{B3BB365F-3A8D-47B6-8C63-8B2E4FF522BE}"/>
          </ac:cxnSpMkLst>
        </pc:cxnChg>
        <pc:cxnChg chg="del">
          <ac:chgData name="Kisliuk, Adrian (ext)" userId="6e619ce3-2643-4cdf-9a13-b4c269650021" providerId="ADAL" clId="{20FE0EF6-E23A-4383-9073-7BA0063BC6E2}" dt="2021-04-12T11:19:42.766" v="2920" actId="478"/>
          <ac:cxnSpMkLst>
            <pc:docMk/>
            <pc:sldMk cId="408860177" sldId="852"/>
            <ac:cxnSpMk id="12" creationId="{B9C97427-D5FD-46D0-AA98-AE1D9BFFC619}"/>
          </ac:cxnSpMkLst>
        </pc:cxnChg>
      </pc:sldChg>
      <pc:sldChg chg="add del">
        <pc:chgData name="Kisliuk, Adrian (ext)" userId="6e619ce3-2643-4cdf-9a13-b4c269650021" providerId="ADAL" clId="{20FE0EF6-E23A-4383-9073-7BA0063BC6E2}" dt="2021-04-12T10:56:51.999" v="1718"/>
        <pc:sldMkLst>
          <pc:docMk/>
          <pc:sldMk cId="4286711008" sldId="852"/>
        </pc:sldMkLst>
      </pc:sldChg>
      <pc:sldChg chg="addSp delSp modSp add mod">
        <pc:chgData name="Kisliuk, Adrian (ext)" userId="6e619ce3-2643-4cdf-9a13-b4c269650021" providerId="ADAL" clId="{20FE0EF6-E23A-4383-9073-7BA0063BC6E2}" dt="2021-04-12T11:30:17.493" v="3020" actId="478"/>
        <pc:sldMkLst>
          <pc:docMk/>
          <pc:sldMk cId="1400689813" sldId="853"/>
        </pc:sldMkLst>
        <pc:spChg chg="del">
          <ac:chgData name="Kisliuk, Adrian (ext)" userId="6e619ce3-2643-4cdf-9a13-b4c269650021" providerId="ADAL" clId="{20FE0EF6-E23A-4383-9073-7BA0063BC6E2}" dt="2021-04-12T11:30:17.493" v="3020" actId="478"/>
          <ac:spMkLst>
            <pc:docMk/>
            <pc:sldMk cId="1400689813" sldId="853"/>
            <ac:spMk id="7" creationId="{FAF33953-BB45-4B3C-8F18-8F8167379D1B}"/>
          </ac:spMkLst>
        </pc:spChg>
        <pc:spChg chg="del">
          <ac:chgData name="Kisliuk, Adrian (ext)" userId="6e619ce3-2643-4cdf-9a13-b4c269650021" providerId="ADAL" clId="{20FE0EF6-E23A-4383-9073-7BA0063BC6E2}" dt="2021-04-12T11:26:29.373" v="3006" actId="478"/>
          <ac:spMkLst>
            <pc:docMk/>
            <pc:sldMk cId="1400689813" sldId="853"/>
            <ac:spMk id="9" creationId="{D6E18E4B-4E9B-4CFD-AF88-29C3A515D1B4}"/>
          </ac:spMkLst>
        </pc:spChg>
        <pc:spChg chg="add del mod">
          <ac:chgData name="Kisliuk, Adrian (ext)" userId="6e619ce3-2643-4cdf-9a13-b4c269650021" providerId="ADAL" clId="{20FE0EF6-E23A-4383-9073-7BA0063BC6E2}" dt="2021-04-12T11:26:26.607" v="3005" actId="21"/>
          <ac:spMkLst>
            <pc:docMk/>
            <pc:sldMk cId="1400689813" sldId="853"/>
            <ac:spMk id="12" creationId="{F20EE876-2E5E-4F65-8AE1-B3781989F9CA}"/>
          </ac:spMkLst>
        </pc:spChg>
        <pc:spChg chg="add mod">
          <ac:chgData name="Kisliuk, Adrian (ext)" userId="6e619ce3-2643-4cdf-9a13-b4c269650021" providerId="ADAL" clId="{20FE0EF6-E23A-4383-9073-7BA0063BC6E2}" dt="2021-04-12T11:27:36.388" v="3017" actId="404"/>
          <ac:spMkLst>
            <pc:docMk/>
            <pc:sldMk cId="1400689813" sldId="853"/>
            <ac:spMk id="13" creationId="{3043B1C5-4A96-41FC-93F9-B73808B192DC}"/>
          </ac:spMkLst>
        </pc:spChg>
        <pc:spChg chg="del">
          <ac:chgData name="Kisliuk, Adrian (ext)" userId="6e619ce3-2643-4cdf-9a13-b4c269650021" providerId="ADAL" clId="{20FE0EF6-E23A-4383-9073-7BA0063BC6E2}" dt="2021-04-12T11:26:35.846" v="3011" actId="478"/>
          <ac:spMkLst>
            <pc:docMk/>
            <pc:sldMk cId="1400689813" sldId="853"/>
            <ac:spMk id="15" creationId="{438E61C8-3310-417E-857B-5FE9009B583C}"/>
          </ac:spMkLst>
        </pc:spChg>
        <pc:spChg chg="del">
          <ac:chgData name="Kisliuk, Adrian (ext)" userId="6e619ce3-2643-4cdf-9a13-b4c269650021" providerId="ADAL" clId="{20FE0EF6-E23A-4383-9073-7BA0063BC6E2}" dt="2021-04-12T11:26:31.735" v="3008" actId="478"/>
          <ac:spMkLst>
            <pc:docMk/>
            <pc:sldMk cId="1400689813" sldId="853"/>
            <ac:spMk id="17" creationId="{28DC8D71-92A3-47AA-97BB-5BCFF31B461A}"/>
          </ac:spMkLst>
        </pc:spChg>
        <pc:spChg chg="del">
          <ac:chgData name="Kisliuk, Adrian (ext)" userId="6e619ce3-2643-4cdf-9a13-b4c269650021" providerId="ADAL" clId="{20FE0EF6-E23A-4383-9073-7BA0063BC6E2}" dt="2021-04-12T11:26:33.067" v="3009" actId="478"/>
          <ac:spMkLst>
            <pc:docMk/>
            <pc:sldMk cId="1400689813" sldId="853"/>
            <ac:spMk id="18" creationId="{A4FA0F6C-1044-40F3-A415-376719684F27}"/>
          </ac:spMkLst>
        </pc:spChg>
        <pc:cxnChg chg="del">
          <ac:chgData name="Kisliuk, Adrian (ext)" userId="6e619ce3-2643-4cdf-9a13-b4c269650021" providerId="ADAL" clId="{20FE0EF6-E23A-4383-9073-7BA0063BC6E2}" dt="2021-04-12T11:26:30.622" v="3007" actId="478"/>
          <ac:cxnSpMkLst>
            <pc:docMk/>
            <pc:sldMk cId="1400689813" sldId="853"/>
            <ac:cxnSpMk id="10" creationId="{358A171D-C672-4196-9360-80C5160B1063}"/>
          </ac:cxnSpMkLst>
        </pc:cxnChg>
        <pc:cxnChg chg="del">
          <ac:chgData name="Kisliuk, Adrian (ext)" userId="6e619ce3-2643-4cdf-9a13-b4c269650021" providerId="ADAL" clId="{20FE0EF6-E23A-4383-9073-7BA0063BC6E2}" dt="2021-04-12T11:26:34.626" v="3010" actId="478"/>
          <ac:cxnSpMkLst>
            <pc:docMk/>
            <pc:sldMk cId="1400689813" sldId="853"/>
            <ac:cxnSpMk id="19" creationId="{FDD861AD-2623-4DFE-BE15-0320BD4DED87}"/>
          </ac:cxnSpMkLst>
        </pc:cxnChg>
      </pc:sldChg>
      <pc:sldChg chg="addSp delSp modSp add mod">
        <pc:chgData name="Kisliuk, Adrian (ext)" userId="6e619ce3-2643-4cdf-9a13-b4c269650021" providerId="ADAL" clId="{20FE0EF6-E23A-4383-9073-7BA0063BC6E2}" dt="2021-04-12T11:59:48.112" v="3474" actId="1076"/>
        <pc:sldMkLst>
          <pc:docMk/>
          <pc:sldMk cId="2552030312" sldId="854"/>
        </pc:sldMkLst>
        <pc:spChg chg="mod">
          <ac:chgData name="Kisliuk, Adrian (ext)" userId="6e619ce3-2643-4cdf-9a13-b4c269650021" providerId="ADAL" clId="{20FE0EF6-E23A-4383-9073-7BA0063BC6E2}" dt="2021-04-12T11:58:51.921" v="3416" actId="948"/>
          <ac:spMkLst>
            <pc:docMk/>
            <pc:sldMk cId="2552030312" sldId="854"/>
            <ac:spMk id="2" creationId="{DE936FAF-2E76-49E3-A26B-EE542092B6EF}"/>
          </ac:spMkLst>
        </pc:spChg>
        <pc:spChg chg="add del mod modVis">
          <ac:chgData name="Kisliuk, Adrian (ext)" userId="6e619ce3-2643-4cdf-9a13-b4c269650021" providerId="ADAL" clId="{20FE0EF6-E23A-4383-9073-7BA0063BC6E2}" dt="2021-04-12T11:58:51.157" v="3412"/>
          <ac:spMkLst>
            <pc:docMk/>
            <pc:sldMk cId="2552030312" sldId="854"/>
            <ac:spMk id="3" creationId="{7FE26CE3-664E-4805-AC88-9EF51E15FA26}"/>
          </ac:spMkLst>
        </pc:spChg>
        <pc:spChg chg="add del mod modVis">
          <ac:chgData name="Kisliuk, Adrian (ext)" userId="6e619ce3-2643-4cdf-9a13-b4c269650021" providerId="ADAL" clId="{20FE0EF6-E23A-4383-9073-7BA0063BC6E2}" dt="2021-04-12T11:58:51.956" v="3453"/>
          <ac:spMkLst>
            <pc:docMk/>
            <pc:sldMk cId="2552030312" sldId="854"/>
            <ac:spMk id="5" creationId="{09C2802D-869E-463A-84AE-E50C279D9ED1}"/>
          </ac:spMkLst>
        </pc:spChg>
        <pc:spChg chg="del">
          <ac:chgData name="Kisliuk, Adrian (ext)" userId="6e619ce3-2643-4cdf-9a13-b4c269650021" providerId="ADAL" clId="{20FE0EF6-E23A-4383-9073-7BA0063BC6E2}" dt="2021-04-12T11:30:13.812" v="3019" actId="478"/>
          <ac:spMkLst>
            <pc:docMk/>
            <pc:sldMk cId="2552030312" sldId="854"/>
            <ac:spMk id="7" creationId="{FAF33953-BB45-4B3C-8F18-8F8167379D1B}"/>
          </ac:spMkLst>
        </pc:spChg>
        <pc:spChg chg="add mod">
          <ac:chgData name="Kisliuk, Adrian (ext)" userId="6e619ce3-2643-4cdf-9a13-b4c269650021" providerId="ADAL" clId="{20FE0EF6-E23A-4383-9073-7BA0063BC6E2}" dt="2021-04-12T11:59:09.639" v="3467" actId="1035"/>
          <ac:spMkLst>
            <pc:docMk/>
            <pc:sldMk cId="2552030312" sldId="854"/>
            <ac:spMk id="8" creationId="{B6B871D8-C132-479D-8579-2FE6462D86E3}"/>
          </ac:spMkLst>
        </pc:spChg>
        <pc:spChg chg="add mod">
          <ac:chgData name="Kisliuk, Adrian (ext)" userId="6e619ce3-2643-4cdf-9a13-b4c269650021" providerId="ADAL" clId="{20FE0EF6-E23A-4383-9073-7BA0063BC6E2}" dt="2021-04-12T11:59:09.639" v="3467" actId="1035"/>
          <ac:spMkLst>
            <pc:docMk/>
            <pc:sldMk cId="2552030312" sldId="854"/>
            <ac:spMk id="9" creationId="{C964F4FF-7D56-466B-A1EC-110646CC99CD}"/>
          </ac:spMkLst>
        </pc:spChg>
        <pc:spChg chg="add mod">
          <ac:chgData name="Kisliuk, Adrian (ext)" userId="6e619ce3-2643-4cdf-9a13-b4c269650021" providerId="ADAL" clId="{20FE0EF6-E23A-4383-9073-7BA0063BC6E2}" dt="2021-04-12T11:59:09.639" v="3467" actId="1035"/>
          <ac:spMkLst>
            <pc:docMk/>
            <pc:sldMk cId="2552030312" sldId="854"/>
            <ac:spMk id="10" creationId="{B7926D57-2347-40FA-8399-D501F67CB29D}"/>
          </ac:spMkLst>
        </pc:spChg>
        <pc:spChg chg="add mod">
          <ac:chgData name="Kisliuk, Adrian (ext)" userId="6e619ce3-2643-4cdf-9a13-b4c269650021" providerId="ADAL" clId="{20FE0EF6-E23A-4383-9073-7BA0063BC6E2}" dt="2021-04-12T11:59:48.112" v="3474" actId="1076"/>
          <ac:spMkLst>
            <pc:docMk/>
            <pc:sldMk cId="2552030312" sldId="854"/>
            <ac:spMk id="12" creationId="{662D00B7-5296-455B-B25E-D3F826783A9C}"/>
          </ac:spMkLst>
        </pc:spChg>
        <pc:spChg chg="mod">
          <ac:chgData name="Kisliuk, Adrian (ext)" userId="6e619ce3-2643-4cdf-9a13-b4c269650021" providerId="ADAL" clId="{20FE0EF6-E23A-4383-9073-7BA0063BC6E2}" dt="2021-04-12T11:59:09.639" v="3467" actId="1035"/>
          <ac:spMkLst>
            <pc:docMk/>
            <pc:sldMk cId="2552030312" sldId="854"/>
            <ac:spMk id="13" creationId="{3043B1C5-4A96-41FC-93F9-B73808B192DC}"/>
          </ac:spMkLst>
        </pc:spChg>
        <pc:graphicFrameChg chg="mod">
          <ac:chgData name="Kisliuk, Adrian (ext)" userId="6e619ce3-2643-4cdf-9a13-b4c269650021" providerId="ADAL" clId="{20FE0EF6-E23A-4383-9073-7BA0063BC6E2}" dt="2021-04-12T11:58:51.958" v="3455"/>
          <ac:graphicFrameMkLst>
            <pc:docMk/>
            <pc:sldMk cId="2552030312" sldId="854"/>
            <ac:graphicFrameMk id="6" creationId="{580DFCAE-76C4-413B-B499-F7B76F1E13AF}"/>
          </ac:graphicFrameMkLst>
        </pc:graphicFrameChg>
      </pc:sldChg>
    </pc:docChg>
  </pc:docChgLst>
  <pc:docChgLst>
    <pc:chgData name="Adrian Kisliuk" userId="81f189f0-3ed9-4f29-a7b1-770f7af93676" providerId="ADAL" clId="{69587B1D-2EFB-401C-A02D-B0C1DB4406A0}"/>
    <pc:docChg chg="undo redo custSel addSld delSld modSld sldOrd">
      <pc:chgData name="Adrian Kisliuk" userId="81f189f0-3ed9-4f29-a7b1-770f7af93676" providerId="ADAL" clId="{69587B1D-2EFB-401C-A02D-B0C1DB4406A0}" dt="2021-03-02T13:57:28.729" v="1453" actId="1076"/>
      <pc:docMkLst>
        <pc:docMk/>
      </pc:docMkLst>
      <pc:sldChg chg="modSp mod">
        <pc:chgData name="Adrian Kisliuk" userId="81f189f0-3ed9-4f29-a7b1-770f7af93676" providerId="ADAL" clId="{69587B1D-2EFB-401C-A02D-B0C1DB4406A0}" dt="2021-03-02T13:25:51.559" v="940" actId="20577"/>
        <pc:sldMkLst>
          <pc:docMk/>
          <pc:sldMk cId="3888384040" sldId="474"/>
        </pc:sldMkLst>
        <pc:spChg chg="mod">
          <ac:chgData name="Adrian Kisliuk" userId="81f189f0-3ed9-4f29-a7b1-770f7af93676" providerId="ADAL" clId="{69587B1D-2EFB-401C-A02D-B0C1DB4406A0}" dt="2021-03-02T13:25:51.559" v="940" actId="20577"/>
          <ac:spMkLst>
            <pc:docMk/>
            <pc:sldMk cId="3888384040" sldId="474"/>
            <ac:spMk id="10" creationId="{00000000-0000-0000-0000-000000000000}"/>
          </ac:spMkLst>
        </pc:spChg>
      </pc:sldChg>
      <pc:sldChg chg="del">
        <pc:chgData name="Adrian Kisliuk" userId="81f189f0-3ed9-4f29-a7b1-770f7af93676" providerId="ADAL" clId="{69587B1D-2EFB-401C-A02D-B0C1DB4406A0}" dt="2021-03-02T13:25:32.183" v="936" actId="47"/>
        <pc:sldMkLst>
          <pc:docMk/>
          <pc:sldMk cId="3603600991" sldId="759"/>
        </pc:sldMkLst>
      </pc:sldChg>
      <pc:sldChg chg="del">
        <pc:chgData name="Adrian Kisliuk" userId="81f189f0-3ed9-4f29-a7b1-770f7af93676" providerId="ADAL" clId="{69587B1D-2EFB-401C-A02D-B0C1DB4406A0}" dt="2021-03-02T13:25:32.183" v="936" actId="47"/>
        <pc:sldMkLst>
          <pc:docMk/>
          <pc:sldMk cId="886612709" sldId="766"/>
        </pc:sldMkLst>
      </pc:sldChg>
      <pc:sldChg chg="del">
        <pc:chgData name="Adrian Kisliuk" userId="81f189f0-3ed9-4f29-a7b1-770f7af93676" providerId="ADAL" clId="{69587B1D-2EFB-401C-A02D-B0C1DB4406A0}" dt="2021-03-02T13:19:07.877" v="886" actId="47"/>
        <pc:sldMkLst>
          <pc:docMk/>
          <pc:sldMk cId="2209464991" sldId="816"/>
        </pc:sldMkLst>
      </pc:sldChg>
      <pc:sldChg chg="del">
        <pc:chgData name="Adrian Kisliuk" userId="81f189f0-3ed9-4f29-a7b1-770f7af93676" providerId="ADAL" clId="{69587B1D-2EFB-401C-A02D-B0C1DB4406A0}" dt="2021-03-02T13:18:53.725" v="884" actId="47"/>
        <pc:sldMkLst>
          <pc:docMk/>
          <pc:sldMk cId="3075530014" sldId="817"/>
        </pc:sldMkLst>
      </pc:sldChg>
      <pc:sldChg chg="modSp mod">
        <pc:chgData name="Adrian Kisliuk" userId="81f189f0-3ed9-4f29-a7b1-770f7af93676" providerId="ADAL" clId="{69587B1D-2EFB-401C-A02D-B0C1DB4406A0}" dt="2021-03-02T13:26:06.450" v="943" actId="20577"/>
        <pc:sldMkLst>
          <pc:docMk/>
          <pc:sldMk cId="2509517720" sldId="820"/>
        </pc:sldMkLst>
        <pc:spChg chg="mod">
          <ac:chgData name="Adrian Kisliuk" userId="81f189f0-3ed9-4f29-a7b1-770f7af93676" providerId="ADAL" clId="{69587B1D-2EFB-401C-A02D-B0C1DB4406A0}" dt="2021-03-02T13:26:06.450" v="943" actId="20577"/>
          <ac:spMkLst>
            <pc:docMk/>
            <pc:sldMk cId="2509517720" sldId="820"/>
            <ac:spMk id="29" creationId="{17760F75-D6E9-4BB1-BA35-50F4ACDBFC19}"/>
          </ac:spMkLst>
        </pc:spChg>
        <pc:cxnChg chg="mod">
          <ac:chgData name="Adrian Kisliuk" userId="81f189f0-3ed9-4f29-a7b1-770f7af93676" providerId="ADAL" clId="{69587B1D-2EFB-401C-A02D-B0C1DB4406A0}" dt="2021-03-02T13:24:05.812" v="931" actId="208"/>
          <ac:cxnSpMkLst>
            <pc:docMk/>
            <pc:sldMk cId="2509517720" sldId="820"/>
            <ac:cxnSpMk id="27" creationId="{F23228C4-B5F4-4412-B4C7-E4B06BBF02CA}"/>
          </ac:cxnSpMkLst>
        </pc:cxnChg>
      </pc:sldChg>
      <pc:sldChg chg="modSp mod">
        <pc:chgData name="Adrian Kisliuk" userId="81f189f0-3ed9-4f29-a7b1-770f7af93676" providerId="ADAL" clId="{69587B1D-2EFB-401C-A02D-B0C1DB4406A0}" dt="2021-03-02T13:24:29.218" v="935" actId="2085"/>
        <pc:sldMkLst>
          <pc:docMk/>
          <pc:sldMk cId="1161844579" sldId="821"/>
        </pc:sldMkLst>
        <pc:spChg chg="mod">
          <ac:chgData name="Adrian Kisliuk" userId="81f189f0-3ed9-4f29-a7b1-770f7af93676" providerId="ADAL" clId="{69587B1D-2EFB-401C-A02D-B0C1DB4406A0}" dt="2021-03-02T13:20:07.328" v="914" actId="27107"/>
          <ac:spMkLst>
            <pc:docMk/>
            <pc:sldMk cId="1161844579" sldId="821"/>
            <ac:spMk id="9" creationId="{D6E18E4B-4E9B-4CFD-AF88-29C3A515D1B4}"/>
          </ac:spMkLst>
        </pc:spChg>
        <pc:spChg chg="mod">
          <ac:chgData name="Adrian Kisliuk" userId="81f189f0-3ed9-4f29-a7b1-770f7af93676" providerId="ADAL" clId="{69587B1D-2EFB-401C-A02D-B0C1DB4406A0}" dt="2021-03-02T13:24:29.218" v="935" actId="2085"/>
          <ac:spMkLst>
            <pc:docMk/>
            <pc:sldMk cId="1161844579" sldId="821"/>
            <ac:spMk id="18" creationId="{A4FA0F6C-1044-40F3-A415-376719684F27}"/>
          </ac:spMkLst>
        </pc:spChg>
        <pc:cxnChg chg="mod">
          <ac:chgData name="Adrian Kisliuk" userId="81f189f0-3ed9-4f29-a7b1-770f7af93676" providerId="ADAL" clId="{69587B1D-2EFB-401C-A02D-B0C1DB4406A0}" dt="2021-03-02T13:24:11.706" v="932" actId="208"/>
          <ac:cxnSpMkLst>
            <pc:docMk/>
            <pc:sldMk cId="1161844579" sldId="821"/>
            <ac:cxnSpMk id="10" creationId="{358A171D-C672-4196-9360-80C5160B1063}"/>
          </ac:cxnSpMkLst>
        </pc:cxnChg>
        <pc:cxnChg chg="mod">
          <ac:chgData name="Adrian Kisliuk" userId="81f189f0-3ed9-4f29-a7b1-770f7af93676" providerId="ADAL" clId="{69587B1D-2EFB-401C-A02D-B0C1DB4406A0}" dt="2021-03-02T13:24:25.708" v="934" actId="208"/>
          <ac:cxnSpMkLst>
            <pc:docMk/>
            <pc:sldMk cId="1161844579" sldId="821"/>
            <ac:cxnSpMk id="19" creationId="{FDD861AD-2623-4DFE-BE15-0320BD4DED87}"/>
          </ac:cxnSpMkLst>
        </pc:cxnChg>
      </pc:sldChg>
      <pc:sldChg chg="del">
        <pc:chgData name="Adrian Kisliuk" userId="81f189f0-3ed9-4f29-a7b1-770f7af93676" providerId="ADAL" clId="{69587B1D-2EFB-401C-A02D-B0C1DB4406A0}" dt="2021-03-02T13:19:01.975" v="885" actId="47"/>
        <pc:sldMkLst>
          <pc:docMk/>
          <pc:sldMk cId="259345786" sldId="822"/>
        </pc:sldMkLst>
      </pc:sldChg>
      <pc:sldChg chg="del">
        <pc:chgData name="Adrian Kisliuk" userId="81f189f0-3ed9-4f29-a7b1-770f7af93676" providerId="ADAL" clId="{69587B1D-2EFB-401C-A02D-B0C1DB4406A0}" dt="2021-03-02T13:19:01.975" v="885" actId="47"/>
        <pc:sldMkLst>
          <pc:docMk/>
          <pc:sldMk cId="3175708426" sldId="823"/>
        </pc:sldMkLst>
      </pc:sldChg>
      <pc:sldChg chg="del">
        <pc:chgData name="Adrian Kisliuk" userId="81f189f0-3ed9-4f29-a7b1-770f7af93676" providerId="ADAL" clId="{69587B1D-2EFB-401C-A02D-B0C1DB4406A0}" dt="2021-03-02T13:19:07.877" v="886" actId="47"/>
        <pc:sldMkLst>
          <pc:docMk/>
          <pc:sldMk cId="1692962519" sldId="826"/>
        </pc:sldMkLst>
      </pc:sldChg>
      <pc:sldChg chg="del">
        <pc:chgData name="Adrian Kisliuk" userId="81f189f0-3ed9-4f29-a7b1-770f7af93676" providerId="ADAL" clId="{69587B1D-2EFB-401C-A02D-B0C1DB4406A0}" dt="2021-03-02T13:19:01.975" v="885" actId="47"/>
        <pc:sldMkLst>
          <pc:docMk/>
          <pc:sldMk cId="3423490071" sldId="827"/>
        </pc:sldMkLst>
      </pc:sldChg>
      <pc:sldChg chg="del">
        <pc:chgData name="Adrian Kisliuk" userId="81f189f0-3ed9-4f29-a7b1-770f7af93676" providerId="ADAL" clId="{69587B1D-2EFB-401C-A02D-B0C1DB4406A0}" dt="2021-03-02T13:19:01.975" v="885" actId="47"/>
        <pc:sldMkLst>
          <pc:docMk/>
          <pc:sldMk cId="346040756" sldId="828"/>
        </pc:sldMkLst>
      </pc:sldChg>
      <pc:sldChg chg="addSp delSp modSp mod">
        <pc:chgData name="Adrian Kisliuk" userId="81f189f0-3ed9-4f29-a7b1-770f7af93676" providerId="ADAL" clId="{69587B1D-2EFB-401C-A02D-B0C1DB4406A0}" dt="2021-03-02T13:30:30.003" v="1429"/>
        <pc:sldMkLst>
          <pc:docMk/>
          <pc:sldMk cId="3742493326" sldId="830"/>
        </pc:sldMkLst>
        <pc:spChg chg="add del mod modVis">
          <ac:chgData name="Adrian Kisliuk" userId="81f189f0-3ed9-4f29-a7b1-770f7af93676" providerId="ADAL" clId="{69587B1D-2EFB-401C-A02D-B0C1DB4406A0}" dt="2021-03-02T13:28:17.833" v="1027"/>
          <ac:spMkLst>
            <pc:docMk/>
            <pc:sldMk cId="3742493326" sldId="830"/>
            <ac:spMk id="2" creationId="{5763EA8D-4BF6-40D8-B01B-D74796D3E64E}"/>
          </ac:spMkLst>
        </pc:spChg>
        <pc:spChg chg="add del mod modVis">
          <ac:chgData name="Adrian Kisliuk" userId="81f189f0-3ed9-4f29-a7b1-770f7af93676" providerId="ADAL" clId="{69587B1D-2EFB-401C-A02D-B0C1DB4406A0}" dt="2021-03-02T13:28:18.698" v="1069"/>
          <ac:spMkLst>
            <pc:docMk/>
            <pc:sldMk cId="3742493326" sldId="830"/>
            <ac:spMk id="3" creationId="{C266C9A8-355C-4B1F-9AA0-D3639FDB6642}"/>
          </ac:spMkLst>
        </pc:spChg>
        <pc:spChg chg="add del mod modVis">
          <ac:chgData name="Adrian Kisliuk" userId="81f189f0-3ed9-4f29-a7b1-770f7af93676" providerId="ADAL" clId="{69587B1D-2EFB-401C-A02D-B0C1DB4406A0}" dt="2021-03-02T13:28:22.220" v="1121"/>
          <ac:spMkLst>
            <pc:docMk/>
            <pc:sldMk cId="3742493326" sldId="830"/>
            <ac:spMk id="5" creationId="{26FC688E-9130-4A64-953A-01E756822D0B}"/>
          </ac:spMkLst>
        </pc:spChg>
        <pc:spChg chg="add del mod modVis">
          <ac:chgData name="Adrian Kisliuk" userId="81f189f0-3ed9-4f29-a7b1-770f7af93676" providerId="ADAL" clId="{69587B1D-2EFB-401C-A02D-B0C1DB4406A0}" dt="2021-03-02T13:28:25.228" v="1172"/>
          <ac:spMkLst>
            <pc:docMk/>
            <pc:sldMk cId="3742493326" sldId="830"/>
            <ac:spMk id="6" creationId="{3307233E-DDE9-46AC-8129-7BE0A3F5992B}"/>
          </ac:spMkLst>
        </pc:spChg>
        <pc:spChg chg="add del mod modVis">
          <ac:chgData name="Adrian Kisliuk" userId="81f189f0-3ed9-4f29-a7b1-770f7af93676" providerId="ADAL" clId="{69587B1D-2EFB-401C-A02D-B0C1DB4406A0}" dt="2021-03-02T13:28:26.261" v="1215"/>
          <ac:spMkLst>
            <pc:docMk/>
            <pc:sldMk cId="3742493326" sldId="830"/>
            <ac:spMk id="7" creationId="{1A559708-6506-4810-A891-E6495B9C3339}"/>
          </ac:spMkLst>
        </pc:spChg>
        <pc:spChg chg="add del mod modVis">
          <ac:chgData name="Adrian Kisliuk" userId="81f189f0-3ed9-4f29-a7b1-770f7af93676" providerId="ADAL" clId="{69587B1D-2EFB-401C-A02D-B0C1DB4406A0}" dt="2021-03-02T13:28:30.940" v="1260"/>
          <ac:spMkLst>
            <pc:docMk/>
            <pc:sldMk cId="3742493326" sldId="830"/>
            <ac:spMk id="8" creationId="{2DEDB47B-648B-4D76-B393-1C79B74E8F72}"/>
          </ac:spMkLst>
        </pc:spChg>
        <pc:spChg chg="mod">
          <ac:chgData name="Adrian Kisliuk" userId="81f189f0-3ed9-4f29-a7b1-770f7af93676" providerId="ADAL" clId="{69587B1D-2EFB-401C-A02D-B0C1DB4406A0}" dt="2021-03-02T13:27:01.226" v="980" actId="404"/>
          <ac:spMkLst>
            <pc:docMk/>
            <pc:sldMk cId="3742493326" sldId="830"/>
            <ac:spMk id="9" creationId="{D6E18E4B-4E9B-4CFD-AF88-29C3A515D1B4}"/>
          </ac:spMkLst>
        </pc:spChg>
        <pc:spChg chg="add del mod modVis">
          <ac:chgData name="Adrian Kisliuk" userId="81f189f0-3ed9-4f29-a7b1-770f7af93676" providerId="ADAL" clId="{69587B1D-2EFB-401C-A02D-B0C1DB4406A0}" dt="2021-03-02T13:30:29.990" v="1427"/>
          <ac:spMkLst>
            <pc:docMk/>
            <pc:sldMk cId="3742493326" sldId="830"/>
            <ac:spMk id="11" creationId="{55FF6EE9-8142-4E7D-B71F-CCCCE23CEFEC}"/>
          </ac:spMkLst>
        </pc:spChg>
        <pc:spChg chg="mod">
          <ac:chgData name="Adrian Kisliuk" userId="81f189f0-3ed9-4f29-a7b1-770f7af93676" providerId="ADAL" clId="{69587B1D-2EFB-401C-A02D-B0C1DB4406A0}" dt="2021-03-02T13:30:29.966" v="1390" actId="948"/>
          <ac:spMkLst>
            <pc:docMk/>
            <pc:sldMk cId="3742493326" sldId="830"/>
            <ac:spMk id="13" creationId="{EF1007E3-6D8E-4D3B-A5C7-29F239CAFC32}"/>
          </ac:spMkLst>
        </pc:spChg>
        <pc:graphicFrameChg chg="mod">
          <ac:chgData name="Adrian Kisliuk" userId="81f189f0-3ed9-4f29-a7b1-770f7af93676" providerId="ADAL" clId="{69587B1D-2EFB-401C-A02D-B0C1DB4406A0}" dt="2021-03-02T13:30:30.003" v="1429"/>
          <ac:graphicFrameMkLst>
            <pc:docMk/>
            <pc:sldMk cId="3742493326" sldId="830"/>
            <ac:graphicFrameMk id="15" creationId="{CA59FC19-9615-42DF-AB71-78FBABA72D2E}"/>
          </ac:graphicFrameMkLst>
        </pc:graphicFrameChg>
        <pc:cxnChg chg="mod">
          <ac:chgData name="Adrian Kisliuk" userId="81f189f0-3ed9-4f29-a7b1-770f7af93676" providerId="ADAL" clId="{69587B1D-2EFB-401C-A02D-B0C1DB4406A0}" dt="2021-03-02T13:23:55.089" v="930" actId="208"/>
          <ac:cxnSpMkLst>
            <pc:docMk/>
            <pc:sldMk cId="3742493326" sldId="830"/>
            <ac:cxnSpMk id="10" creationId="{358A171D-C672-4196-9360-80C5160B1063}"/>
          </ac:cxnSpMkLst>
        </pc:cxnChg>
      </pc:sldChg>
      <pc:sldChg chg="del">
        <pc:chgData name="Adrian Kisliuk" userId="81f189f0-3ed9-4f29-a7b1-770f7af93676" providerId="ADAL" clId="{69587B1D-2EFB-401C-A02D-B0C1DB4406A0}" dt="2021-03-02T13:19:01.975" v="885" actId="47"/>
        <pc:sldMkLst>
          <pc:docMk/>
          <pc:sldMk cId="2250725930" sldId="831"/>
        </pc:sldMkLst>
      </pc:sldChg>
      <pc:sldChg chg="del">
        <pc:chgData name="Adrian Kisliuk" userId="81f189f0-3ed9-4f29-a7b1-770f7af93676" providerId="ADAL" clId="{69587B1D-2EFB-401C-A02D-B0C1DB4406A0}" dt="2021-03-02T13:19:01.975" v="885" actId="47"/>
        <pc:sldMkLst>
          <pc:docMk/>
          <pc:sldMk cId="3037986608" sldId="832"/>
        </pc:sldMkLst>
      </pc:sldChg>
      <pc:sldChg chg="addSp delSp modSp mod chgLayout">
        <pc:chgData name="Adrian Kisliuk" userId="81f189f0-3ed9-4f29-a7b1-770f7af93676" providerId="ADAL" clId="{69587B1D-2EFB-401C-A02D-B0C1DB4406A0}" dt="2021-03-02T13:18:49.009" v="883" actId="478"/>
        <pc:sldMkLst>
          <pc:docMk/>
          <pc:sldMk cId="2386691843" sldId="835"/>
        </pc:sldMkLst>
        <pc:spChg chg="mod ord">
          <ac:chgData name="Adrian Kisliuk" userId="81f189f0-3ed9-4f29-a7b1-770f7af93676" providerId="ADAL" clId="{69587B1D-2EFB-401C-A02D-B0C1DB4406A0}" dt="2021-03-02T13:18:43.342" v="828"/>
          <ac:spMkLst>
            <pc:docMk/>
            <pc:sldMk cId="2386691843" sldId="835"/>
            <ac:spMk id="2" creationId="{736DD3AB-E3D8-451A-A2E0-B5EE4A7F1EDB}"/>
          </ac:spMkLst>
        </pc:spChg>
        <pc:spChg chg="del mod ord">
          <ac:chgData name="Adrian Kisliuk" userId="81f189f0-3ed9-4f29-a7b1-770f7af93676" providerId="ADAL" clId="{69587B1D-2EFB-401C-A02D-B0C1DB4406A0}" dt="2021-03-02T13:18:49.009" v="883" actId="478"/>
          <ac:spMkLst>
            <pc:docMk/>
            <pc:sldMk cId="2386691843" sldId="835"/>
            <ac:spMk id="3" creationId="{15765966-5C73-4564-BEF2-375082945725}"/>
          </ac:spMkLst>
        </pc:spChg>
        <pc:spChg chg="add mod ord">
          <ac:chgData name="Adrian Kisliuk" userId="81f189f0-3ed9-4f29-a7b1-770f7af93676" providerId="ADAL" clId="{69587B1D-2EFB-401C-A02D-B0C1DB4406A0}" dt="2021-03-02T13:18:46.253" v="830" actId="948"/>
          <ac:spMkLst>
            <pc:docMk/>
            <pc:sldMk cId="2386691843" sldId="835"/>
            <ac:spMk id="4" creationId="{50DED182-7066-4B8D-A81D-55D65D6AE684}"/>
          </ac:spMkLst>
        </pc:spChg>
        <pc:spChg chg="add del mod modVis">
          <ac:chgData name="Adrian Kisliuk" userId="81f189f0-3ed9-4f29-a7b1-770f7af93676" providerId="ADAL" clId="{69587B1D-2EFB-401C-A02D-B0C1DB4406A0}" dt="2021-03-02T13:18:46.296" v="867"/>
          <ac:spMkLst>
            <pc:docMk/>
            <pc:sldMk cId="2386691843" sldId="835"/>
            <ac:spMk id="6" creationId="{F341BAF9-7D5B-4096-A016-45564C01435F}"/>
          </ac:spMkLst>
        </pc:spChg>
        <pc:graphicFrameChg chg="add mod ord modVis">
          <ac:chgData name="Adrian Kisliuk" userId="81f189f0-3ed9-4f29-a7b1-770f7af93676" providerId="ADAL" clId="{69587B1D-2EFB-401C-A02D-B0C1DB4406A0}" dt="2021-03-02T13:18:46.318" v="882"/>
          <ac:graphicFrameMkLst>
            <pc:docMk/>
            <pc:sldMk cId="2386691843" sldId="835"/>
            <ac:graphicFrameMk id="9" creationId="{60E1546A-1D2C-45C1-9A4E-8FE1B9D335B1}"/>
          </ac:graphicFrameMkLst>
        </pc:graphicFrameChg>
      </pc:sldChg>
      <pc:sldChg chg="del">
        <pc:chgData name="Adrian Kisliuk" userId="81f189f0-3ed9-4f29-a7b1-770f7af93676" providerId="ADAL" clId="{69587B1D-2EFB-401C-A02D-B0C1DB4406A0}" dt="2021-03-02T13:19:01.975" v="885" actId="47"/>
        <pc:sldMkLst>
          <pc:docMk/>
          <pc:sldMk cId="3848620733" sldId="836"/>
        </pc:sldMkLst>
      </pc:sldChg>
      <pc:sldChg chg="addSp delSp modSp del mod ord">
        <pc:chgData name="Adrian Kisliuk" userId="81f189f0-3ed9-4f29-a7b1-770f7af93676" providerId="ADAL" clId="{69587B1D-2EFB-401C-A02D-B0C1DB4406A0}" dt="2021-03-02T13:19:01.975" v="885" actId="47"/>
        <pc:sldMkLst>
          <pc:docMk/>
          <pc:sldMk cId="759741315" sldId="837"/>
        </pc:sldMkLst>
        <pc:spChg chg="mod">
          <ac:chgData name="Adrian Kisliuk" userId="81f189f0-3ed9-4f29-a7b1-770f7af93676" providerId="ADAL" clId="{69587B1D-2EFB-401C-A02D-B0C1DB4406A0}" dt="2021-03-02T13:09:09.509" v="448" actId="948"/>
          <ac:spMkLst>
            <pc:docMk/>
            <pc:sldMk cId="759741315" sldId="837"/>
            <ac:spMk id="4" creationId="{C32F903F-A4E8-491F-8C7C-2288947BD34E}"/>
          </ac:spMkLst>
        </pc:spChg>
        <pc:spChg chg="mod">
          <ac:chgData name="Adrian Kisliuk" userId="81f189f0-3ed9-4f29-a7b1-770f7af93676" providerId="ADAL" clId="{69587B1D-2EFB-401C-A02D-B0C1DB4406A0}" dt="2021-03-02T13:08:26.325" v="108" actId="1076"/>
          <ac:spMkLst>
            <pc:docMk/>
            <pc:sldMk cId="759741315" sldId="837"/>
            <ac:spMk id="5" creationId="{FC298125-D680-4F92-8081-A588B2F8C85A}"/>
          </ac:spMkLst>
        </pc:spChg>
        <pc:spChg chg="add del mod modVis">
          <ac:chgData name="Adrian Kisliuk" userId="81f189f0-3ed9-4f29-a7b1-770f7af93676" providerId="ADAL" clId="{69587B1D-2EFB-401C-A02D-B0C1DB4406A0}" dt="2021-03-02T13:08:31.834" v="155"/>
          <ac:spMkLst>
            <pc:docMk/>
            <pc:sldMk cId="759741315" sldId="837"/>
            <ac:spMk id="10" creationId="{03A9561B-F56A-413A-BEC5-5B574723563A}"/>
          </ac:spMkLst>
        </pc:spChg>
        <pc:spChg chg="add del mod modVis">
          <ac:chgData name="Adrian Kisliuk" userId="81f189f0-3ed9-4f29-a7b1-770f7af93676" providerId="ADAL" clId="{69587B1D-2EFB-401C-A02D-B0C1DB4406A0}" dt="2021-03-02T13:08:35.877" v="206"/>
          <ac:spMkLst>
            <pc:docMk/>
            <pc:sldMk cId="759741315" sldId="837"/>
            <ac:spMk id="11" creationId="{3764DEB0-4250-448C-A899-298637342D1D}"/>
          </ac:spMkLst>
        </pc:spChg>
        <pc:spChg chg="add del mod modVis">
          <ac:chgData name="Adrian Kisliuk" userId="81f189f0-3ed9-4f29-a7b1-770f7af93676" providerId="ADAL" clId="{69587B1D-2EFB-401C-A02D-B0C1DB4406A0}" dt="2021-03-02T13:08:36.711" v="247"/>
          <ac:spMkLst>
            <pc:docMk/>
            <pc:sldMk cId="759741315" sldId="837"/>
            <ac:spMk id="12" creationId="{DC49343C-98A9-44B0-8CD9-87D876202DA3}"/>
          </ac:spMkLst>
        </pc:spChg>
        <pc:spChg chg="add del mod modVis">
          <ac:chgData name="Adrian Kisliuk" userId="81f189f0-3ed9-4f29-a7b1-770f7af93676" providerId="ADAL" clId="{69587B1D-2EFB-401C-A02D-B0C1DB4406A0}" dt="2021-03-02T13:08:42.075" v="306"/>
          <ac:spMkLst>
            <pc:docMk/>
            <pc:sldMk cId="759741315" sldId="837"/>
            <ac:spMk id="13" creationId="{BF5571E9-91BE-4464-B386-0262025EB155}"/>
          </ac:spMkLst>
        </pc:spChg>
        <pc:spChg chg="add del mod modVis">
          <ac:chgData name="Adrian Kisliuk" userId="81f189f0-3ed9-4f29-a7b1-770f7af93676" providerId="ADAL" clId="{69587B1D-2EFB-401C-A02D-B0C1DB4406A0}" dt="2021-03-02T13:08:43.815" v="353"/>
          <ac:spMkLst>
            <pc:docMk/>
            <pc:sldMk cId="759741315" sldId="837"/>
            <ac:spMk id="14" creationId="{1A337353-9E23-47AA-A449-705D85136A4E}"/>
          </ac:spMkLst>
        </pc:spChg>
        <pc:spChg chg="add del mod modVis">
          <ac:chgData name="Adrian Kisliuk" userId="81f189f0-3ed9-4f29-a7b1-770f7af93676" providerId="ADAL" clId="{69587B1D-2EFB-401C-A02D-B0C1DB4406A0}" dt="2021-03-02T13:08:47.375" v="395"/>
          <ac:spMkLst>
            <pc:docMk/>
            <pc:sldMk cId="759741315" sldId="837"/>
            <ac:spMk id="15" creationId="{67C09C6F-D434-4C7A-A83B-FC36E8FA30A1}"/>
          </ac:spMkLst>
        </pc:spChg>
        <pc:spChg chg="add del mod modVis">
          <ac:chgData name="Adrian Kisliuk" userId="81f189f0-3ed9-4f29-a7b1-770f7af93676" providerId="ADAL" clId="{69587B1D-2EFB-401C-A02D-B0C1DB4406A0}" dt="2021-03-02T13:09:08.307" v="440"/>
          <ac:spMkLst>
            <pc:docMk/>
            <pc:sldMk cId="759741315" sldId="837"/>
            <ac:spMk id="16" creationId="{A9D8041C-40F5-4CE2-8495-B273AAD08F5B}"/>
          </ac:spMkLst>
        </pc:spChg>
        <pc:spChg chg="add del mod modVis">
          <ac:chgData name="Adrian Kisliuk" userId="81f189f0-3ed9-4f29-a7b1-770f7af93676" providerId="ADAL" clId="{69587B1D-2EFB-401C-A02D-B0C1DB4406A0}" dt="2021-03-02T13:09:09.552" v="485"/>
          <ac:spMkLst>
            <pc:docMk/>
            <pc:sldMk cId="759741315" sldId="837"/>
            <ac:spMk id="17" creationId="{2BBD0181-A164-457A-B8B5-52834FBC4699}"/>
          </ac:spMkLst>
        </pc:spChg>
        <pc:graphicFrameChg chg="mod">
          <ac:chgData name="Adrian Kisliuk" userId="81f189f0-3ed9-4f29-a7b1-770f7af93676" providerId="ADAL" clId="{69587B1D-2EFB-401C-A02D-B0C1DB4406A0}" dt="2021-03-02T13:09:09.555" v="487"/>
          <ac:graphicFrameMkLst>
            <pc:docMk/>
            <pc:sldMk cId="759741315" sldId="837"/>
            <ac:graphicFrameMk id="7" creationId="{5660D7B9-2AFE-459A-88CF-B12E9607ECF2}"/>
          </ac:graphicFrameMkLst>
        </pc:graphicFrameChg>
        <pc:picChg chg="mod">
          <ac:chgData name="Adrian Kisliuk" userId="81f189f0-3ed9-4f29-a7b1-770f7af93676" providerId="ADAL" clId="{69587B1D-2EFB-401C-A02D-B0C1DB4406A0}" dt="2021-03-02T13:10:45.460" v="501" actId="1076"/>
          <ac:picMkLst>
            <pc:docMk/>
            <pc:sldMk cId="759741315" sldId="837"/>
            <ac:picMk id="8" creationId="{9C9F2122-5CC7-44AB-8F0D-AC9A9827247F}"/>
          </ac:picMkLst>
        </pc:picChg>
        <pc:picChg chg="mod">
          <ac:chgData name="Adrian Kisliuk" userId="81f189f0-3ed9-4f29-a7b1-770f7af93676" providerId="ADAL" clId="{69587B1D-2EFB-401C-A02D-B0C1DB4406A0}" dt="2021-03-02T13:10:25.279" v="498" actId="12789"/>
          <ac:picMkLst>
            <pc:docMk/>
            <pc:sldMk cId="759741315" sldId="837"/>
            <ac:picMk id="18" creationId="{523D6BC8-98D8-4406-B8C8-2C6D88A74250}"/>
          </ac:picMkLst>
        </pc:picChg>
        <pc:picChg chg="add mod">
          <ac:chgData name="Adrian Kisliuk" userId="81f189f0-3ed9-4f29-a7b1-770f7af93676" providerId="ADAL" clId="{69587B1D-2EFB-401C-A02D-B0C1DB4406A0}" dt="2021-03-02T13:10:13.706" v="496" actId="408"/>
          <ac:picMkLst>
            <pc:docMk/>
            <pc:sldMk cId="759741315" sldId="837"/>
            <ac:picMk id="38" creationId="{BF07CF77-F9B3-42E9-88AF-E638F732E81E}"/>
          </ac:picMkLst>
        </pc:picChg>
        <pc:picChg chg="add mod">
          <ac:chgData name="Adrian Kisliuk" userId="81f189f0-3ed9-4f29-a7b1-770f7af93676" providerId="ADAL" clId="{69587B1D-2EFB-401C-A02D-B0C1DB4406A0}" dt="2021-03-02T13:10:13.706" v="496" actId="408"/>
          <ac:picMkLst>
            <pc:docMk/>
            <pc:sldMk cId="759741315" sldId="837"/>
            <ac:picMk id="39" creationId="{6C9D0D58-2718-4494-A035-EDFEF913B35A}"/>
          </ac:picMkLst>
        </pc:picChg>
        <pc:picChg chg="add mod">
          <ac:chgData name="Adrian Kisliuk" userId="81f189f0-3ed9-4f29-a7b1-770f7af93676" providerId="ADAL" clId="{69587B1D-2EFB-401C-A02D-B0C1DB4406A0}" dt="2021-03-02T13:10:13.706" v="496" actId="408"/>
          <ac:picMkLst>
            <pc:docMk/>
            <pc:sldMk cId="759741315" sldId="837"/>
            <ac:picMk id="40" creationId="{DB381154-2CA5-436A-9587-3CD457B5B2ED}"/>
          </ac:picMkLst>
        </pc:picChg>
        <pc:picChg chg="mod">
          <ac:chgData name="Adrian Kisliuk" userId="81f189f0-3ed9-4f29-a7b1-770f7af93676" providerId="ADAL" clId="{69587B1D-2EFB-401C-A02D-B0C1DB4406A0}" dt="2021-03-02T13:10:03.379" v="493" actId="1076"/>
          <ac:picMkLst>
            <pc:docMk/>
            <pc:sldMk cId="759741315" sldId="837"/>
            <ac:picMk id="1026" creationId="{3D95A9D7-8547-417F-8A07-3F83C64A59D9}"/>
          </ac:picMkLst>
        </pc:picChg>
        <pc:picChg chg="mod">
          <ac:chgData name="Adrian Kisliuk" userId="81f189f0-3ed9-4f29-a7b1-770f7af93676" providerId="ADAL" clId="{69587B1D-2EFB-401C-A02D-B0C1DB4406A0}" dt="2021-03-02T13:10:25.279" v="498" actId="12789"/>
          <ac:picMkLst>
            <pc:docMk/>
            <pc:sldMk cId="759741315" sldId="837"/>
            <ac:picMk id="1030" creationId="{0A5F62C3-583A-40FB-AA1F-3468436B4CCD}"/>
          </ac:picMkLst>
        </pc:picChg>
        <pc:picChg chg="mod">
          <ac:chgData name="Adrian Kisliuk" userId="81f189f0-3ed9-4f29-a7b1-770f7af93676" providerId="ADAL" clId="{69587B1D-2EFB-401C-A02D-B0C1DB4406A0}" dt="2021-03-02T13:10:25.279" v="498" actId="12789"/>
          <ac:picMkLst>
            <pc:docMk/>
            <pc:sldMk cId="759741315" sldId="837"/>
            <ac:picMk id="1032" creationId="{BA4B8B89-8E9F-4563-AE14-F739DFC91141}"/>
          </ac:picMkLst>
        </pc:picChg>
        <pc:picChg chg="mod">
          <ac:chgData name="Adrian Kisliuk" userId="81f189f0-3ed9-4f29-a7b1-770f7af93676" providerId="ADAL" clId="{69587B1D-2EFB-401C-A02D-B0C1DB4406A0}" dt="2021-03-02T13:11:32.857" v="506" actId="12789"/>
          <ac:picMkLst>
            <pc:docMk/>
            <pc:sldMk cId="759741315" sldId="837"/>
            <ac:picMk id="1034" creationId="{50EF20B7-8695-4E5B-948E-38D1B122706B}"/>
          </ac:picMkLst>
        </pc:picChg>
        <pc:picChg chg="mod">
          <ac:chgData name="Adrian Kisliuk" userId="81f189f0-3ed9-4f29-a7b1-770f7af93676" providerId="ADAL" clId="{69587B1D-2EFB-401C-A02D-B0C1DB4406A0}" dt="2021-03-02T13:10:01.189" v="492" actId="1076"/>
          <ac:picMkLst>
            <pc:docMk/>
            <pc:sldMk cId="759741315" sldId="837"/>
            <ac:picMk id="1040" creationId="{EC8376D9-C6E3-4F38-9167-BEDD0336C152}"/>
          </ac:picMkLst>
        </pc:picChg>
        <pc:picChg chg="mod">
          <ac:chgData name="Adrian Kisliuk" userId="81f189f0-3ed9-4f29-a7b1-770f7af93676" providerId="ADAL" clId="{69587B1D-2EFB-401C-A02D-B0C1DB4406A0}" dt="2021-03-02T13:10:25.279" v="498" actId="12789"/>
          <ac:picMkLst>
            <pc:docMk/>
            <pc:sldMk cId="759741315" sldId="837"/>
            <ac:picMk id="1042" creationId="{2A0DC546-AED0-46B1-854D-938E7BD3C3B3}"/>
          </ac:picMkLst>
        </pc:picChg>
        <pc:picChg chg="mod">
          <ac:chgData name="Adrian Kisliuk" userId="81f189f0-3ed9-4f29-a7b1-770f7af93676" providerId="ADAL" clId="{69587B1D-2EFB-401C-A02D-B0C1DB4406A0}" dt="2021-03-02T13:10:45.460" v="501" actId="1076"/>
          <ac:picMkLst>
            <pc:docMk/>
            <pc:sldMk cId="759741315" sldId="837"/>
            <ac:picMk id="1046" creationId="{7D3A7E12-AB1A-45DD-90BC-D678CD48CDCD}"/>
          </ac:picMkLst>
        </pc:picChg>
        <pc:picChg chg="mod">
          <ac:chgData name="Adrian Kisliuk" userId="81f189f0-3ed9-4f29-a7b1-770f7af93676" providerId="ADAL" clId="{69587B1D-2EFB-401C-A02D-B0C1DB4406A0}" dt="2021-03-02T13:10:05.770" v="494" actId="1076"/>
          <ac:picMkLst>
            <pc:docMk/>
            <pc:sldMk cId="759741315" sldId="837"/>
            <ac:picMk id="1050" creationId="{F8B59AC0-F1BF-44FC-A781-DC05EE37519D}"/>
          </ac:picMkLst>
        </pc:picChg>
        <pc:picChg chg="mod">
          <ac:chgData name="Adrian Kisliuk" userId="81f189f0-3ed9-4f29-a7b1-770f7af93676" providerId="ADAL" clId="{69587B1D-2EFB-401C-A02D-B0C1DB4406A0}" dt="2021-03-02T13:10:45.460" v="501" actId="1076"/>
          <ac:picMkLst>
            <pc:docMk/>
            <pc:sldMk cId="759741315" sldId="837"/>
            <ac:picMk id="1052" creationId="{19045790-0F4D-43E7-B0F6-8FE45BA47774}"/>
          </ac:picMkLst>
        </pc:picChg>
        <pc:picChg chg="mod">
          <ac:chgData name="Adrian Kisliuk" userId="81f189f0-3ed9-4f29-a7b1-770f7af93676" providerId="ADAL" clId="{69587B1D-2EFB-401C-A02D-B0C1DB4406A0}" dt="2021-03-02T13:11:32.857" v="506" actId="12789"/>
          <ac:picMkLst>
            <pc:docMk/>
            <pc:sldMk cId="759741315" sldId="837"/>
            <ac:picMk id="1054" creationId="{36829114-B8D9-4B38-B264-7C2910AC4DA0}"/>
          </ac:picMkLst>
        </pc:picChg>
        <pc:picChg chg="mod">
          <ac:chgData name="Adrian Kisliuk" userId="81f189f0-3ed9-4f29-a7b1-770f7af93676" providerId="ADAL" clId="{69587B1D-2EFB-401C-A02D-B0C1DB4406A0}" dt="2021-03-02T13:10:45.460" v="501" actId="1076"/>
          <ac:picMkLst>
            <pc:docMk/>
            <pc:sldMk cId="759741315" sldId="837"/>
            <ac:picMk id="1056" creationId="{668A3436-EE15-44C9-B132-39B2C7A9BBF1}"/>
          </ac:picMkLst>
        </pc:picChg>
        <pc:picChg chg="mod">
          <ac:chgData name="Adrian Kisliuk" userId="81f189f0-3ed9-4f29-a7b1-770f7af93676" providerId="ADAL" clId="{69587B1D-2EFB-401C-A02D-B0C1DB4406A0}" dt="2021-03-02T13:11:32.857" v="506" actId="12789"/>
          <ac:picMkLst>
            <pc:docMk/>
            <pc:sldMk cId="759741315" sldId="837"/>
            <ac:picMk id="1058" creationId="{D389B605-C9DB-4911-9840-437122FF3102}"/>
          </ac:picMkLst>
        </pc:picChg>
        <pc:picChg chg="mod">
          <ac:chgData name="Adrian Kisliuk" userId="81f189f0-3ed9-4f29-a7b1-770f7af93676" providerId="ADAL" clId="{69587B1D-2EFB-401C-A02D-B0C1DB4406A0}" dt="2021-03-02T13:11:32.857" v="506" actId="12789"/>
          <ac:picMkLst>
            <pc:docMk/>
            <pc:sldMk cId="759741315" sldId="837"/>
            <ac:picMk id="1062" creationId="{97FD82EF-A3AD-4695-81B2-806E7DCF15D5}"/>
          </ac:picMkLst>
        </pc:picChg>
        <pc:cxnChg chg="add mod">
          <ac:chgData name="Adrian Kisliuk" userId="81f189f0-3ed9-4f29-a7b1-770f7af93676" providerId="ADAL" clId="{69587B1D-2EFB-401C-A02D-B0C1DB4406A0}" dt="2021-03-02T13:11:54.015" v="507" actId="208"/>
          <ac:cxnSpMkLst>
            <pc:docMk/>
            <pc:sldMk cId="759741315" sldId="837"/>
            <ac:cxnSpMk id="21" creationId="{E5329AD0-99A3-4F07-A61A-DD5FE645C322}"/>
          </ac:cxnSpMkLst>
        </pc:cxnChg>
        <pc:cxnChg chg="add mod">
          <ac:chgData name="Adrian Kisliuk" userId="81f189f0-3ed9-4f29-a7b1-770f7af93676" providerId="ADAL" clId="{69587B1D-2EFB-401C-A02D-B0C1DB4406A0}" dt="2021-03-02T13:12:05.196" v="517" actId="14100"/>
          <ac:cxnSpMkLst>
            <pc:docMk/>
            <pc:sldMk cId="759741315" sldId="837"/>
            <ac:cxnSpMk id="23" creationId="{A3A096D8-361A-4512-B535-14CA3884D7F8}"/>
          </ac:cxnSpMkLst>
        </pc:cxnChg>
        <pc:cxnChg chg="add mod">
          <ac:chgData name="Adrian Kisliuk" userId="81f189f0-3ed9-4f29-a7b1-770f7af93676" providerId="ADAL" clId="{69587B1D-2EFB-401C-A02D-B0C1DB4406A0}" dt="2021-03-02T13:12:07.758" v="518" actId="14100"/>
          <ac:cxnSpMkLst>
            <pc:docMk/>
            <pc:sldMk cId="759741315" sldId="837"/>
            <ac:cxnSpMk id="24" creationId="{8086520B-3DFF-486C-B943-3B1902316036}"/>
          </ac:cxnSpMkLst>
        </pc:cxnChg>
        <pc:cxnChg chg="add mod">
          <ac:chgData name="Adrian Kisliuk" userId="81f189f0-3ed9-4f29-a7b1-770f7af93676" providerId="ADAL" clId="{69587B1D-2EFB-401C-A02D-B0C1DB4406A0}" dt="2021-03-02T13:12:00.445" v="516" actId="1038"/>
          <ac:cxnSpMkLst>
            <pc:docMk/>
            <pc:sldMk cId="759741315" sldId="837"/>
            <ac:cxnSpMk id="25" creationId="{6E9340A6-AB1A-4CB0-8EC4-484C4EFAA0A4}"/>
          </ac:cxnSpMkLst>
        </pc:cxnChg>
        <pc:cxnChg chg="add mod">
          <ac:chgData name="Adrian Kisliuk" userId="81f189f0-3ed9-4f29-a7b1-770f7af93676" providerId="ADAL" clId="{69587B1D-2EFB-401C-A02D-B0C1DB4406A0}" dt="2021-03-02T13:11:54.015" v="507" actId="208"/>
          <ac:cxnSpMkLst>
            <pc:docMk/>
            <pc:sldMk cId="759741315" sldId="837"/>
            <ac:cxnSpMk id="26" creationId="{7FA93021-1146-4168-ABBD-0A2EDBB527B7}"/>
          </ac:cxnSpMkLst>
        </pc:cxnChg>
        <pc:cxnChg chg="add del mod">
          <ac:chgData name="Adrian Kisliuk" userId="81f189f0-3ed9-4f29-a7b1-770f7af93676" providerId="ADAL" clId="{69587B1D-2EFB-401C-A02D-B0C1DB4406A0}" dt="2021-03-02T13:07:31.466" v="96" actId="478"/>
          <ac:cxnSpMkLst>
            <pc:docMk/>
            <pc:sldMk cId="759741315" sldId="837"/>
            <ac:cxnSpMk id="27" creationId="{A4BA7323-B902-4F4A-BEEE-0FB52AAB8A5A}"/>
          </ac:cxnSpMkLst>
        </pc:cxnChg>
        <pc:cxnChg chg="add mod">
          <ac:chgData name="Adrian Kisliuk" userId="81f189f0-3ed9-4f29-a7b1-770f7af93676" providerId="ADAL" clId="{69587B1D-2EFB-401C-A02D-B0C1DB4406A0}" dt="2021-03-02T13:12:22.997" v="523" actId="14100"/>
          <ac:cxnSpMkLst>
            <pc:docMk/>
            <pc:sldMk cId="759741315" sldId="837"/>
            <ac:cxnSpMk id="43" creationId="{A1229295-9CAE-4663-B32A-850B6550B509}"/>
          </ac:cxnSpMkLst>
        </pc:cxnChg>
        <pc:cxnChg chg="add mod">
          <ac:chgData name="Adrian Kisliuk" userId="81f189f0-3ed9-4f29-a7b1-770f7af93676" providerId="ADAL" clId="{69587B1D-2EFB-401C-A02D-B0C1DB4406A0}" dt="2021-03-02T13:12:28.044" v="525" actId="1076"/>
          <ac:cxnSpMkLst>
            <pc:docMk/>
            <pc:sldMk cId="759741315" sldId="837"/>
            <ac:cxnSpMk id="47" creationId="{5BDE6D65-D8E7-4B9C-9507-10B04E77726A}"/>
          </ac:cxnSpMkLst>
        </pc:cxnChg>
        <pc:cxnChg chg="add mod">
          <ac:chgData name="Adrian Kisliuk" userId="81f189f0-3ed9-4f29-a7b1-770f7af93676" providerId="ADAL" clId="{69587B1D-2EFB-401C-A02D-B0C1DB4406A0}" dt="2021-03-02T13:12:33.147" v="527" actId="1076"/>
          <ac:cxnSpMkLst>
            <pc:docMk/>
            <pc:sldMk cId="759741315" sldId="837"/>
            <ac:cxnSpMk id="48" creationId="{C9A4D7FE-9AF0-41C4-A611-084F11CC2A44}"/>
          </ac:cxnSpMkLst>
        </pc:cxnChg>
        <pc:cxnChg chg="add mod">
          <ac:chgData name="Adrian Kisliuk" userId="81f189f0-3ed9-4f29-a7b1-770f7af93676" providerId="ADAL" clId="{69587B1D-2EFB-401C-A02D-B0C1DB4406A0}" dt="2021-03-02T13:12:37.749" v="529" actId="1076"/>
          <ac:cxnSpMkLst>
            <pc:docMk/>
            <pc:sldMk cId="759741315" sldId="837"/>
            <ac:cxnSpMk id="49" creationId="{295745D9-C307-4160-8EED-F48F414BE19A}"/>
          </ac:cxnSpMkLst>
        </pc:cxnChg>
        <pc:cxnChg chg="add mod">
          <ac:chgData name="Adrian Kisliuk" userId="81f189f0-3ed9-4f29-a7b1-770f7af93676" providerId="ADAL" clId="{69587B1D-2EFB-401C-A02D-B0C1DB4406A0}" dt="2021-03-02T13:12:42.061" v="531" actId="1076"/>
          <ac:cxnSpMkLst>
            <pc:docMk/>
            <pc:sldMk cId="759741315" sldId="837"/>
            <ac:cxnSpMk id="50" creationId="{890F4A53-163F-4D71-81C9-F3E3624E3FED}"/>
          </ac:cxnSpMkLst>
        </pc:cxnChg>
        <pc:cxnChg chg="add mod">
          <ac:chgData name="Adrian Kisliuk" userId="81f189f0-3ed9-4f29-a7b1-770f7af93676" providerId="ADAL" clId="{69587B1D-2EFB-401C-A02D-B0C1DB4406A0}" dt="2021-03-02T13:12:47.389" v="533" actId="1076"/>
          <ac:cxnSpMkLst>
            <pc:docMk/>
            <pc:sldMk cId="759741315" sldId="837"/>
            <ac:cxnSpMk id="51" creationId="{0015EE14-FDDB-4C64-B119-2BF4CBFDE454}"/>
          </ac:cxnSpMkLst>
        </pc:cxnChg>
        <pc:cxnChg chg="add mod">
          <ac:chgData name="Adrian Kisliuk" userId="81f189f0-3ed9-4f29-a7b1-770f7af93676" providerId="ADAL" clId="{69587B1D-2EFB-401C-A02D-B0C1DB4406A0}" dt="2021-03-02T13:12:53.637" v="535" actId="1076"/>
          <ac:cxnSpMkLst>
            <pc:docMk/>
            <pc:sldMk cId="759741315" sldId="837"/>
            <ac:cxnSpMk id="52" creationId="{DDC96732-8B3E-4F30-A4DC-16F0DD61A881}"/>
          </ac:cxnSpMkLst>
        </pc:cxnChg>
        <pc:cxnChg chg="add mod">
          <ac:chgData name="Adrian Kisliuk" userId="81f189f0-3ed9-4f29-a7b1-770f7af93676" providerId="ADAL" clId="{69587B1D-2EFB-401C-A02D-B0C1DB4406A0}" dt="2021-03-02T13:12:59.062" v="537" actId="1076"/>
          <ac:cxnSpMkLst>
            <pc:docMk/>
            <pc:sldMk cId="759741315" sldId="837"/>
            <ac:cxnSpMk id="53" creationId="{ED69DA54-4EC8-40A0-8693-170E36294ED2}"/>
          </ac:cxnSpMkLst>
        </pc:cxnChg>
        <pc:cxnChg chg="add mod">
          <ac:chgData name="Adrian Kisliuk" userId="81f189f0-3ed9-4f29-a7b1-770f7af93676" providerId="ADAL" clId="{69587B1D-2EFB-401C-A02D-B0C1DB4406A0}" dt="2021-03-02T13:13:04.502" v="539" actId="1076"/>
          <ac:cxnSpMkLst>
            <pc:docMk/>
            <pc:sldMk cId="759741315" sldId="837"/>
            <ac:cxnSpMk id="54" creationId="{1400E37C-3A2F-4711-A72E-2F7BB3E7CB30}"/>
          </ac:cxnSpMkLst>
        </pc:cxnChg>
        <pc:cxnChg chg="add mod">
          <ac:chgData name="Adrian Kisliuk" userId="81f189f0-3ed9-4f29-a7b1-770f7af93676" providerId="ADAL" clId="{69587B1D-2EFB-401C-A02D-B0C1DB4406A0}" dt="2021-03-02T13:13:08.940" v="541" actId="1076"/>
          <ac:cxnSpMkLst>
            <pc:docMk/>
            <pc:sldMk cId="759741315" sldId="837"/>
            <ac:cxnSpMk id="55" creationId="{56FAD14C-B5EF-4B74-97DC-C09014089A49}"/>
          </ac:cxnSpMkLst>
        </pc:cxnChg>
        <pc:cxnChg chg="add mod">
          <ac:chgData name="Adrian Kisliuk" userId="81f189f0-3ed9-4f29-a7b1-770f7af93676" providerId="ADAL" clId="{69587B1D-2EFB-401C-A02D-B0C1DB4406A0}" dt="2021-03-02T13:13:15.459" v="543" actId="1076"/>
          <ac:cxnSpMkLst>
            <pc:docMk/>
            <pc:sldMk cId="759741315" sldId="837"/>
            <ac:cxnSpMk id="56" creationId="{44956EA0-AF06-4891-BF9C-F79B46C76A91}"/>
          </ac:cxnSpMkLst>
        </pc:cxnChg>
        <pc:cxnChg chg="add mod">
          <ac:chgData name="Adrian Kisliuk" userId="81f189f0-3ed9-4f29-a7b1-770f7af93676" providerId="ADAL" clId="{69587B1D-2EFB-401C-A02D-B0C1DB4406A0}" dt="2021-03-02T13:13:20.901" v="545" actId="1076"/>
          <ac:cxnSpMkLst>
            <pc:docMk/>
            <pc:sldMk cId="759741315" sldId="837"/>
            <ac:cxnSpMk id="57" creationId="{85332DB1-BEB6-481A-9DE2-4CA55950E806}"/>
          </ac:cxnSpMkLst>
        </pc:cxnChg>
        <pc:cxnChg chg="add mod">
          <ac:chgData name="Adrian Kisliuk" userId="81f189f0-3ed9-4f29-a7b1-770f7af93676" providerId="ADAL" clId="{69587B1D-2EFB-401C-A02D-B0C1DB4406A0}" dt="2021-03-02T13:13:29.901" v="547" actId="1076"/>
          <ac:cxnSpMkLst>
            <pc:docMk/>
            <pc:sldMk cId="759741315" sldId="837"/>
            <ac:cxnSpMk id="58" creationId="{C2599DCA-484E-4626-8213-57B651C4B131}"/>
          </ac:cxnSpMkLst>
        </pc:cxnChg>
      </pc:sldChg>
      <pc:sldChg chg="addSp delSp modSp add mod ord">
        <pc:chgData name="Adrian Kisliuk" userId="81f189f0-3ed9-4f29-a7b1-770f7af93676" providerId="ADAL" clId="{69587B1D-2EFB-401C-A02D-B0C1DB4406A0}" dt="2021-03-02T13:57:28.729" v="1453" actId="1076"/>
        <pc:sldMkLst>
          <pc:docMk/>
          <pc:sldMk cId="776972156" sldId="838"/>
        </pc:sldMkLst>
        <pc:spChg chg="mod">
          <ac:chgData name="Adrian Kisliuk" userId="81f189f0-3ed9-4f29-a7b1-770f7af93676" providerId="ADAL" clId="{69587B1D-2EFB-401C-A02D-B0C1DB4406A0}" dt="2021-03-02T13:16:54.299" v="826" actId="20577"/>
          <ac:spMkLst>
            <pc:docMk/>
            <pc:sldMk cId="776972156" sldId="838"/>
            <ac:spMk id="2" creationId="{50E68478-280C-4B71-A2DA-1A37303CE9F7}"/>
          </ac:spMkLst>
        </pc:spChg>
        <pc:spChg chg="mod">
          <ac:chgData name="Adrian Kisliuk" userId="81f189f0-3ed9-4f29-a7b1-770f7af93676" providerId="ADAL" clId="{69587B1D-2EFB-401C-A02D-B0C1DB4406A0}" dt="2021-03-02T13:30:23.153" v="1349" actId="948"/>
          <ac:spMkLst>
            <pc:docMk/>
            <pc:sldMk cId="776972156" sldId="838"/>
            <ac:spMk id="4" creationId="{C32F903F-A4E8-491F-8C7C-2288947BD34E}"/>
          </ac:spMkLst>
        </pc:spChg>
        <pc:spChg chg="del">
          <ac:chgData name="Adrian Kisliuk" userId="81f189f0-3ed9-4f29-a7b1-770f7af93676" providerId="ADAL" clId="{69587B1D-2EFB-401C-A02D-B0C1DB4406A0}" dt="2021-03-02T13:16:45.487" v="813" actId="478"/>
          <ac:spMkLst>
            <pc:docMk/>
            <pc:sldMk cId="776972156" sldId="838"/>
            <ac:spMk id="5" creationId="{FC298125-D680-4F92-8081-A588B2F8C85A}"/>
          </ac:spMkLst>
        </pc:spChg>
        <pc:spChg chg="add del mod modVis">
          <ac:chgData name="Adrian Kisliuk" userId="81f189f0-3ed9-4f29-a7b1-770f7af93676" providerId="ADAL" clId="{69587B1D-2EFB-401C-A02D-B0C1DB4406A0}" dt="2021-03-02T13:16:26.245" v="598"/>
          <ac:spMkLst>
            <pc:docMk/>
            <pc:sldMk cId="776972156" sldId="838"/>
            <ac:spMk id="6" creationId="{EAA67196-9225-4656-AFCB-692967AD4B44}"/>
          </ac:spMkLst>
        </pc:spChg>
        <pc:spChg chg="add del mod modVis">
          <ac:chgData name="Adrian Kisliuk" userId="81f189f0-3ed9-4f29-a7b1-770f7af93676" providerId="ADAL" clId="{69587B1D-2EFB-401C-A02D-B0C1DB4406A0}" dt="2021-03-02T13:16:27.062" v="639"/>
          <ac:spMkLst>
            <pc:docMk/>
            <pc:sldMk cId="776972156" sldId="838"/>
            <ac:spMk id="9" creationId="{30ED2021-4FAC-46DF-A70A-D036D14ED929}"/>
          </ac:spMkLst>
        </pc:spChg>
        <pc:spChg chg="add del mod modVis">
          <ac:chgData name="Adrian Kisliuk" userId="81f189f0-3ed9-4f29-a7b1-770f7af93676" providerId="ADAL" clId="{69587B1D-2EFB-401C-A02D-B0C1DB4406A0}" dt="2021-03-02T13:16:29.164" v="680"/>
          <ac:spMkLst>
            <pc:docMk/>
            <pc:sldMk cId="776972156" sldId="838"/>
            <ac:spMk id="10" creationId="{C17BE64C-2852-45C9-94F7-F99C93E15ED6}"/>
          </ac:spMkLst>
        </pc:spChg>
        <pc:spChg chg="add del mod modVis">
          <ac:chgData name="Adrian Kisliuk" userId="81f189f0-3ed9-4f29-a7b1-770f7af93676" providerId="ADAL" clId="{69587B1D-2EFB-401C-A02D-B0C1DB4406A0}" dt="2021-03-02T13:16:32.703" v="721"/>
          <ac:spMkLst>
            <pc:docMk/>
            <pc:sldMk cId="776972156" sldId="838"/>
            <ac:spMk id="11" creationId="{F6D9A908-5C69-4BB4-A314-A8140217F5E7}"/>
          </ac:spMkLst>
        </pc:spChg>
        <pc:spChg chg="add del mod modVis">
          <ac:chgData name="Adrian Kisliuk" userId="81f189f0-3ed9-4f29-a7b1-770f7af93676" providerId="ADAL" clId="{69587B1D-2EFB-401C-A02D-B0C1DB4406A0}" dt="2021-03-02T13:16:34.979" v="764"/>
          <ac:spMkLst>
            <pc:docMk/>
            <pc:sldMk cId="776972156" sldId="838"/>
            <ac:spMk id="12" creationId="{D71E2263-5820-47E5-B135-99C556FE1D93}"/>
          </ac:spMkLst>
        </pc:spChg>
        <pc:spChg chg="add del mod modVis">
          <ac:chgData name="Adrian Kisliuk" userId="81f189f0-3ed9-4f29-a7b1-770f7af93676" providerId="ADAL" clId="{69587B1D-2EFB-401C-A02D-B0C1DB4406A0}" dt="2021-03-02T13:16:42.363" v="810"/>
          <ac:spMkLst>
            <pc:docMk/>
            <pc:sldMk cId="776972156" sldId="838"/>
            <ac:spMk id="13" creationId="{B044160A-F207-4B17-9CDF-9927DC5CEC12}"/>
          </ac:spMkLst>
        </pc:spChg>
        <pc:spChg chg="add del mod modVis">
          <ac:chgData name="Adrian Kisliuk" userId="81f189f0-3ed9-4f29-a7b1-770f7af93676" providerId="ADAL" clId="{69587B1D-2EFB-401C-A02D-B0C1DB4406A0}" dt="2021-03-02T13:30:18.082" v="1304"/>
          <ac:spMkLst>
            <pc:docMk/>
            <pc:sldMk cId="776972156" sldId="838"/>
            <ac:spMk id="14" creationId="{3AC83F47-7377-4032-9618-A59DAE594C8B}"/>
          </ac:spMkLst>
        </pc:spChg>
        <pc:spChg chg="add del mod modVis">
          <ac:chgData name="Adrian Kisliuk" userId="81f189f0-3ed9-4f29-a7b1-770f7af93676" providerId="ADAL" clId="{69587B1D-2EFB-401C-A02D-B0C1DB4406A0}" dt="2021-03-02T13:30:21.610" v="1345"/>
          <ac:spMkLst>
            <pc:docMk/>
            <pc:sldMk cId="776972156" sldId="838"/>
            <ac:spMk id="15" creationId="{4F2D785D-C405-40AA-B204-3C89B77C9EB1}"/>
          </ac:spMkLst>
        </pc:spChg>
        <pc:spChg chg="add del mod modVis">
          <ac:chgData name="Adrian Kisliuk" userId="81f189f0-3ed9-4f29-a7b1-770f7af93676" providerId="ADAL" clId="{69587B1D-2EFB-401C-A02D-B0C1DB4406A0}" dt="2021-03-02T13:30:23.183" v="1386"/>
          <ac:spMkLst>
            <pc:docMk/>
            <pc:sldMk cId="776972156" sldId="838"/>
            <ac:spMk id="16" creationId="{B6AF0CB5-53B4-42E2-B031-A674E97F57D6}"/>
          </ac:spMkLst>
        </pc:spChg>
        <pc:grpChg chg="add mod">
          <ac:chgData name="Adrian Kisliuk" userId="81f189f0-3ed9-4f29-a7b1-770f7af93676" providerId="ADAL" clId="{69587B1D-2EFB-401C-A02D-B0C1DB4406A0}" dt="2021-03-02T13:14:10.049" v="549" actId="164"/>
          <ac:grpSpMkLst>
            <pc:docMk/>
            <pc:sldMk cId="776972156" sldId="838"/>
            <ac:grpSpMk id="3" creationId="{11092CEC-7A21-4452-8CD0-7B70EE1E4CCF}"/>
          </ac:grpSpMkLst>
        </pc:grpChg>
        <pc:graphicFrameChg chg="mod">
          <ac:chgData name="Adrian Kisliuk" userId="81f189f0-3ed9-4f29-a7b1-770f7af93676" providerId="ADAL" clId="{69587B1D-2EFB-401C-A02D-B0C1DB4406A0}" dt="2021-03-02T13:30:23.185" v="1388"/>
          <ac:graphicFrameMkLst>
            <pc:docMk/>
            <pc:sldMk cId="776972156" sldId="838"/>
            <ac:graphicFrameMk id="7" creationId="{5660D7B9-2AFE-459A-88CF-B12E9607ECF2}"/>
          </ac:graphicFrameMkLst>
        </pc:graphicFrameChg>
        <pc:picChg chg="mod">
          <ac:chgData name="Adrian Kisliuk" userId="81f189f0-3ed9-4f29-a7b1-770f7af93676" providerId="ADAL" clId="{69587B1D-2EFB-401C-A02D-B0C1DB4406A0}" dt="2021-03-02T13:57:11.827" v="1450" actId="1076"/>
          <ac:picMkLst>
            <pc:docMk/>
            <pc:sldMk cId="776972156" sldId="838"/>
            <ac:picMk id="18" creationId="{523D6BC8-98D8-4406-B8C8-2C6D88A74250}"/>
          </ac:picMkLst>
        </pc:picChg>
        <pc:picChg chg="del">
          <ac:chgData name="Adrian Kisliuk" userId="81f189f0-3ed9-4f29-a7b1-770f7af93676" providerId="ADAL" clId="{69587B1D-2EFB-401C-A02D-B0C1DB4406A0}" dt="2021-03-02T13:56:22.434" v="1443" actId="21"/>
          <ac:picMkLst>
            <pc:docMk/>
            <pc:sldMk cId="776972156" sldId="838"/>
            <ac:picMk id="38" creationId="{BF07CF77-F9B3-42E9-88AF-E638F732E81E}"/>
          </ac:picMkLst>
        </pc:picChg>
        <pc:picChg chg="del mod">
          <ac:chgData name="Adrian Kisliuk" userId="81f189f0-3ed9-4f29-a7b1-770f7af93676" providerId="ADAL" clId="{69587B1D-2EFB-401C-A02D-B0C1DB4406A0}" dt="2021-03-02T13:57:08.118" v="1448" actId="478"/>
          <ac:picMkLst>
            <pc:docMk/>
            <pc:sldMk cId="776972156" sldId="838"/>
            <ac:picMk id="39" creationId="{6C9D0D58-2718-4494-A035-EDFEF913B35A}"/>
          </ac:picMkLst>
        </pc:picChg>
        <pc:picChg chg="del">
          <ac:chgData name="Adrian Kisliuk" userId="81f189f0-3ed9-4f29-a7b1-770f7af93676" providerId="ADAL" clId="{69587B1D-2EFB-401C-A02D-B0C1DB4406A0}" dt="2021-03-02T13:56:38.330" v="1444" actId="21"/>
          <ac:picMkLst>
            <pc:docMk/>
            <pc:sldMk cId="776972156" sldId="838"/>
            <ac:picMk id="40" creationId="{DB381154-2CA5-436A-9587-3CD457B5B2ED}"/>
          </ac:picMkLst>
        </pc:picChg>
        <pc:picChg chg="mod">
          <ac:chgData name="Adrian Kisliuk" userId="81f189f0-3ed9-4f29-a7b1-770f7af93676" providerId="ADAL" clId="{69587B1D-2EFB-401C-A02D-B0C1DB4406A0}" dt="2021-03-02T13:57:28.729" v="1453" actId="1076"/>
          <ac:picMkLst>
            <pc:docMk/>
            <pc:sldMk cId="776972156" sldId="838"/>
            <ac:picMk id="1026" creationId="{3D95A9D7-8547-417F-8A07-3F83C64A59D9}"/>
          </ac:picMkLst>
        </pc:picChg>
        <pc:picChg chg="mod">
          <ac:chgData name="Adrian Kisliuk" userId="81f189f0-3ed9-4f29-a7b1-770f7af93676" providerId="ADAL" clId="{69587B1D-2EFB-401C-A02D-B0C1DB4406A0}" dt="2021-03-02T13:57:28.729" v="1453" actId="1076"/>
          <ac:picMkLst>
            <pc:docMk/>
            <pc:sldMk cId="776972156" sldId="838"/>
            <ac:picMk id="1040" creationId="{EC8376D9-C6E3-4F38-9167-BEDD0336C152}"/>
          </ac:picMkLst>
        </pc:picChg>
        <pc:picChg chg="mod">
          <ac:chgData name="Adrian Kisliuk" userId="81f189f0-3ed9-4f29-a7b1-770f7af93676" providerId="ADAL" clId="{69587B1D-2EFB-401C-A02D-B0C1DB4406A0}" dt="2021-03-02T13:57:28.729" v="1453" actId="1076"/>
          <ac:picMkLst>
            <pc:docMk/>
            <pc:sldMk cId="776972156" sldId="838"/>
            <ac:picMk id="1050" creationId="{F8B59AC0-F1BF-44FC-A781-DC05EE37519D}"/>
          </ac:picMkLst>
        </pc:picChg>
        <pc:cxnChg chg="mod">
          <ac:chgData name="Adrian Kisliuk" userId="81f189f0-3ed9-4f29-a7b1-770f7af93676" providerId="ADAL" clId="{69587B1D-2EFB-401C-A02D-B0C1DB4406A0}" dt="2021-03-02T13:15:06.011" v="552" actId="208"/>
          <ac:cxnSpMkLst>
            <pc:docMk/>
            <pc:sldMk cId="776972156" sldId="838"/>
            <ac:cxnSpMk id="21" creationId="{E5329AD0-99A3-4F07-A61A-DD5FE645C322}"/>
          </ac:cxnSpMkLst>
        </pc:cxnChg>
        <pc:cxnChg chg="mod">
          <ac:chgData name="Adrian Kisliuk" userId="81f189f0-3ed9-4f29-a7b1-770f7af93676" providerId="ADAL" clId="{69587B1D-2EFB-401C-A02D-B0C1DB4406A0}" dt="2021-03-02T13:15:06.011" v="552" actId="208"/>
          <ac:cxnSpMkLst>
            <pc:docMk/>
            <pc:sldMk cId="776972156" sldId="838"/>
            <ac:cxnSpMk id="23" creationId="{A3A096D8-361A-4512-B535-14CA3884D7F8}"/>
          </ac:cxnSpMkLst>
        </pc:cxnChg>
        <pc:cxnChg chg="mod">
          <ac:chgData name="Adrian Kisliuk" userId="81f189f0-3ed9-4f29-a7b1-770f7af93676" providerId="ADAL" clId="{69587B1D-2EFB-401C-A02D-B0C1DB4406A0}" dt="2021-03-02T13:15:06.011" v="552" actId="208"/>
          <ac:cxnSpMkLst>
            <pc:docMk/>
            <pc:sldMk cId="776972156" sldId="838"/>
            <ac:cxnSpMk id="24" creationId="{8086520B-3DFF-486C-B943-3B1902316036}"/>
          </ac:cxnSpMkLst>
        </pc:cxnChg>
        <pc:cxnChg chg="mod">
          <ac:chgData name="Adrian Kisliuk" userId="81f189f0-3ed9-4f29-a7b1-770f7af93676" providerId="ADAL" clId="{69587B1D-2EFB-401C-A02D-B0C1DB4406A0}" dt="2021-03-02T13:15:06.011" v="552" actId="208"/>
          <ac:cxnSpMkLst>
            <pc:docMk/>
            <pc:sldMk cId="776972156" sldId="838"/>
            <ac:cxnSpMk id="25" creationId="{6E9340A6-AB1A-4CB0-8EC4-484C4EFAA0A4}"/>
          </ac:cxnSpMkLst>
        </pc:cxnChg>
        <pc:cxnChg chg="mod">
          <ac:chgData name="Adrian Kisliuk" userId="81f189f0-3ed9-4f29-a7b1-770f7af93676" providerId="ADAL" clId="{69587B1D-2EFB-401C-A02D-B0C1DB4406A0}" dt="2021-03-02T13:15:06.011" v="552" actId="208"/>
          <ac:cxnSpMkLst>
            <pc:docMk/>
            <pc:sldMk cId="776972156" sldId="838"/>
            <ac:cxnSpMk id="26" creationId="{7FA93021-1146-4168-ABBD-0A2EDBB527B7}"/>
          </ac:cxnSpMkLst>
        </pc:cxnChg>
        <pc:cxnChg chg="mod">
          <ac:chgData name="Adrian Kisliuk" userId="81f189f0-3ed9-4f29-a7b1-770f7af93676" providerId="ADAL" clId="{69587B1D-2EFB-401C-A02D-B0C1DB4406A0}" dt="2021-03-02T13:15:06.011" v="552" actId="208"/>
          <ac:cxnSpMkLst>
            <pc:docMk/>
            <pc:sldMk cId="776972156" sldId="838"/>
            <ac:cxnSpMk id="43" creationId="{A1229295-9CAE-4663-B32A-850B6550B509}"/>
          </ac:cxnSpMkLst>
        </pc:cxnChg>
        <pc:cxnChg chg="mod">
          <ac:chgData name="Adrian Kisliuk" userId="81f189f0-3ed9-4f29-a7b1-770f7af93676" providerId="ADAL" clId="{69587B1D-2EFB-401C-A02D-B0C1DB4406A0}" dt="2021-03-02T13:15:06.011" v="552" actId="208"/>
          <ac:cxnSpMkLst>
            <pc:docMk/>
            <pc:sldMk cId="776972156" sldId="838"/>
            <ac:cxnSpMk id="47" creationId="{5BDE6D65-D8E7-4B9C-9507-10B04E77726A}"/>
          </ac:cxnSpMkLst>
        </pc:cxnChg>
        <pc:cxnChg chg="mod">
          <ac:chgData name="Adrian Kisliuk" userId="81f189f0-3ed9-4f29-a7b1-770f7af93676" providerId="ADAL" clId="{69587B1D-2EFB-401C-A02D-B0C1DB4406A0}" dt="2021-03-02T13:15:06.011" v="552" actId="208"/>
          <ac:cxnSpMkLst>
            <pc:docMk/>
            <pc:sldMk cId="776972156" sldId="838"/>
            <ac:cxnSpMk id="48" creationId="{C9A4D7FE-9AF0-41C4-A611-084F11CC2A44}"/>
          </ac:cxnSpMkLst>
        </pc:cxnChg>
        <pc:cxnChg chg="mod">
          <ac:chgData name="Adrian Kisliuk" userId="81f189f0-3ed9-4f29-a7b1-770f7af93676" providerId="ADAL" clId="{69587B1D-2EFB-401C-A02D-B0C1DB4406A0}" dt="2021-03-02T13:15:06.011" v="552" actId="208"/>
          <ac:cxnSpMkLst>
            <pc:docMk/>
            <pc:sldMk cId="776972156" sldId="838"/>
            <ac:cxnSpMk id="49" creationId="{295745D9-C307-4160-8EED-F48F414BE19A}"/>
          </ac:cxnSpMkLst>
        </pc:cxnChg>
        <pc:cxnChg chg="mod">
          <ac:chgData name="Adrian Kisliuk" userId="81f189f0-3ed9-4f29-a7b1-770f7af93676" providerId="ADAL" clId="{69587B1D-2EFB-401C-A02D-B0C1DB4406A0}" dt="2021-03-02T13:15:06.011" v="552" actId="208"/>
          <ac:cxnSpMkLst>
            <pc:docMk/>
            <pc:sldMk cId="776972156" sldId="838"/>
            <ac:cxnSpMk id="50" creationId="{890F4A53-163F-4D71-81C9-F3E3624E3FED}"/>
          </ac:cxnSpMkLst>
        </pc:cxnChg>
        <pc:cxnChg chg="mod">
          <ac:chgData name="Adrian Kisliuk" userId="81f189f0-3ed9-4f29-a7b1-770f7af93676" providerId="ADAL" clId="{69587B1D-2EFB-401C-A02D-B0C1DB4406A0}" dt="2021-03-02T13:15:06.011" v="552" actId="208"/>
          <ac:cxnSpMkLst>
            <pc:docMk/>
            <pc:sldMk cId="776972156" sldId="838"/>
            <ac:cxnSpMk id="51" creationId="{0015EE14-FDDB-4C64-B119-2BF4CBFDE454}"/>
          </ac:cxnSpMkLst>
        </pc:cxnChg>
        <pc:cxnChg chg="mod">
          <ac:chgData name="Adrian Kisliuk" userId="81f189f0-3ed9-4f29-a7b1-770f7af93676" providerId="ADAL" clId="{69587B1D-2EFB-401C-A02D-B0C1DB4406A0}" dt="2021-03-02T13:15:06.011" v="552" actId="208"/>
          <ac:cxnSpMkLst>
            <pc:docMk/>
            <pc:sldMk cId="776972156" sldId="838"/>
            <ac:cxnSpMk id="52" creationId="{DDC96732-8B3E-4F30-A4DC-16F0DD61A881}"/>
          </ac:cxnSpMkLst>
        </pc:cxnChg>
        <pc:cxnChg chg="mod">
          <ac:chgData name="Adrian Kisliuk" userId="81f189f0-3ed9-4f29-a7b1-770f7af93676" providerId="ADAL" clId="{69587B1D-2EFB-401C-A02D-B0C1DB4406A0}" dt="2021-03-02T13:15:06.011" v="552" actId="208"/>
          <ac:cxnSpMkLst>
            <pc:docMk/>
            <pc:sldMk cId="776972156" sldId="838"/>
            <ac:cxnSpMk id="53" creationId="{ED69DA54-4EC8-40A0-8693-170E36294ED2}"/>
          </ac:cxnSpMkLst>
        </pc:cxnChg>
        <pc:cxnChg chg="mod">
          <ac:chgData name="Adrian Kisliuk" userId="81f189f0-3ed9-4f29-a7b1-770f7af93676" providerId="ADAL" clId="{69587B1D-2EFB-401C-A02D-B0C1DB4406A0}" dt="2021-03-02T13:15:06.011" v="552" actId="208"/>
          <ac:cxnSpMkLst>
            <pc:docMk/>
            <pc:sldMk cId="776972156" sldId="838"/>
            <ac:cxnSpMk id="54" creationId="{1400E37C-3A2F-4711-A72E-2F7BB3E7CB30}"/>
          </ac:cxnSpMkLst>
        </pc:cxnChg>
        <pc:cxnChg chg="mod">
          <ac:chgData name="Adrian Kisliuk" userId="81f189f0-3ed9-4f29-a7b1-770f7af93676" providerId="ADAL" clId="{69587B1D-2EFB-401C-A02D-B0C1DB4406A0}" dt="2021-03-02T13:15:06.011" v="552" actId="208"/>
          <ac:cxnSpMkLst>
            <pc:docMk/>
            <pc:sldMk cId="776972156" sldId="838"/>
            <ac:cxnSpMk id="55" creationId="{56FAD14C-B5EF-4B74-97DC-C09014089A49}"/>
          </ac:cxnSpMkLst>
        </pc:cxnChg>
        <pc:cxnChg chg="mod">
          <ac:chgData name="Adrian Kisliuk" userId="81f189f0-3ed9-4f29-a7b1-770f7af93676" providerId="ADAL" clId="{69587B1D-2EFB-401C-A02D-B0C1DB4406A0}" dt="2021-03-02T13:15:06.011" v="552" actId="208"/>
          <ac:cxnSpMkLst>
            <pc:docMk/>
            <pc:sldMk cId="776972156" sldId="838"/>
            <ac:cxnSpMk id="56" creationId="{44956EA0-AF06-4891-BF9C-F79B46C76A91}"/>
          </ac:cxnSpMkLst>
        </pc:cxnChg>
        <pc:cxnChg chg="mod">
          <ac:chgData name="Adrian Kisliuk" userId="81f189f0-3ed9-4f29-a7b1-770f7af93676" providerId="ADAL" clId="{69587B1D-2EFB-401C-A02D-B0C1DB4406A0}" dt="2021-03-02T13:15:06.011" v="552" actId="208"/>
          <ac:cxnSpMkLst>
            <pc:docMk/>
            <pc:sldMk cId="776972156" sldId="838"/>
            <ac:cxnSpMk id="57" creationId="{85332DB1-BEB6-481A-9DE2-4CA55950E806}"/>
          </ac:cxnSpMkLst>
        </pc:cxnChg>
        <pc:cxnChg chg="mod">
          <ac:chgData name="Adrian Kisliuk" userId="81f189f0-3ed9-4f29-a7b1-770f7af93676" providerId="ADAL" clId="{69587B1D-2EFB-401C-A02D-B0C1DB4406A0}" dt="2021-03-02T13:15:06.011" v="552" actId="208"/>
          <ac:cxnSpMkLst>
            <pc:docMk/>
            <pc:sldMk cId="776972156" sldId="838"/>
            <ac:cxnSpMk id="58" creationId="{C2599DCA-484E-4626-8213-57B651C4B131}"/>
          </ac:cxnSpMkLst>
        </pc:cxnChg>
      </pc:sldChg>
      <pc:sldChg chg="addSp delSp modSp add">
        <pc:chgData name="Adrian Kisliuk" userId="81f189f0-3ed9-4f29-a7b1-770f7af93676" providerId="ADAL" clId="{69587B1D-2EFB-401C-A02D-B0C1DB4406A0}" dt="2021-03-02T13:56:09.206" v="1440"/>
        <pc:sldMkLst>
          <pc:docMk/>
          <pc:sldMk cId="692313280" sldId="839"/>
        </pc:sldMkLst>
        <pc:picChg chg="mod">
          <ac:chgData name="Adrian Kisliuk" userId="81f189f0-3ed9-4f29-a7b1-770f7af93676" providerId="ADAL" clId="{69587B1D-2EFB-401C-A02D-B0C1DB4406A0}" dt="2021-03-02T13:55:33.380" v="1431" actId="14100"/>
          <ac:picMkLst>
            <pc:docMk/>
            <pc:sldMk cId="692313280" sldId="839"/>
            <ac:picMk id="8" creationId="{9C9F2122-5CC7-44AB-8F0D-AC9A9827247F}"/>
          </ac:picMkLst>
        </pc:picChg>
        <pc:picChg chg="mod">
          <ac:chgData name="Adrian Kisliuk" userId="81f189f0-3ed9-4f29-a7b1-770f7af93676" providerId="ADAL" clId="{69587B1D-2EFB-401C-A02D-B0C1DB4406A0}" dt="2021-03-02T13:55:33.380" v="1431" actId="14100"/>
          <ac:picMkLst>
            <pc:docMk/>
            <pc:sldMk cId="692313280" sldId="839"/>
            <ac:picMk id="18" creationId="{523D6BC8-98D8-4406-B8C8-2C6D88A74250}"/>
          </ac:picMkLst>
        </pc:picChg>
        <pc:picChg chg="del mod">
          <ac:chgData name="Adrian Kisliuk" userId="81f189f0-3ed9-4f29-a7b1-770f7af93676" providerId="ADAL" clId="{69587B1D-2EFB-401C-A02D-B0C1DB4406A0}" dt="2021-03-02T13:55:54.499" v="1432" actId="21"/>
          <ac:picMkLst>
            <pc:docMk/>
            <pc:sldMk cId="692313280" sldId="839"/>
            <ac:picMk id="38" creationId="{BF07CF77-F9B3-42E9-88AF-E638F732E81E}"/>
          </ac:picMkLst>
        </pc:picChg>
        <pc:picChg chg="del mod">
          <ac:chgData name="Adrian Kisliuk" userId="81f189f0-3ed9-4f29-a7b1-770f7af93676" providerId="ADAL" clId="{69587B1D-2EFB-401C-A02D-B0C1DB4406A0}" dt="2021-03-02T13:56:01.931" v="1435" actId="21"/>
          <ac:picMkLst>
            <pc:docMk/>
            <pc:sldMk cId="692313280" sldId="839"/>
            <ac:picMk id="39" creationId="{6C9D0D58-2718-4494-A035-EDFEF913B35A}"/>
          </ac:picMkLst>
        </pc:picChg>
        <pc:picChg chg="del mod">
          <ac:chgData name="Adrian Kisliuk" userId="81f189f0-3ed9-4f29-a7b1-770f7af93676" providerId="ADAL" clId="{69587B1D-2EFB-401C-A02D-B0C1DB4406A0}" dt="2021-03-02T13:56:07.457" v="1438" actId="21"/>
          <ac:picMkLst>
            <pc:docMk/>
            <pc:sldMk cId="692313280" sldId="839"/>
            <ac:picMk id="40" creationId="{DB381154-2CA5-436A-9587-3CD457B5B2ED}"/>
          </ac:picMkLst>
        </pc:picChg>
        <pc:picChg chg="add mod">
          <ac:chgData name="Adrian Kisliuk" userId="81f189f0-3ed9-4f29-a7b1-770f7af93676" providerId="ADAL" clId="{69587B1D-2EFB-401C-A02D-B0C1DB4406A0}" dt="2021-03-02T13:55:57.954" v="1434"/>
          <ac:picMkLst>
            <pc:docMk/>
            <pc:sldMk cId="692313280" sldId="839"/>
            <ac:picMk id="42" creationId="{8F54FA18-F3AA-4896-97FB-6A546D07F66B}"/>
          </ac:picMkLst>
        </pc:picChg>
        <pc:picChg chg="add mod">
          <ac:chgData name="Adrian Kisliuk" userId="81f189f0-3ed9-4f29-a7b1-770f7af93676" providerId="ADAL" clId="{69587B1D-2EFB-401C-A02D-B0C1DB4406A0}" dt="2021-03-02T13:56:03.740" v="1437"/>
          <ac:picMkLst>
            <pc:docMk/>
            <pc:sldMk cId="692313280" sldId="839"/>
            <ac:picMk id="44" creationId="{DB9F128A-6D74-4F75-893C-B3BF5B105867}"/>
          </ac:picMkLst>
        </pc:picChg>
        <pc:picChg chg="add mod">
          <ac:chgData name="Adrian Kisliuk" userId="81f189f0-3ed9-4f29-a7b1-770f7af93676" providerId="ADAL" clId="{69587B1D-2EFB-401C-A02D-B0C1DB4406A0}" dt="2021-03-02T13:56:09.206" v="1440"/>
          <ac:picMkLst>
            <pc:docMk/>
            <pc:sldMk cId="692313280" sldId="839"/>
            <ac:picMk id="45" creationId="{672C33D2-2650-49B1-91F1-B4DBA7534918}"/>
          </ac:picMkLst>
        </pc:picChg>
        <pc:picChg chg="del">
          <ac:chgData name="Adrian Kisliuk" userId="81f189f0-3ed9-4f29-a7b1-770f7af93676" providerId="ADAL" clId="{69587B1D-2EFB-401C-A02D-B0C1DB4406A0}" dt="2021-03-02T13:55:57.083" v="1433" actId="478"/>
          <ac:picMkLst>
            <pc:docMk/>
            <pc:sldMk cId="692313280" sldId="839"/>
            <ac:picMk id="1026" creationId="{3D95A9D7-8547-417F-8A07-3F83C64A59D9}"/>
          </ac:picMkLst>
        </pc:picChg>
        <pc:picChg chg="mod">
          <ac:chgData name="Adrian Kisliuk" userId="81f189f0-3ed9-4f29-a7b1-770f7af93676" providerId="ADAL" clId="{69587B1D-2EFB-401C-A02D-B0C1DB4406A0}" dt="2021-03-02T13:55:33.380" v="1431" actId="14100"/>
          <ac:picMkLst>
            <pc:docMk/>
            <pc:sldMk cId="692313280" sldId="839"/>
            <ac:picMk id="1030" creationId="{0A5F62C3-583A-40FB-AA1F-3468436B4CCD}"/>
          </ac:picMkLst>
        </pc:picChg>
        <pc:picChg chg="mod">
          <ac:chgData name="Adrian Kisliuk" userId="81f189f0-3ed9-4f29-a7b1-770f7af93676" providerId="ADAL" clId="{69587B1D-2EFB-401C-A02D-B0C1DB4406A0}" dt="2021-03-02T13:55:33.380" v="1431" actId="14100"/>
          <ac:picMkLst>
            <pc:docMk/>
            <pc:sldMk cId="692313280" sldId="839"/>
            <ac:picMk id="1032" creationId="{BA4B8B89-8E9F-4563-AE14-F739DFC91141}"/>
          </ac:picMkLst>
        </pc:picChg>
        <pc:picChg chg="mod">
          <ac:chgData name="Adrian Kisliuk" userId="81f189f0-3ed9-4f29-a7b1-770f7af93676" providerId="ADAL" clId="{69587B1D-2EFB-401C-A02D-B0C1DB4406A0}" dt="2021-03-02T13:55:33.380" v="1431" actId="14100"/>
          <ac:picMkLst>
            <pc:docMk/>
            <pc:sldMk cId="692313280" sldId="839"/>
            <ac:picMk id="1034" creationId="{50EF20B7-8695-4E5B-948E-38D1B122706B}"/>
          </ac:picMkLst>
        </pc:picChg>
        <pc:picChg chg="del">
          <ac:chgData name="Adrian Kisliuk" userId="81f189f0-3ed9-4f29-a7b1-770f7af93676" providerId="ADAL" clId="{69587B1D-2EFB-401C-A02D-B0C1DB4406A0}" dt="2021-03-02T13:56:03.334" v="1436" actId="478"/>
          <ac:picMkLst>
            <pc:docMk/>
            <pc:sldMk cId="692313280" sldId="839"/>
            <ac:picMk id="1040" creationId="{EC8376D9-C6E3-4F38-9167-BEDD0336C152}"/>
          </ac:picMkLst>
        </pc:picChg>
        <pc:picChg chg="mod">
          <ac:chgData name="Adrian Kisliuk" userId="81f189f0-3ed9-4f29-a7b1-770f7af93676" providerId="ADAL" clId="{69587B1D-2EFB-401C-A02D-B0C1DB4406A0}" dt="2021-03-02T13:55:33.380" v="1431" actId="14100"/>
          <ac:picMkLst>
            <pc:docMk/>
            <pc:sldMk cId="692313280" sldId="839"/>
            <ac:picMk id="1042" creationId="{2A0DC546-AED0-46B1-854D-938E7BD3C3B3}"/>
          </ac:picMkLst>
        </pc:picChg>
        <pc:picChg chg="mod">
          <ac:chgData name="Adrian Kisliuk" userId="81f189f0-3ed9-4f29-a7b1-770f7af93676" providerId="ADAL" clId="{69587B1D-2EFB-401C-A02D-B0C1DB4406A0}" dt="2021-03-02T13:55:33.380" v="1431" actId="14100"/>
          <ac:picMkLst>
            <pc:docMk/>
            <pc:sldMk cId="692313280" sldId="839"/>
            <ac:picMk id="1046" creationId="{7D3A7E12-AB1A-45DD-90BC-D678CD48CDCD}"/>
          </ac:picMkLst>
        </pc:picChg>
        <pc:picChg chg="del">
          <ac:chgData name="Adrian Kisliuk" userId="81f189f0-3ed9-4f29-a7b1-770f7af93676" providerId="ADAL" clId="{69587B1D-2EFB-401C-A02D-B0C1DB4406A0}" dt="2021-03-02T13:56:08.807" v="1439" actId="478"/>
          <ac:picMkLst>
            <pc:docMk/>
            <pc:sldMk cId="692313280" sldId="839"/>
            <ac:picMk id="1050" creationId="{F8B59AC0-F1BF-44FC-A781-DC05EE37519D}"/>
          </ac:picMkLst>
        </pc:picChg>
        <pc:picChg chg="mod">
          <ac:chgData name="Adrian Kisliuk" userId="81f189f0-3ed9-4f29-a7b1-770f7af93676" providerId="ADAL" clId="{69587B1D-2EFB-401C-A02D-B0C1DB4406A0}" dt="2021-03-02T13:55:33.380" v="1431" actId="14100"/>
          <ac:picMkLst>
            <pc:docMk/>
            <pc:sldMk cId="692313280" sldId="839"/>
            <ac:picMk id="1052" creationId="{19045790-0F4D-43E7-B0F6-8FE45BA47774}"/>
          </ac:picMkLst>
        </pc:picChg>
        <pc:picChg chg="mod">
          <ac:chgData name="Adrian Kisliuk" userId="81f189f0-3ed9-4f29-a7b1-770f7af93676" providerId="ADAL" clId="{69587B1D-2EFB-401C-A02D-B0C1DB4406A0}" dt="2021-03-02T13:55:33.380" v="1431" actId="14100"/>
          <ac:picMkLst>
            <pc:docMk/>
            <pc:sldMk cId="692313280" sldId="839"/>
            <ac:picMk id="1054" creationId="{36829114-B8D9-4B38-B264-7C2910AC4DA0}"/>
          </ac:picMkLst>
        </pc:picChg>
        <pc:picChg chg="mod">
          <ac:chgData name="Adrian Kisliuk" userId="81f189f0-3ed9-4f29-a7b1-770f7af93676" providerId="ADAL" clId="{69587B1D-2EFB-401C-A02D-B0C1DB4406A0}" dt="2021-03-02T13:55:33.380" v="1431" actId="14100"/>
          <ac:picMkLst>
            <pc:docMk/>
            <pc:sldMk cId="692313280" sldId="839"/>
            <ac:picMk id="1056" creationId="{668A3436-EE15-44C9-B132-39B2C7A9BBF1}"/>
          </ac:picMkLst>
        </pc:picChg>
        <pc:picChg chg="mod">
          <ac:chgData name="Adrian Kisliuk" userId="81f189f0-3ed9-4f29-a7b1-770f7af93676" providerId="ADAL" clId="{69587B1D-2EFB-401C-A02D-B0C1DB4406A0}" dt="2021-03-02T13:55:33.380" v="1431" actId="14100"/>
          <ac:picMkLst>
            <pc:docMk/>
            <pc:sldMk cId="692313280" sldId="839"/>
            <ac:picMk id="1058" creationId="{D389B605-C9DB-4911-9840-437122FF3102}"/>
          </ac:picMkLst>
        </pc:picChg>
        <pc:picChg chg="mod">
          <ac:chgData name="Adrian Kisliuk" userId="81f189f0-3ed9-4f29-a7b1-770f7af93676" providerId="ADAL" clId="{69587B1D-2EFB-401C-A02D-B0C1DB4406A0}" dt="2021-03-02T13:55:33.380" v="1431" actId="14100"/>
          <ac:picMkLst>
            <pc:docMk/>
            <pc:sldMk cId="692313280" sldId="839"/>
            <ac:picMk id="1062" creationId="{97FD82EF-A3AD-4695-81B2-806E7DCF15D5}"/>
          </ac:picMkLst>
        </pc:picChg>
      </pc:sldChg>
      <pc:sldMasterChg chg="delSldLayout">
        <pc:chgData name="Adrian Kisliuk" userId="81f189f0-3ed9-4f29-a7b1-770f7af93676" providerId="ADAL" clId="{69587B1D-2EFB-401C-A02D-B0C1DB4406A0}" dt="2021-03-02T13:19:20.796" v="887" actId="2696"/>
        <pc:sldMasterMkLst>
          <pc:docMk/>
          <pc:sldMasterMk cId="792883523" sldId="2147483648"/>
        </pc:sldMasterMkLst>
        <pc:sldLayoutChg chg="del">
          <pc:chgData name="Adrian Kisliuk" userId="81f189f0-3ed9-4f29-a7b1-770f7af93676" providerId="ADAL" clId="{69587B1D-2EFB-401C-A02D-B0C1DB4406A0}" dt="2021-03-02T13:19:20.796" v="887" actId="2696"/>
          <pc:sldLayoutMkLst>
            <pc:docMk/>
            <pc:sldMasterMk cId="792883523" sldId="2147483648"/>
            <pc:sldLayoutMk cId="4157377105" sldId="2147483663"/>
          </pc:sldLayoutMkLst>
        </pc:sldLayoutChg>
      </pc:sldMasterChg>
    </pc:docChg>
  </pc:docChgLst>
  <pc:docChgLst>
    <pc:chgData name="Adrian Kisliuk" userId="81f189f0-3ed9-4f29-a7b1-770f7af93676" providerId="ADAL" clId="{0430512B-99A2-4D91-8A20-94D944D2C11F}"/>
    <pc:docChg chg="undo redo addSld delSld modSld">
      <pc:chgData name="Adrian Kisliuk" userId="81f189f0-3ed9-4f29-a7b1-770f7af93676" providerId="ADAL" clId="{0430512B-99A2-4D91-8A20-94D944D2C11F}" dt="2021-03-02T08:38:04.188" v="23" actId="2711"/>
      <pc:docMkLst>
        <pc:docMk/>
      </pc:docMkLst>
      <pc:sldChg chg="modSp mod">
        <pc:chgData name="Adrian Kisliuk" userId="81f189f0-3ed9-4f29-a7b1-770f7af93676" providerId="ADAL" clId="{0430512B-99A2-4D91-8A20-94D944D2C11F}" dt="2021-03-02T08:38:04.188" v="23" actId="2711"/>
        <pc:sldMkLst>
          <pc:docMk/>
          <pc:sldMk cId="3888384040" sldId="474"/>
        </pc:sldMkLst>
        <pc:spChg chg="mod">
          <ac:chgData name="Adrian Kisliuk" userId="81f189f0-3ed9-4f29-a7b1-770f7af93676" providerId="ADAL" clId="{0430512B-99A2-4D91-8A20-94D944D2C11F}" dt="2021-03-02T08:38:04.188" v="23" actId="2711"/>
          <ac:spMkLst>
            <pc:docMk/>
            <pc:sldMk cId="3888384040" sldId="474"/>
            <ac:spMk id="10" creationId="{00000000-0000-0000-0000-000000000000}"/>
          </ac:spMkLst>
        </pc:spChg>
      </pc:sldChg>
      <pc:sldChg chg="modSp mod">
        <pc:chgData name="Adrian Kisliuk" userId="81f189f0-3ed9-4f29-a7b1-770f7af93676" providerId="ADAL" clId="{0430512B-99A2-4D91-8A20-94D944D2C11F}" dt="2021-03-02T08:36:01.911" v="7" actId="2711"/>
        <pc:sldMkLst>
          <pc:docMk/>
          <pc:sldMk cId="2969731555" sldId="824"/>
        </pc:sldMkLst>
        <pc:spChg chg="mod">
          <ac:chgData name="Adrian Kisliuk" userId="81f189f0-3ed9-4f29-a7b1-770f7af93676" providerId="ADAL" clId="{0430512B-99A2-4D91-8A20-94D944D2C11F}" dt="2021-03-02T08:36:01.911" v="7" actId="2711"/>
          <ac:spMkLst>
            <pc:docMk/>
            <pc:sldMk cId="2969731555" sldId="824"/>
            <ac:spMk id="3" creationId="{5CD78C9C-FC67-400A-AB19-9FAF630ADB32}"/>
          </ac:spMkLst>
        </pc:spChg>
      </pc:sldChg>
      <pc:sldChg chg="modSp add mod">
        <pc:chgData name="Adrian Kisliuk" userId="81f189f0-3ed9-4f29-a7b1-770f7af93676" providerId="ADAL" clId="{0430512B-99A2-4D91-8A20-94D944D2C11F}" dt="2021-03-02T08:36:18.977" v="10" actId="2711"/>
        <pc:sldMkLst>
          <pc:docMk/>
          <pc:sldMk cId="2172830039" sldId="825"/>
        </pc:sldMkLst>
        <pc:spChg chg="mod">
          <ac:chgData name="Adrian Kisliuk" userId="81f189f0-3ed9-4f29-a7b1-770f7af93676" providerId="ADAL" clId="{0430512B-99A2-4D91-8A20-94D944D2C11F}" dt="2021-03-02T08:36:18.977" v="10" actId="2711"/>
          <ac:spMkLst>
            <pc:docMk/>
            <pc:sldMk cId="2172830039" sldId="825"/>
            <ac:spMk id="2" creationId="{50E68478-280C-4B71-A2DA-1A37303CE9F7}"/>
          </ac:spMkLst>
        </pc:spChg>
        <pc:spChg chg="mod">
          <ac:chgData name="Adrian Kisliuk" userId="81f189f0-3ed9-4f29-a7b1-770f7af93676" providerId="ADAL" clId="{0430512B-99A2-4D91-8A20-94D944D2C11F}" dt="2021-03-02T08:36:12.895" v="9" actId="2711"/>
          <ac:spMkLst>
            <pc:docMk/>
            <pc:sldMk cId="2172830039" sldId="825"/>
            <ac:spMk id="3" creationId="{5CD78C9C-FC67-400A-AB19-9FAF630ADB32}"/>
          </ac:spMkLst>
        </pc:spChg>
      </pc:sldChg>
      <pc:sldChg chg="add del">
        <pc:chgData name="Adrian Kisliuk" userId="81f189f0-3ed9-4f29-a7b1-770f7af93676" providerId="ADAL" clId="{0430512B-99A2-4D91-8A20-94D944D2C11F}" dt="2021-03-02T08:36:01.443" v="6"/>
        <pc:sldMkLst>
          <pc:docMk/>
          <pc:sldMk cId="3820956841" sldId="825"/>
        </pc:sldMkLst>
      </pc:sldChg>
      <pc:sldChg chg="modSp add mod">
        <pc:chgData name="Adrian Kisliuk" userId="81f189f0-3ed9-4f29-a7b1-770f7af93676" providerId="ADAL" clId="{0430512B-99A2-4D91-8A20-94D944D2C11F}" dt="2021-03-02T08:37:04.008" v="12" actId="2711"/>
        <pc:sldMkLst>
          <pc:docMk/>
          <pc:sldMk cId="1692962519" sldId="826"/>
        </pc:sldMkLst>
        <pc:spChg chg="mod">
          <ac:chgData name="Adrian Kisliuk" userId="81f189f0-3ed9-4f29-a7b1-770f7af93676" providerId="ADAL" clId="{0430512B-99A2-4D91-8A20-94D944D2C11F}" dt="2021-03-02T08:37:04.008" v="12" actId="2711"/>
          <ac:spMkLst>
            <pc:docMk/>
            <pc:sldMk cId="1692962519" sldId="826"/>
            <ac:spMk id="3" creationId="{5CD78C9C-FC67-400A-AB19-9FAF630ADB32}"/>
          </ac:spMkLst>
        </pc:spChg>
      </pc:sldChg>
    </pc:docChg>
  </pc:docChgLst>
  <pc:docChgLst>
    <pc:chgData name="Damker, Herbert" userId="S::herbert.damker@telekom.de::37ff36be-0e4d-42c3-ac06-7b904f0f6b24" providerId="AD" clId="Web-{CCF3D68B-D0BA-5B43-66AB-75253B8D08DD}"/>
    <pc:docChg chg="">
      <pc:chgData name="Damker, Herbert" userId="S::herbert.damker@telekom.de::37ff36be-0e4d-42c3-ac06-7b904f0f6b24" providerId="AD" clId="Web-{CCF3D68B-D0BA-5B43-66AB-75253B8D08DD}" dt="2021-04-23T15:33:20.424" v="3"/>
      <pc:docMkLst>
        <pc:docMk/>
      </pc:docMkLst>
      <pc:sldChg chg="addCm modCm">
        <pc:chgData name="Damker, Herbert" userId="S::herbert.damker@telekom.de::37ff36be-0e4d-42c3-ac06-7b904f0f6b24" providerId="AD" clId="Web-{CCF3D68B-D0BA-5B43-66AB-75253B8D08DD}" dt="2021-04-23T15:33:20.424" v="3"/>
        <pc:sldMkLst>
          <pc:docMk/>
          <pc:sldMk cId="611033580" sldId="922"/>
        </pc:sldMkLst>
      </pc:sldChg>
    </pc:docChg>
  </pc:docChgLst>
  <pc:docChgLst>
    <pc:chgData name="Kisliuk, Adrian (ext)" userId="6e619ce3-2643-4cdf-9a13-b4c269650021" providerId="ADAL" clId="{13975D20-5611-4C7A-9756-FB780983B86C}"/>
    <pc:docChg chg="undo redo custSel delSld modSld">
      <pc:chgData name="Kisliuk, Adrian (ext)" userId="6e619ce3-2643-4cdf-9a13-b4c269650021" providerId="ADAL" clId="{13975D20-5611-4C7A-9756-FB780983B86C}" dt="2021-05-12T08:54:58.741" v="296" actId="1038"/>
      <pc:docMkLst>
        <pc:docMk/>
      </pc:docMkLst>
      <pc:sldChg chg="del">
        <pc:chgData name="Kisliuk, Adrian (ext)" userId="6e619ce3-2643-4cdf-9a13-b4c269650021" providerId="ADAL" clId="{13975D20-5611-4C7A-9756-FB780983B86C}" dt="2021-05-12T08:13:20.922" v="86" actId="47"/>
        <pc:sldMkLst>
          <pc:docMk/>
          <pc:sldMk cId="1076232009" sldId="913"/>
        </pc:sldMkLst>
      </pc:sldChg>
      <pc:sldChg chg="addSp delSp modSp">
        <pc:chgData name="Kisliuk, Adrian (ext)" userId="6e619ce3-2643-4cdf-9a13-b4c269650021" providerId="ADAL" clId="{13975D20-5611-4C7A-9756-FB780983B86C}" dt="2021-05-12T08:47:51.081" v="214"/>
        <pc:sldMkLst>
          <pc:docMk/>
          <pc:sldMk cId="2399935048" sldId="924"/>
        </pc:sldMkLst>
        <pc:cxnChg chg="add del mod">
          <ac:chgData name="Kisliuk, Adrian (ext)" userId="6e619ce3-2643-4cdf-9a13-b4c269650021" providerId="ADAL" clId="{13975D20-5611-4C7A-9756-FB780983B86C}" dt="2021-05-12T08:47:51.081" v="214"/>
          <ac:cxnSpMkLst>
            <pc:docMk/>
            <pc:sldMk cId="2399935048" sldId="924"/>
            <ac:cxnSpMk id="39" creationId="{809CC04B-95D0-4A0B-BBA5-7CBBEDBA2BE4}"/>
          </ac:cxnSpMkLst>
        </pc:cxnChg>
      </pc:sldChg>
      <pc:sldChg chg="addSp delSp modSp mod">
        <pc:chgData name="Kisliuk, Adrian (ext)" userId="6e619ce3-2643-4cdf-9a13-b4c269650021" providerId="ADAL" clId="{13975D20-5611-4C7A-9756-FB780983B86C}" dt="2021-05-12T08:54:58.741" v="296" actId="1038"/>
        <pc:sldMkLst>
          <pc:docMk/>
          <pc:sldMk cId="1078989069" sldId="925"/>
        </pc:sldMkLst>
        <pc:spChg chg="mod">
          <ac:chgData name="Kisliuk, Adrian (ext)" userId="6e619ce3-2643-4cdf-9a13-b4c269650021" providerId="ADAL" clId="{13975D20-5611-4C7A-9756-FB780983B86C}" dt="2021-05-12T08:54:58.741" v="296" actId="1038"/>
          <ac:spMkLst>
            <pc:docMk/>
            <pc:sldMk cId="1078989069" sldId="925"/>
            <ac:spMk id="15" creationId="{2BCBD105-077E-4EBA-BC9D-6FD472EE80C7}"/>
          </ac:spMkLst>
        </pc:spChg>
        <pc:spChg chg="mod">
          <ac:chgData name="Kisliuk, Adrian (ext)" userId="6e619ce3-2643-4cdf-9a13-b4c269650021" providerId="ADAL" clId="{13975D20-5611-4C7A-9756-FB780983B86C}" dt="2021-05-12T08:54:58.741" v="296" actId="1038"/>
          <ac:spMkLst>
            <pc:docMk/>
            <pc:sldMk cId="1078989069" sldId="925"/>
            <ac:spMk id="16" creationId="{304F80AD-6C69-4194-9BC0-58CC2E9D1B92}"/>
          </ac:spMkLst>
        </pc:spChg>
        <pc:spChg chg="mod">
          <ac:chgData name="Kisliuk, Adrian (ext)" userId="6e619ce3-2643-4cdf-9a13-b4c269650021" providerId="ADAL" clId="{13975D20-5611-4C7A-9756-FB780983B86C}" dt="2021-05-12T08:54:58.741" v="296" actId="1038"/>
          <ac:spMkLst>
            <pc:docMk/>
            <pc:sldMk cId="1078989069" sldId="925"/>
            <ac:spMk id="17" creationId="{04A5B744-A4C5-46E5-A00C-C965208CF174}"/>
          </ac:spMkLst>
        </pc:spChg>
        <pc:spChg chg="mod">
          <ac:chgData name="Kisliuk, Adrian (ext)" userId="6e619ce3-2643-4cdf-9a13-b4c269650021" providerId="ADAL" clId="{13975D20-5611-4C7A-9756-FB780983B86C}" dt="2021-05-12T08:54:58.741" v="296" actId="1038"/>
          <ac:spMkLst>
            <pc:docMk/>
            <pc:sldMk cId="1078989069" sldId="925"/>
            <ac:spMk id="20" creationId="{D1A41447-9FDD-48BD-89C6-399CE8872280}"/>
          </ac:spMkLst>
        </pc:spChg>
        <pc:spChg chg="del mod">
          <ac:chgData name="Kisliuk, Adrian (ext)" userId="6e619ce3-2643-4cdf-9a13-b4c269650021" providerId="ADAL" clId="{13975D20-5611-4C7A-9756-FB780983B86C}" dt="2021-05-12T08:52:07.064" v="252" actId="21"/>
          <ac:spMkLst>
            <pc:docMk/>
            <pc:sldMk cId="1078989069" sldId="925"/>
            <ac:spMk id="29" creationId="{5B9B5C23-D9CD-479A-BD4A-55D84B9286A5}"/>
          </ac:spMkLst>
        </pc:spChg>
        <pc:spChg chg="mod">
          <ac:chgData name="Kisliuk, Adrian (ext)" userId="6e619ce3-2643-4cdf-9a13-b4c269650021" providerId="ADAL" clId="{13975D20-5611-4C7A-9756-FB780983B86C}" dt="2021-05-12T08:54:58.741" v="296" actId="1038"/>
          <ac:spMkLst>
            <pc:docMk/>
            <pc:sldMk cId="1078989069" sldId="925"/>
            <ac:spMk id="30" creationId="{75066390-386C-4B6E-876F-F84822F8A27A}"/>
          </ac:spMkLst>
        </pc:spChg>
        <pc:spChg chg="add del mod">
          <ac:chgData name="Kisliuk, Adrian (ext)" userId="6e619ce3-2643-4cdf-9a13-b4c269650021" providerId="ADAL" clId="{13975D20-5611-4C7A-9756-FB780983B86C}" dt="2021-05-12T08:52:14.476" v="258" actId="478"/>
          <ac:spMkLst>
            <pc:docMk/>
            <pc:sldMk cId="1078989069" sldId="925"/>
            <ac:spMk id="46" creationId="{BF05361E-F96E-42A3-B25C-BAE8339D9D5E}"/>
          </ac:spMkLst>
        </pc:spChg>
        <pc:spChg chg="mod">
          <ac:chgData name="Kisliuk, Adrian (ext)" userId="6e619ce3-2643-4cdf-9a13-b4c269650021" providerId="ADAL" clId="{13975D20-5611-4C7A-9756-FB780983B86C}" dt="2021-05-12T08:54:58.741" v="296" actId="1038"/>
          <ac:spMkLst>
            <pc:docMk/>
            <pc:sldMk cId="1078989069" sldId="925"/>
            <ac:spMk id="47" creationId="{C198E89F-3EEF-44F9-84A7-F1060436D33E}"/>
          </ac:spMkLst>
        </pc:spChg>
        <pc:spChg chg="mod">
          <ac:chgData name="Kisliuk, Adrian (ext)" userId="6e619ce3-2643-4cdf-9a13-b4c269650021" providerId="ADAL" clId="{13975D20-5611-4C7A-9756-FB780983B86C}" dt="2021-05-12T08:54:58.741" v="296" actId="1038"/>
          <ac:spMkLst>
            <pc:docMk/>
            <pc:sldMk cId="1078989069" sldId="925"/>
            <ac:spMk id="49" creationId="{0A0CE2A8-7AEF-476C-844C-00AB57911964}"/>
          </ac:spMkLst>
        </pc:spChg>
        <pc:spChg chg="mod">
          <ac:chgData name="Kisliuk, Adrian (ext)" userId="6e619ce3-2643-4cdf-9a13-b4c269650021" providerId="ADAL" clId="{13975D20-5611-4C7A-9756-FB780983B86C}" dt="2021-05-12T08:54:58.741" v="296" actId="1038"/>
          <ac:spMkLst>
            <pc:docMk/>
            <pc:sldMk cId="1078989069" sldId="925"/>
            <ac:spMk id="61" creationId="{D66155B4-2995-4753-8753-2FC60AC38605}"/>
          </ac:spMkLst>
        </pc:spChg>
        <pc:spChg chg="add mod">
          <ac:chgData name="Kisliuk, Adrian (ext)" userId="6e619ce3-2643-4cdf-9a13-b4c269650021" providerId="ADAL" clId="{13975D20-5611-4C7A-9756-FB780983B86C}" dt="2021-05-12T08:52:12.528" v="257"/>
          <ac:spMkLst>
            <pc:docMk/>
            <pc:sldMk cId="1078989069" sldId="925"/>
            <ac:spMk id="101" creationId="{503A6E6B-D24A-43BC-9911-AABD2FDE2DBF}"/>
          </ac:spMkLst>
        </pc:spChg>
        <pc:grpChg chg="add del mod">
          <ac:chgData name="Kisliuk, Adrian (ext)" userId="6e619ce3-2643-4cdf-9a13-b4c269650021" providerId="ADAL" clId="{13975D20-5611-4C7A-9756-FB780983B86C}" dt="2021-05-12T08:17:29.004" v="97" actId="165"/>
          <ac:grpSpMkLst>
            <pc:docMk/>
            <pc:sldMk cId="1078989069" sldId="925"/>
            <ac:grpSpMk id="3" creationId="{A6838419-71AA-4F1A-AAC2-047F8D00C0D7}"/>
          </ac:grpSpMkLst>
        </pc:grpChg>
        <pc:grpChg chg="add del mod">
          <ac:chgData name="Kisliuk, Adrian (ext)" userId="6e619ce3-2643-4cdf-9a13-b4c269650021" providerId="ADAL" clId="{13975D20-5611-4C7A-9756-FB780983B86C}" dt="2021-05-12T08:42:41.524" v="163" actId="165"/>
          <ac:grpSpMkLst>
            <pc:docMk/>
            <pc:sldMk cId="1078989069" sldId="925"/>
            <ac:grpSpMk id="18" creationId="{B681E869-D17C-46AF-85B3-2B6D2230EC25}"/>
          </ac:grpSpMkLst>
        </pc:grpChg>
        <pc:grpChg chg="add del mod">
          <ac:chgData name="Kisliuk, Adrian (ext)" userId="6e619ce3-2643-4cdf-9a13-b4c269650021" providerId="ADAL" clId="{13975D20-5611-4C7A-9756-FB780983B86C}" dt="2021-05-12T08:42:37.636" v="162" actId="165"/>
          <ac:grpSpMkLst>
            <pc:docMk/>
            <pc:sldMk cId="1078989069" sldId="925"/>
            <ac:grpSpMk id="19" creationId="{913625D1-D9B2-4C2E-A8D8-5ADADB703594}"/>
          </ac:grpSpMkLst>
        </pc:grpChg>
        <pc:grpChg chg="add del mod">
          <ac:chgData name="Kisliuk, Adrian (ext)" userId="6e619ce3-2643-4cdf-9a13-b4c269650021" providerId="ADAL" clId="{13975D20-5611-4C7A-9756-FB780983B86C}" dt="2021-05-12T08:42:33.802" v="161" actId="165"/>
          <ac:grpSpMkLst>
            <pc:docMk/>
            <pc:sldMk cId="1078989069" sldId="925"/>
            <ac:grpSpMk id="22" creationId="{5F3098A8-EB09-4D05-9842-9FD3FCB4E16C}"/>
          </ac:grpSpMkLst>
        </pc:grpChg>
        <pc:grpChg chg="add del mod">
          <ac:chgData name="Kisliuk, Adrian (ext)" userId="6e619ce3-2643-4cdf-9a13-b4c269650021" providerId="ADAL" clId="{13975D20-5611-4C7A-9756-FB780983B86C}" dt="2021-05-12T08:42:29.418" v="160" actId="165"/>
          <ac:grpSpMkLst>
            <pc:docMk/>
            <pc:sldMk cId="1078989069" sldId="925"/>
            <ac:grpSpMk id="23" creationId="{656DBCA2-562F-4926-A19B-5A8493A407FF}"/>
          </ac:grpSpMkLst>
        </pc:grpChg>
        <pc:grpChg chg="add del mod topLvl">
          <ac:chgData name="Kisliuk, Adrian (ext)" userId="6e619ce3-2643-4cdf-9a13-b4c269650021" providerId="ADAL" clId="{13975D20-5611-4C7A-9756-FB780983B86C}" dt="2021-05-12T08:42:25.415" v="159" actId="165"/>
          <ac:grpSpMkLst>
            <pc:docMk/>
            <pc:sldMk cId="1078989069" sldId="925"/>
            <ac:grpSpMk id="24" creationId="{2411A187-948A-4542-9CD7-04AB108D18F7}"/>
          </ac:grpSpMkLst>
        </pc:grpChg>
        <pc:grpChg chg="add del mod topLvl">
          <ac:chgData name="Kisliuk, Adrian (ext)" userId="6e619ce3-2643-4cdf-9a13-b4c269650021" providerId="ADAL" clId="{13975D20-5611-4C7A-9756-FB780983B86C}" dt="2021-05-12T08:42:17.392" v="157" actId="165"/>
          <ac:grpSpMkLst>
            <pc:docMk/>
            <pc:sldMk cId="1078989069" sldId="925"/>
            <ac:grpSpMk id="25" creationId="{5B47A268-76F6-4857-B6DC-F18C32058A2E}"/>
          </ac:grpSpMkLst>
        </pc:grpChg>
        <pc:grpChg chg="add del mod">
          <ac:chgData name="Kisliuk, Adrian (ext)" userId="6e619ce3-2643-4cdf-9a13-b4c269650021" providerId="ADAL" clId="{13975D20-5611-4C7A-9756-FB780983B86C}" dt="2021-05-12T08:42:08.882" v="155" actId="165"/>
          <ac:grpSpMkLst>
            <pc:docMk/>
            <pc:sldMk cId="1078989069" sldId="925"/>
            <ac:grpSpMk id="26" creationId="{5B416CF4-983C-4EAF-A599-FF7409B84313}"/>
          </ac:grpSpMkLst>
        </pc:grpChg>
        <pc:grpChg chg="add del mod">
          <ac:chgData name="Kisliuk, Adrian (ext)" userId="6e619ce3-2643-4cdf-9a13-b4c269650021" providerId="ADAL" clId="{13975D20-5611-4C7A-9756-FB780983B86C}" dt="2021-05-12T08:42:13.311" v="156" actId="165"/>
          <ac:grpSpMkLst>
            <pc:docMk/>
            <pc:sldMk cId="1078989069" sldId="925"/>
            <ac:grpSpMk id="27" creationId="{A7C8F8E8-97D9-43A6-AC87-9D8DED6FE4DD}"/>
          </ac:grpSpMkLst>
        </pc:grpChg>
        <pc:grpChg chg="add del mod">
          <ac:chgData name="Kisliuk, Adrian (ext)" userId="6e619ce3-2643-4cdf-9a13-b4c269650021" providerId="ADAL" clId="{13975D20-5611-4C7A-9756-FB780983B86C}" dt="2021-05-12T08:42:21.737" v="158" actId="165"/>
          <ac:grpSpMkLst>
            <pc:docMk/>
            <pc:sldMk cId="1078989069" sldId="925"/>
            <ac:grpSpMk id="28" creationId="{7367954C-4B64-419B-8499-01BFD5D20EF3}"/>
          </ac:grpSpMkLst>
        </pc:grpChg>
        <pc:grpChg chg="add mod">
          <ac:chgData name="Kisliuk, Adrian (ext)" userId="6e619ce3-2643-4cdf-9a13-b4c269650021" providerId="ADAL" clId="{13975D20-5611-4C7A-9756-FB780983B86C}" dt="2021-05-12T08:44:06.259" v="175" actId="164"/>
          <ac:grpSpMkLst>
            <pc:docMk/>
            <pc:sldMk cId="1078989069" sldId="925"/>
            <ac:grpSpMk id="33" creationId="{314EF7B5-D0E6-46DE-AD09-6985A393A6A3}"/>
          </ac:grpSpMkLst>
        </pc:grpChg>
        <pc:grpChg chg="add mod">
          <ac:chgData name="Kisliuk, Adrian (ext)" userId="6e619ce3-2643-4cdf-9a13-b4c269650021" providerId="ADAL" clId="{13975D20-5611-4C7A-9756-FB780983B86C}" dt="2021-05-12T08:54:58.741" v="296" actId="1038"/>
          <ac:grpSpMkLst>
            <pc:docMk/>
            <pc:sldMk cId="1078989069" sldId="925"/>
            <ac:grpSpMk id="34" creationId="{2C4462FD-72A3-4869-B755-3094001D1094}"/>
          </ac:grpSpMkLst>
        </pc:grpChg>
        <pc:grpChg chg="add mod">
          <ac:chgData name="Kisliuk, Adrian (ext)" userId="6e619ce3-2643-4cdf-9a13-b4c269650021" providerId="ADAL" clId="{13975D20-5611-4C7A-9756-FB780983B86C}" dt="2021-05-12T08:54:58.741" v="296" actId="1038"/>
          <ac:grpSpMkLst>
            <pc:docMk/>
            <pc:sldMk cId="1078989069" sldId="925"/>
            <ac:grpSpMk id="43" creationId="{50B4BB1F-5A38-480F-BBF1-9589ADA0ECC9}"/>
          </ac:grpSpMkLst>
        </pc:grpChg>
        <pc:grpChg chg="add mod">
          <ac:chgData name="Kisliuk, Adrian (ext)" userId="6e619ce3-2643-4cdf-9a13-b4c269650021" providerId="ADAL" clId="{13975D20-5611-4C7A-9756-FB780983B86C}" dt="2021-05-12T08:54:58.741" v="296" actId="1038"/>
          <ac:grpSpMkLst>
            <pc:docMk/>
            <pc:sldMk cId="1078989069" sldId="925"/>
            <ac:grpSpMk id="102" creationId="{FB4F7963-514B-4C4F-AD1F-BE08667F5DAC}"/>
          </ac:grpSpMkLst>
        </pc:grpChg>
        <pc:grpChg chg="add mod">
          <ac:chgData name="Kisliuk, Adrian (ext)" userId="6e619ce3-2643-4cdf-9a13-b4c269650021" providerId="ADAL" clId="{13975D20-5611-4C7A-9756-FB780983B86C}" dt="2021-05-12T08:54:58.741" v="296" actId="1038"/>
          <ac:grpSpMkLst>
            <pc:docMk/>
            <pc:sldMk cId="1078989069" sldId="925"/>
            <ac:grpSpMk id="103" creationId="{16186BCC-D960-47A6-8064-C0D898AA8513}"/>
          </ac:grpSpMkLst>
        </pc:grpChg>
        <pc:grpChg chg="add mod">
          <ac:chgData name="Kisliuk, Adrian (ext)" userId="6e619ce3-2643-4cdf-9a13-b4c269650021" providerId="ADAL" clId="{13975D20-5611-4C7A-9756-FB780983B86C}" dt="2021-05-12T08:54:58.741" v="296" actId="1038"/>
          <ac:grpSpMkLst>
            <pc:docMk/>
            <pc:sldMk cId="1078989069" sldId="925"/>
            <ac:grpSpMk id="104" creationId="{B19437FA-187B-4983-85D6-D17C9C5C5D5C}"/>
          </ac:grpSpMkLst>
        </pc:grpChg>
        <pc:grpChg chg="add mod">
          <ac:chgData name="Kisliuk, Adrian (ext)" userId="6e619ce3-2643-4cdf-9a13-b4c269650021" providerId="ADAL" clId="{13975D20-5611-4C7A-9756-FB780983B86C}" dt="2021-05-12T08:54:58.741" v="296" actId="1038"/>
          <ac:grpSpMkLst>
            <pc:docMk/>
            <pc:sldMk cId="1078989069" sldId="925"/>
            <ac:grpSpMk id="105" creationId="{5E49614E-E090-44C5-9ED9-1C8AF11419BD}"/>
          </ac:grpSpMkLst>
        </pc:grpChg>
        <pc:grpChg chg="add mod">
          <ac:chgData name="Kisliuk, Adrian (ext)" userId="6e619ce3-2643-4cdf-9a13-b4c269650021" providerId="ADAL" clId="{13975D20-5611-4C7A-9756-FB780983B86C}" dt="2021-05-12T08:54:58.741" v="296" actId="1038"/>
          <ac:grpSpMkLst>
            <pc:docMk/>
            <pc:sldMk cId="1078989069" sldId="925"/>
            <ac:grpSpMk id="106" creationId="{E562819C-9BAF-4370-9FD3-D3B8E82881F5}"/>
          </ac:grpSpMkLst>
        </pc:grpChg>
        <pc:picChg chg="add mod topLvl">
          <ac:chgData name="Kisliuk, Adrian (ext)" userId="6e619ce3-2643-4cdf-9a13-b4c269650021" providerId="ADAL" clId="{13975D20-5611-4C7A-9756-FB780983B86C}" dt="2021-05-12T08:53:41.093" v="286" actId="164"/>
          <ac:picMkLst>
            <pc:docMk/>
            <pc:sldMk cId="1078989069" sldId="925"/>
            <ac:picMk id="55" creationId="{6202B909-4745-4434-AECF-3414AE4867B0}"/>
          </ac:picMkLst>
        </pc:picChg>
        <pc:picChg chg="add mod topLvl">
          <ac:chgData name="Kisliuk, Adrian (ext)" userId="6e619ce3-2643-4cdf-9a13-b4c269650021" providerId="ADAL" clId="{13975D20-5611-4C7A-9756-FB780983B86C}" dt="2021-05-12T08:53:58.145" v="290" actId="164"/>
          <ac:picMkLst>
            <pc:docMk/>
            <pc:sldMk cId="1078989069" sldId="925"/>
            <ac:picMk id="56" creationId="{183A833D-5731-476D-9E98-7EAD4F8B395F}"/>
          </ac:picMkLst>
        </pc:picChg>
        <pc:picChg chg="mod topLvl">
          <ac:chgData name="Kisliuk, Adrian (ext)" userId="6e619ce3-2643-4cdf-9a13-b4c269650021" providerId="ADAL" clId="{13975D20-5611-4C7A-9756-FB780983B86C}" dt="2021-05-12T08:46:09.088" v="198" actId="164"/>
          <ac:picMkLst>
            <pc:docMk/>
            <pc:sldMk cId="1078989069" sldId="925"/>
            <ac:picMk id="59" creationId="{5BBF3B6C-B2E2-49AC-881F-846F121C9D36}"/>
          </ac:picMkLst>
        </pc:picChg>
        <pc:picChg chg="mod topLvl">
          <ac:chgData name="Kisliuk, Adrian (ext)" userId="6e619ce3-2643-4cdf-9a13-b4c269650021" providerId="ADAL" clId="{13975D20-5611-4C7A-9756-FB780983B86C}" dt="2021-05-12T08:53:58.145" v="290" actId="164"/>
          <ac:picMkLst>
            <pc:docMk/>
            <pc:sldMk cId="1078989069" sldId="925"/>
            <ac:picMk id="60" creationId="{46698B68-3D0E-478A-A734-306D3F0B2C75}"/>
          </ac:picMkLst>
        </pc:picChg>
        <pc:picChg chg="mod topLvl">
          <ac:chgData name="Kisliuk, Adrian (ext)" userId="6e619ce3-2643-4cdf-9a13-b4c269650021" providerId="ADAL" clId="{13975D20-5611-4C7A-9756-FB780983B86C}" dt="2021-05-12T08:53:41.093" v="286" actId="164"/>
          <ac:picMkLst>
            <pc:docMk/>
            <pc:sldMk cId="1078989069" sldId="925"/>
            <ac:picMk id="63" creationId="{FA55EC14-D4E5-4AF7-BBFF-F7CCD96DA10E}"/>
          </ac:picMkLst>
        </pc:picChg>
        <pc:picChg chg="add mod topLvl">
          <ac:chgData name="Kisliuk, Adrian (ext)" userId="6e619ce3-2643-4cdf-9a13-b4c269650021" providerId="ADAL" clId="{13975D20-5611-4C7A-9756-FB780983B86C}" dt="2021-05-12T08:46:09.088" v="198" actId="164"/>
          <ac:picMkLst>
            <pc:docMk/>
            <pc:sldMk cId="1078989069" sldId="925"/>
            <ac:picMk id="64" creationId="{43AE3441-3F6A-4525-8DFB-2B9C137F40D0}"/>
          </ac:picMkLst>
        </pc:picChg>
        <pc:picChg chg="add mod topLvl">
          <ac:chgData name="Kisliuk, Adrian (ext)" userId="6e619ce3-2643-4cdf-9a13-b4c269650021" providerId="ADAL" clId="{13975D20-5611-4C7A-9756-FB780983B86C}" dt="2021-05-12T08:53:41.093" v="286" actId="164"/>
          <ac:picMkLst>
            <pc:docMk/>
            <pc:sldMk cId="1078989069" sldId="925"/>
            <ac:picMk id="65" creationId="{D8B8F56D-5E02-41FB-B5AC-37F009A6ACFD}"/>
          </ac:picMkLst>
        </pc:picChg>
        <pc:picChg chg="add mod topLvl">
          <ac:chgData name="Kisliuk, Adrian (ext)" userId="6e619ce3-2643-4cdf-9a13-b4c269650021" providerId="ADAL" clId="{13975D20-5611-4C7A-9756-FB780983B86C}" dt="2021-05-12T08:53:58.145" v="290" actId="164"/>
          <ac:picMkLst>
            <pc:docMk/>
            <pc:sldMk cId="1078989069" sldId="925"/>
            <ac:picMk id="66" creationId="{C0AF2512-FCE0-481B-9227-4BCB084A5681}"/>
          </ac:picMkLst>
        </pc:picChg>
        <pc:picChg chg="add mod topLvl">
          <ac:chgData name="Kisliuk, Adrian (ext)" userId="6e619ce3-2643-4cdf-9a13-b4c269650021" providerId="ADAL" clId="{13975D20-5611-4C7A-9756-FB780983B86C}" dt="2021-05-12T08:46:09.088" v="198" actId="164"/>
          <ac:picMkLst>
            <pc:docMk/>
            <pc:sldMk cId="1078989069" sldId="925"/>
            <ac:picMk id="67" creationId="{DBE6BE87-90BD-47C6-A98D-1F1D8F5DE755}"/>
          </ac:picMkLst>
        </pc:picChg>
        <pc:picChg chg="mod topLvl">
          <ac:chgData name="Kisliuk, Adrian (ext)" userId="6e619ce3-2643-4cdf-9a13-b4c269650021" providerId="ADAL" clId="{13975D20-5611-4C7A-9756-FB780983B86C}" dt="2021-05-12T08:53:25.404" v="281" actId="164"/>
          <ac:picMkLst>
            <pc:docMk/>
            <pc:sldMk cId="1078989069" sldId="925"/>
            <ac:picMk id="68" creationId="{1DE4BEE4-FC37-4943-9428-B4DE705BA58D}"/>
          </ac:picMkLst>
        </pc:picChg>
        <pc:picChg chg="add mod topLvl">
          <ac:chgData name="Kisliuk, Adrian (ext)" userId="6e619ce3-2643-4cdf-9a13-b4c269650021" providerId="ADAL" clId="{13975D20-5611-4C7A-9756-FB780983B86C}" dt="2021-05-12T08:46:09.088" v="198" actId="164"/>
          <ac:picMkLst>
            <pc:docMk/>
            <pc:sldMk cId="1078989069" sldId="925"/>
            <ac:picMk id="69" creationId="{A5CD3FB2-47EB-4C85-9D1D-F48A49552B2F}"/>
          </ac:picMkLst>
        </pc:picChg>
        <pc:picChg chg="add mod topLvl">
          <ac:chgData name="Kisliuk, Adrian (ext)" userId="6e619ce3-2643-4cdf-9a13-b4c269650021" providerId="ADAL" clId="{13975D20-5611-4C7A-9756-FB780983B86C}" dt="2021-05-12T08:53:58.145" v="290" actId="164"/>
          <ac:picMkLst>
            <pc:docMk/>
            <pc:sldMk cId="1078989069" sldId="925"/>
            <ac:picMk id="70" creationId="{235251FB-91FB-4DE9-A34A-7B503C894FDC}"/>
          </ac:picMkLst>
        </pc:picChg>
        <pc:picChg chg="mod topLvl">
          <ac:chgData name="Kisliuk, Adrian (ext)" userId="6e619ce3-2643-4cdf-9a13-b4c269650021" providerId="ADAL" clId="{13975D20-5611-4C7A-9756-FB780983B86C}" dt="2021-05-12T08:52:52.779" v="271" actId="164"/>
          <ac:picMkLst>
            <pc:docMk/>
            <pc:sldMk cId="1078989069" sldId="925"/>
            <ac:picMk id="71" creationId="{91F1E3E8-3270-44F9-A8BB-69D23D6D7337}"/>
          </ac:picMkLst>
        </pc:picChg>
        <pc:picChg chg="mod topLvl">
          <ac:chgData name="Kisliuk, Adrian (ext)" userId="6e619ce3-2643-4cdf-9a13-b4c269650021" providerId="ADAL" clId="{13975D20-5611-4C7A-9756-FB780983B86C}" dt="2021-05-12T08:53:14.224" v="279" actId="12789"/>
          <ac:picMkLst>
            <pc:docMk/>
            <pc:sldMk cId="1078989069" sldId="925"/>
            <ac:picMk id="72" creationId="{C1FAAE59-E2E8-47D0-9785-BA3020B95D2C}"/>
          </ac:picMkLst>
        </pc:picChg>
        <pc:picChg chg="mod topLvl">
          <ac:chgData name="Kisliuk, Adrian (ext)" userId="6e619ce3-2643-4cdf-9a13-b4c269650021" providerId="ADAL" clId="{13975D20-5611-4C7A-9756-FB780983B86C}" dt="2021-05-12T08:48:43.104" v="218" actId="12789"/>
          <ac:picMkLst>
            <pc:docMk/>
            <pc:sldMk cId="1078989069" sldId="925"/>
            <ac:picMk id="73" creationId="{3AD12445-8348-46E8-BA24-8AC4790A91BB}"/>
          </ac:picMkLst>
        </pc:picChg>
        <pc:picChg chg="mod topLvl">
          <ac:chgData name="Kisliuk, Adrian (ext)" userId="6e619ce3-2643-4cdf-9a13-b4c269650021" providerId="ADAL" clId="{13975D20-5611-4C7A-9756-FB780983B86C}" dt="2021-05-12T08:48:43.104" v="218" actId="12789"/>
          <ac:picMkLst>
            <pc:docMk/>
            <pc:sldMk cId="1078989069" sldId="925"/>
            <ac:picMk id="74" creationId="{D57B6507-8A4E-48AF-8107-FFDA4995444A}"/>
          </ac:picMkLst>
        </pc:picChg>
        <pc:picChg chg="mod topLvl">
          <ac:chgData name="Kisliuk, Adrian (ext)" userId="6e619ce3-2643-4cdf-9a13-b4c269650021" providerId="ADAL" clId="{13975D20-5611-4C7A-9756-FB780983B86C}" dt="2021-05-12T08:48:43.104" v="218" actId="12789"/>
          <ac:picMkLst>
            <pc:docMk/>
            <pc:sldMk cId="1078989069" sldId="925"/>
            <ac:picMk id="75" creationId="{19EB195E-A92E-429C-83BF-A470CCE193D8}"/>
          </ac:picMkLst>
        </pc:picChg>
        <pc:picChg chg="add mod topLvl">
          <ac:chgData name="Kisliuk, Adrian (ext)" userId="6e619ce3-2643-4cdf-9a13-b4c269650021" providerId="ADAL" clId="{13975D20-5611-4C7A-9756-FB780983B86C}" dt="2021-05-12T08:53:41.093" v="286" actId="164"/>
          <ac:picMkLst>
            <pc:docMk/>
            <pc:sldMk cId="1078989069" sldId="925"/>
            <ac:picMk id="76" creationId="{8D48DC05-8403-4429-A48A-172C9730DF42}"/>
          </ac:picMkLst>
        </pc:picChg>
        <pc:picChg chg="add del mod">
          <ac:chgData name="Kisliuk, Adrian (ext)" userId="6e619ce3-2643-4cdf-9a13-b4c269650021" providerId="ADAL" clId="{13975D20-5611-4C7A-9756-FB780983B86C}" dt="2021-05-12T08:38:59.240" v="132" actId="478"/>
          <ac:picMkLst>
            <pc:docMk/>
            <pc:sldMk cId="1078989069" sldId="925"/>
            <ac:picMk id="77" creationId="{EA53CADE-877F-4BE4-BA92-419F33F83C82}"/>
          </ac:picMkLst>
        </pc:picChg>
        <pc:picChg chg="add mod topLvl">
          <ac:chgData name="Kisliuk, Adrian (ext)" userId="6e619ce3-2643-4cdf-9a13-b4c269650021" providerId="ADAL" clId="{13975D20-5611-4C7A-9756-FB780983B86C}" dt="2021-05-12T08:52:52.779" v="271" actId="164"/>
          <ac:picMkLst>
            <pc:docMk/>
            <pc:sldMk cId="1078989069" sldId="925"/>
            <ac:picMk id="78" creationId="{68C9772D-3D38-4503-BBBC-D3E25545CA75}"/>
          </ac:picMkLst>
        </pc:picChg>
        <pc:picChg chg="add mod topLvl">
          <ac:chgData name="Kisliuk, Adrian (ext)" userId="6e619ce3-2643-4cdf-9a13-b4c269650021" providerId="ADAL" clId="{13975D20-5611-4C7A-9756-FB780983B86C}" dt="2021-05-12T08:52:52.779" v="271" actId="164"/>
          <ac:picMkLst>
            <pc:docMk/>
            <pc:sldMk cId="1078989069" sldId="925"/>
            <ac:picMk id="79" creationId="{9751553D-88CF-4AA3-BD8C-6C8BB54965A5}"/>
          </ac:picMkLst>
        </pc:picChg>
        <pc:picChg chg="mod topLvl">
          <ac:chgData name="Kisliuk, Adrian (ext)" userId="6e619ce3-2643-4cdf-9a13-b4c269650021" providerId="ADAL" clId="{13975D20-5611-4C7A-9756-FB780983B86C}" dt="2021-05-12T08:53:25.404" v="281" actId="164"/>
          <ac:picMkLst>
            <pc:docMk/>
            <pc:sldMk cId="1078989069" sldId="925"/>
            <ac:picMk id="80" creationId="{123E8085-B244-4070-9010-0BEC0A5FD78A}"/>
          </ac:picMkLst>
        </pc:picChg>
        <pc:picChg chg="mod topLvl">
          <ac:chgData name="Kisliuk, Adrian (ext)" userId="6e619ce3-2643-4cdf-9a13-b4c269650021" providerId="ADAL" clId="{13975D20-5611-4C7A-9756-FB780983B86C}" dt="2021-05-12T08:52:52.779" v="271" actId="164"/>
          <ac:picMkLst>
            <pc:docMk/>
            <pc:sldMk cId="1078989069" sldId="925"/>
            <ac:picMk id="81" creationId="{9DB8377A-FC16-4A3D-BBC6-3E586B5F6B86}"/>
          </ac:picMkLst>
        </pc:picChg>
        <pc:picChg chg="mod topLvl">
          <ac:chgData name="Kisliuk, Adrian (ext)" userId="6e619ce3-2643-4cdf-9a13-b4c269650021" providerId="ADAL" clId="{13975D20-5611-4C7A-9756-FB780983B86C}" dt="2021-05-12T08:53:14.224" v="279" actId="12789"/>
          <ac:picMkLst>
            <pc:docMk/>
            <pc:sldMk cId="1078989069" sldId="925"/>
            <ac:picMk id="82" creationId="{C55D937B-E6A6-4AFD-A743-D41A9A532BC0}"/>
          </ac:picMkLst>
        </pc:picChg>
        <pc:picChg chg="mod topLvl">
          <ac:chgData name="Kisliuk, Adrian (ext)" userId="6e619ce3-2643-4cdf-9a13-b4c269650021" providerId="ADAL" clId="{13975D20-5611-4C7A-9756-FB780983B86C}" dt="2021-05-12T08:48:43.104" v="218" actId="12789"/>
          <ac:picMkLst>
            <pc:docMk/>
            <pc:sldMk cId="1078989069" sldId="925"/>
            <ac:picMk id="83" creationId="{99FDBE7C-D13E-4312-AC1C-44EF96C88E79}"/>
          </ac:picMkLst>
        </pc:picChg>
        <pc:picChg chg="mod topLvl">
          <ac:chgData name="Kisliuk, Adrian (ext)" userId="6e619ce3-2643-4cdf-9a13-b4c269650021" providerId="ADAL" clId="{13975D20-5611-4C7A-9756-FB780983B86C}" dt="2021-05-12T08:53:25.404" v="281" actId="164"/>
          <ac:picMkLst>
            <pc:docMk/>
            <pc:sldMk cId="1078989069" sldId="925"/>
            <ac:picMk id="84" creationId="{36F6AB75-622B-4C83-8FFC-6088FED90CF2}"/>
          </ac:picMkLst>
        </pc:picChg>
        <pc:picChg chg="mod topLvl">
          <ac:chgData name="Kisliuk, Adrian (ext)" userId="6e619ce3-2643-4cdf-9a13-b4c269650021" providerId="ADAL" clId="{13975D20-5611-4C7A-9756-FB780983B86C}" dt="2021-05-12T08:53:25.404" v="281" actId="164"/>
          <ac:picMkLst>
            <pc:docMk/>
            <pc:sldMk cId="1078989069" sldId="925"/>
            <ac:picMk id="85" creationId="{11690299-6CAA-4D9D-BE08-75B5D8F05279}"/>
          </ac:picMkLst>
        </pc:picChg>
        <pc:picChg chg="del mod">
          <ac:chgData name="Kisliuk, Adrian (ext)" userId="6e619ce3-2643-4cdf-9a13-b4c269650021" providerId="ADAL" clId="{13975D20-5611-4C7A-9756-FB780983B86C}" dt="2021-05-12T08:39:43.343" v="139" actId="478"/>
          <ac:picMkLst>
            <pc:docMk/>
            <pc:sldMk cId="1078989069" sldId="925"/>
            <ac:picMk id="86" creationId="{92D2E2E6-575E-4353-A773-140E31A1DE28}"/>
          </ac:picMkLst>
        </pc:picChg>
        <pc:picChg chg="mod topLvl">
          <ac:chgData name="Kisliuk, Adrian (ext)" userId="6e619ce3-2643-4cdf-9a13-b4c269650021" providerId="ADAL" clId="{13975D20-5611-4C7A-9756-FB780983B86C}" dt="2021-05-12T08:53:14.224" v="279" actId="12789"/>
          <ac:picMkLst>
            <pc:docMk/>
            <pc:sldMk cId="1078989069" sldId="925"/>
            <ac:picMk id="87" creationId="{C2690799-313D-4836-A805-52AC3CB13250}"/>
          </ac:picMkLst>
        </pc:picChg>
        <pc:picChg chg="del mod">
          <ac:chgData name="Kisliuk, Adrian (ext)" userId="6e619ce3-2643-4cdf-9a13-b4c269650021" providerId="ADAL" clId="{13975D20-5611-4C7A-9756-FB780983B86C}" dt="2021-05-12T08:39:57.887" v="143" actId="478"/>
          <ac:picMkLst>
            <pc:docMk/>
            <pc:sldMk cId="1078989069" sldId="925"/>
            <ac:picMk id="88" creationId="{658F359B-A3B1-4DC0-9E52-CA2FE00ACF72}"/>
          </ac:picMkLst>
        </pc:picChg>
        <pc:picChg chg="del mod">
          <ac:chgData name="Kisliuk, Adrian (ext)" userId="6e619ce3-2643-4cdf-9a13-b4c269650021" providerId="ADAL" clId="{13975D20-5611-4C7A-9756-FB780983B86C}" dt="2021-05-12T08:39:23.806" v="135" actId="478"/>
          <ac:picMkLst>
            <pc:docMk/>
            <pc:sldMk cId="1078989069" sldId="925"/>
            <ac:picMk id="89" creationId="{356D22C9-502E-439D-BEA7-4C4044C0A107}"/>
          </ac:picMkLst>
        </pc:picChg>
        <pc:picChg chg="add mod topLvl">
          <ac:chgData name="Kisliuk, Adrian (ext)" userId="6e619ce3-2643-4cdf-9a13-b4c269650021" providerId="ADAL" clId="{13975D20-5611-4C7A-9756-FB780983B86C}" dt="2021-05-12T08:53:14.224" v="279" actId="12789"/>
          <ac:picMkLst>
            <pc:docMk/>
            <pc:sldMk cId="1078989069" sldId="925"/>
            <ac:picMk id="90" creationId="{E8FE69C9-C909-45AB-A063-4C54FB28A057}"/>
          </ac:picMkLst>
        </pc:picChg>
        <pc:cxnChg chg="del mod">
          <ac:chgData name="Kisliuk, Adrian (ext)" userId="6e619ce3-2643-4cdf-9a13-b4c269650021" providerId="ADAL" clId="{13975D20-5611-4C7A-9756-FB780983B86C}" dt="2021-05-12T08:47:01.854" v="204" actId="478"/>
          <ac:cxnSpMkLst>
            <pc:docMk/>
            <pc:sldMk cId="1078989069" sldId="925"/>
            <ac:cxnSpMk id="32" creationId="{DFD6B519-A344-4FC6-A2DA-1A53992BDCBE}"/>
          </ac:cxnSpMkLst>
        </pc:cxnChg>
        <pc:cxnChg chg="del mod">
          <ac:chgData name="Kisliuk, Adrian (ext)" userId="6e619ce3-2643-4cdf-9a13-b4c269650021" providerId="ADAL" clId="{13975D20-5611-4C7A-9756-FB780983B86C}" dt="2021-05-12T08:47:04.926" v="208" actId="478"/>
          <ac:cxnSpMkLst>
            <pc:docMk/>
            <pc:sldMk cId="1078989069" sldId="925"/>
            <ac:cxnSpMk id="35" creationId="{EE8BAB10-8D59-4A44-9CF2-49650B819088}"/>
          </ac:cxnSpMkLst>
        </pc:cxnChg>
        <pc:cxnChg chg="del">
          <ac:chgData name="Kisliuk, Adrian (ext)" userId="6e619ce3-2643-4cdf-9a13-b4c269650021" providerId="ADAL" clId="{13975D20-5611-4C7A-9756-FB780983B86C}" dt="2021-05-12T08:47:06.292" v="209" actId="478"/>
          <ac:cxnSpMkLst>
            <pc:docMk/>
            <pc:sldMk cId="1078989069" sldId="925"/>
            <ac:cxnSpMk id="36" creationId="{B5B5AF1D-CF4E-4CCC-B6C8-019402A2DCAF}"/>
          </ac:cxnSpMkLst>
        </pc:cxnChg>
        <pc:cxnChg chg="del mod">
          <ac:chgData name="Kisliuk, Adrian (ext)" userId="6e619ce3-2643-4cdf-9a13-b4c269650021" providerId="ADAL" clId="{13975D20-5611-4C7A-9756-FB780983B86C}" dt="2021-05-12T08:47:07.222" v="210" actId="478"/>
          <ac:cxnSpMkLst>
            <pc:docMk/>
            <pc:sldMk cId="1078989069" sldId="925"/>
            <ac:cxnSpMk id="37" creationId="{0F2B354D-BD9F-447D-835D-4E2842AD2511}"/>
          </ac:cxnSpMkLst>
        </pc:cxnChg>
        <pc:cxnChg chg="del">
          <ac:chgData name="Kisliuk, Adrian (ext)" userId="6e619ce3-2643-4cdf-9a13-b4c269650021" providerId="ADAL" clId="{13975D20-5611-4C7A-9756-FB780983B86C}" dt="2021-05-12T08:47:17.086" v="212" actId="478"/>
          <ac:cxnSpMkLst>
            <pc:docMk/>
            <pc:sldMk cId="1078989069" sldId="925"/>
            <ac:cxnSpMk id="38" creationId="{5F8EE828-A05F-48A0-B769-9A2B40619A5E}"/>
          </ac:cxnSpMkLst>
        </pc:cxnChg>
        <pc:cxnChg chg="del">
          <ac:chgData name="Kisliuk, Adrian (ext)" userId="6e619ce3-2643-4cdf-9a13-b4c269650021" providerId="ADAL" clId="{13975D20-5611-4C7A-9756-FB780983B86C}" dt="2021-05-12T08:47:04.102" v="207" actId="478"/>
          <ac:cxnSpMkLst>
            <pc:docMk/>
            <pc:sldMk cId="1078989069" sldId="925"/>
            <ac:cxnSpMk id="48" creationId="{FEE7B173-8925-41E9-B743-8BC9350F2B28}"/>
          </ac:cxnSpMkLst>
        </pc:cxnChg>
        <pc:cxnChg chg="del">
          <ac:chgData name="Kisliuk, Adrian (ext)" userId="6e619ce3-2643-4cdf-9a13-b4c269650021" providerId="ADAL" clId="{13975D20-5611-4C7A-9756-FB780983B86C}" dt="2021-05-12T08:47:03.293" v="206" actId="478"/>
          <ac:cxnSpMkLst>
            <pc:docMk/>
            <pc:sldMk cId="1078989069" sldId="925"/>
            <ac:cxnSpMk id="50" creationId="{9FB2F2D7-63E7-4055-966F-44F0E067FDCD}"/>
          </ac:cxnSpMkLst>
        </pc:cxnChg>
        <pc:cxnChg chg="mod">
          <ac:chgData name="Kisliuk, Adrian (ext)" userId="6e619ce3-2643-4cdf-9a13-b4c269650021" providerId="ADAL" clId="{13975D20-5611-4C7A-9756-FB780983B86C}" dt="2021-05-12T08:52:10.545" v="256" actId="1037"/>
          <ac:cxnSpMkLst>
            <pc:docMk/>
            <pc:sldMk cId="1078989069" sldId="925"/>
            <ac:cxnSpMk id="52" creationId="{2178692B-6AE8-44F9-8A93-104B7F2FB145}"/>
          </ac:cxnSpMkLst>
        </pc:cxnChg>
        <pc:cxnChg chg="del mod">
          <ac:chgData name="Kisliuk, Adrian (ext)" userId="6e619ce3-2643-4cdf-9a13-b4c269650021" providerId="ADAL" clId="{13975D20-5611-4C7A-9756-FB780983B86C}" dt="2021-05-12T08:47:02.641" v="205" actId="478"/>
          <ac:cxnSpMkLst>
            <pc:docMk/>
            <pc:sldMk cId="1078989069" sldId="925"/>
            <ac:cxnSpMk id="62" creationId="{B412F6A5-A731-4F01-A8B6-DF406FC83666}"/>
          </ac:cxnSpMkLst>
        </pc:cxnChg>
        <pc:cxnChg chg="add mod">
          <ac:chgData name="Kisliuk, Adrian (ext)" userId="6e619ce3-2643-4cdf-9a13-b4c269650021" providerId="ADAL" clId="{13975D20-5611-4C7A-9756-FB780983B86C}" dt="2021-05-12T08:54:58.741" v="296" actId="1038"/>
          <ac:cxnSpMkLst>
            <pc:docMk/>
            <pc:sldMk cId="1078989069" sldId="925"/>
            <ac:cxnSpMk id="91" creationId="{455CA53D-85D1-45B4-B6B0-8876E7462B46}"/>
          </ac:cxnSpMkLst>
        </pc:cxnChg>
        <pc:cxnChg chg="add mod">
          <ac:chgData name="Kisliuk, Adrian (ext)" userId="6e619ce3-2643-4cdf-9a13-b4c269650021" providerId="ADAL" clId="{13975D20-5611-4C7A-9756-FB780983B86C}" dt="2021-05-12T08:54:58.741" v="296" actId="1038"/>
          <ac:cxnSpMkLst>
            <pc:docMk/>
            <pc:sldMk cId="1078989069" sldId="925"/>
            <ac:cxnSpMk id="92" creationId="{F1F75321-81A0-4B8A-B07B-CED74601487F}"/>
          </ac:cxnSpMkLst>
        </pc:cxnChg>
        <pc:cxnChg chg="add mod">
          <ac:chgData name="Kisliuk, Adrian (ext)" userId="6e619ce3-2643-4cdf-9a13-b4c269650021" providerId="ADAL" clId="{13975D20-5611-4C7A-9756-FB780983B86C}" dt="2021-05-12T08:54:58.741" v="296" actId="1038"/>
          <ac:cxnSpMkLst>
            <pc:docMk/>
            <pc:sldMk cId="1078989069" sldId="925"/>
            <ac:cxnSpMk id="93" creationId="{4001D610-4BFC-4614-8012-7910FCDE271E}"/>
          </ac:cxnSpMkLst>
        </pc:cxnChg>
        <pc:cxnChg chg="add mod">
          <ac:chgData name="Kisliuk, Adrian (ext)" userId="6e619ce3-2643-4cdf-9a13-b4c269650021" providerId="ADAL" clId="{13975D20-5611-4C7A-9756-FB780983B86C}" dt="2021-05-12T08:54:58.741" v="296" actId="1038"/>
          <ac:cxnSpMkLst>
            <pc:docMk/>
            <pc:sldMk cId="1078989069" sldId="925"/>
            <ac:cxnSpMk id="94" creationId="{4530A6F1-A296-41C1-BC12-33E1A764F6D8}"/>
          </ac:cxnSpMkLst>
        </pc:cxnChg>
        <pc:cxnChg chg="add mod">
          <ac:chgData name="Kisliuk, Adrian (ext)" userId="6e619ce3-2643-4cdf-9a13-b4c269650021" providerId="ADAL" clId="{13975D20-5611-4C7A-9756-FB780983B86C}" dt="2021-05-12T08:54:58.741" v="296" actId="1038"/>
          <ac:cxnSpMkLst>
            <pc:docMk/>
            <pc:sldMk cId="1078989069" sldId="925"/>
            <ac:cxnSpMk id="95" creationId="{F7E9B427-51D4-4D9A-9738-279DA29F98EE}"/>
          </ac:cxnSpMkLst>
        </pc:cxnChg>
        <pc:cxnChg chg="add mod">
          <ac:chgData name="Kisliuk, Adrian (ext)" userId="6e619ce3-2643-4cdf-9a13-b4c269650021" providerId="ADAL" clId="{13975D20-5611-4C7A-9756-FB780983B86C}" dt="2021-05-12T08:54:58.741" v="296" actId="1038"/>
          <ac:cxnSpMkLst>
            <pc:docMk/>
            <pc:sldMk cId="1078989069" sldId="925"/>
            <ac:cxnSpMk id="96" creationId="{CE3B75C5-6CCD-4E1C-AD23-C6C2E704093B}"/>
          </ac:cxnSpMkLst>
        </pc:cxnChg>
        <pc:cxnChg chg="add mod">
          <ac:chgData name="Kisliuk, Adrian (ext)" userId="6e619ce3-2643-4cdf-9a13-b4c269650021" providerId="ADAL" clId="{13975D20-5611-4C7A-9756-FB780983B86C}" dt="2021-05-12T08:54:58.741" v="296" actId="1038"/>
          <ac:cxnSpMkLst>
            <pc:docMk/>
            <pc:sldMk cId="1078989069" sldId="925"/>
            <ac:cxnSpMk id="97" creationId="{A7134626-7CCB-456D-AB59-E36270FDAEF5}"/>
          </ac:cxnSpMkLst>
        </pc:cxnChg>
        <pc:cxnChg chg="add mod">
          <ac:chgData name="Kisliuk, Adrian (ext)" userId="6e619ce3-2643-4cdf-9a13-b4c269650021" providerId="ADAL" clId="{13975D20-5611-4C7A-9756-FB780983B86C}" dt="2021-05-12T08:54:58.741" v="296" actId="1038"/>
          <ac:cxnSpMkLst>
            <pc:docMk/>
            <pc:sldMk cId="1078989069" sldId="925"/>
            <ac:cxnSpMk id="98" creationId="{7B14B476-2971-43F1-9091-2C6BF40F1416}"/>
          </ac:cxnSpMkLst>
        </pc:cxnChg>
      </pc:sldChg>
    </pc:docChg>
  </pc:docChgLst>
  <pc:docChgLst>
    <pc:chgData name="Adrian Kisliuk" userId="81f189f0-3ed9-4f29-a7b1-770f7af93676" providerId="ADAL" clId="{8C0CF395-08FF-4770-9AF7-FABC78118DB0}"/>
    <pc:docChg chg="undo custSel addSld delSld modSld sldOrd">
      <pc:chgData name="Adrian Kisliuk" userId="81f189f0-3ed9-4f29-a7b1-770f7af93676" providerId="ADAL" clId="{8C0CF395-08FF-4770-9AF7-FABC78118DB0}" dt="2021-02-10T20:10:39.209" v="2948" actId="20577"/>
      <pc:docMkLst>
        <pc:docMk/>
      </pc:docMkLst>
      <pc:sldChg chg="del">
        <pc:chgData name="Adrian Kisliuk" userId="81f189f0-3ed9-4f29-a7b1-770f7af93676" providerId="ADAL" clId="{8C0CF395-08FF-4770-9AF7-FABC78118DB0}" dt="2021-02-10T18:00:27.271" v="1" actId="47"/>
        <pc:sldMkLst>
          <pc:docMk/>
          <pc:sldMk cId="2042252088" sldId="271"/>
        </pc:sldMkLst>
      </pc:sldChg>
      <pc:sldChg chg="del">
        <pc:chgData name="Adrian Kisliuk" userId="81f189f0-3ed9-4f29-a7b1-770f7af93676" providerId="ADAL" clId="{8C0CF395-08FF-4770-9AF7-FABC78118DB0}" dt="2021-02-10T18:01:17.904" v="34" actId="47"/>
        <pc:sldMkLst>
          <pc:docMk/>
          <pc:sldMk cId="1616179656" sldId="350"/>
        </pc:sldMkLst>
      </pc:sldChg>
      <pc:sldChg chg="del">
        <pc:chgData name="Adrian Kisliuk" userId="81f189f0-3ed9-4f29-a7b1-770f7af93676" providerId="ADAL" clId="{8C0CF395-08FF-4770-9AF7-FABC78118DB0}" dt="2021-02-10T18:01:17.904" v="34" actId="47"/>
        <pc:sldMkLst>
          <pc:docMk/>
          <pc:sldMk cId="2159670343" sldId="395"/>
        </pc:sldMkLst>
      </pc:sldChg>
      <pc:sldChg chg="modSp del mod">
        <pc:chgData name="Adrian Kisliuk" userId="81f189f0-3ed9-4f29-a7b1-770f7af93676" providerId="ADAL" clId="{8C0CF395-08FF-4770-9AF7-FABC78118DB0}" dt="2021-02-10T20:02:20.302" v="2807" actId="47"/>
        <pc:sldMkLst>
          <pc:docMk/>
          <pc:sldMk cId="512011113" sldId="480"/>
        </pc:sldMkLst>
        <pc:spChg chg="mod">
          <ac:chgData name="Adrian Kisliuk" userId="81f189f0-3ed9-4f29-a7b1-770f7af93676" providerId="ADAL" clId="{8C0CF395-08FF-4770-9AF7-FABC78118DB0}" dt="2021-02-10T18:48:10.154" v="818" actId="20577"/>
          <ac:spMkLst>
            <pc:docMk/>
            <pc:sldMk cId="512011113" sldId="480"/>
            <ac:spMk id="3" creationId="{00000000-0000-0000-0000-000000000000}"/>
          </ac:spMkLst>
        </pc:spChg>
      </pc:sldChg>
      <pc:sldChg chg="del">
        <pc:chgData name="Adrian Kisliuk" userId="81f189f0-3ed9-4f29-a7b1-770f7af93676" providerId="ADAL" clId="{8C0CF395-08FF-4770-9AF7-FABC78118DB0}" dt="2021-02-10T18:01:17.904" v="34" actId="47"/>
        <pc:sldMkLst>
          <pc:docMk/>
          <pc:sldMk cId="3575175818" sldId="756"/>
        </pc:sldMkLst>
      </pc:sldChg>
      <pc:sldChg chg="modSp mod ord">
        <pc:chgData name="Adrian Kisliuk" userId="81f189f0-3ed9-4f29-a7b1-770f7af93676" providerId="ADAL" clId="{8C0CF395-08FF-4770-9AF7-FABC78118DB0}" dt="2021-02-10T20:03:00.021" v="2842"/>
        <pc:sldMkLst>
          <pc:docMk/>
          <pc:sldMk cId="1207129849" sldId="757"/>
        </pc:sldMkLst>
        <pc:spChg chg="mod">
          <ac:chgData name="Adrian Kisliuk" userId="81f189f0-3ed9-4f29-a7b1-770f7af93676" providerId="ADAL" clId="{8C0CF395-08FF-4770-9AF7-FABC78118DB0}" dt="2021-02-10T20:03:00.021" v="2842"/>
          <ac:spMkLst>
            <pc:docMk/>
            <pc:sldMk cId="1207129849" sldId="757"/>
            <ac:spMk id="6" creationId="{413A3D44-7E3C-4CB4-A730-2EA535B833E2}"/>
          </ac:spMkLst>
        </pc:spChg>
      </pc:sldChg>
      <pc:sldChg chg="del">
        <pc:chgData name="Adrian Kisliuk" userId="81f189f0-3ed9-4f29-a7b1-770f7af93676" providerId="ADAL" clId="{8C0CF395-08FF-4770-9AF7-FABC78118DB0}" dt="2021-02-10T18:01:17.904" v="34" actId="47"/>
        <pc:sldMkLst>
          <pc:docMk/>
          <pc:sldMk cId="1110500403" sldId="761"/>
        </pc:sldMkLst>
      </pc:sldChg>
      <pc:sldChg chg="modSp mod">
        <pc:chgData name="Adrian Kisliuk" userId="81f189f0-3ed9-4f29-a7b1-770f7af93676" providerId="ADAL" clId="{8C0CF395-08FF-4770-9AF7-FABC78118DB0}" dt="2021-02-10T18:00:57.600" v="32" actId="20577"/>
        <pc:sldMkLst>
          <pc:docMk/>
          <pc:sldMk cId="886612709" sldId="766"/>
        </pc:sldMkLst>
        <pc:spChg chg="mod">
          <ac:chgData name="Adrian Kisliuk" userId="81f189f0-3ed9-4f29-a7b1-770f7af93676" providerId="ADAL" clId="{8C0CF395-08FF-4770-9AF7-FABC78118DB0}" dt="2021-02-10T18:00:57.600" v="32" actId="20577"/>
          <ac:spMkLst>
            <pc:docMk/>
            <pc:sldMk cId="886612709" sldId="766"/>
            <ac:spMk id="2" creationId="{848724A1-8D9B-4E48-BEA8-7DD98666F28D}"/>
          </ac:spMkLst>
        </pc:spChg>
      </pc:sldChg>
      <pc:sldChg chg="del">
        <pc:chgData name="Adrian Kisliuk" userId="81f189f0-3ed9-4f29-a7b1-770f7af93676" providerId="ADAL" clId="{8C0CF395-08FF-4770-9AF7-FABC78118DB0}" dt="2021-02-10T18:01:17.904" v="34" actId="47"/>
        <pc:sldMkLst>
          <pc:docMk/>
          <pc:sldMk cId="1562960636" sldId="772"/>
        </pc:sldMkLst>
      </pc:sldChg>
      <pc:sldChg chg="del">
        <pc:chgData name="Adrian Kisliuk" userId="81f189f0-3ed9-4f29-a7b1-770f7af93676" providerId="ADAL" clId="{8C0CF395-08FF-4770-9AF7-FABC78118DB0}" dt="2021-02-10T18:01:17.904" v="34" actId="47"/>
        <pc:sldMkLst>
          <pc:docMk/>
          <pc:sldMk cId="1404806703" sldId="788"/>
        </pc:sldMkLst>
      </pc:sldChg>
      <pc:sldChg chg="del">
        <pc:chgData name="Adrian Kisliuk" userId="81f189f0-3ed9-4f29-a7b1-770f7af93676" providerId="ADAL" clId="{8C0CF395-08FF-4770-9AF7-FABC78118DB0}" dt="2021-02-10T18:01:17.904" v="34" actId="47"/>
        <pc:sldMkLst>
          <pc:docMk/>
          <pc:sldMk cId="2783263837" sldId="790"/>
        </pc:sldMkLst>
      </pc:sldChg>
      <pc:sldChg chg="del">
        <pc:chgData name="Adrian Kisliuk" userId="81f189f0-3ed9-4f29-a7b1-770f7af93676" providerId="ADAL" clId="{8C0CF395-08FF-4770-9AF7-FABC78118DB0}" dt="2021-02-10T18:01:17.904" v="34" actId="47"/>
        <pc:sldMkLst>
          <pc:docMk/>
          <pc:sldMk cId="633585633" sldId="792"/>
        </pc:sldMkLst>
      </pc:sldChg>
      <pc:sldChg chg="del">
        <pc:chgData name="Adrian Kisliuk" userId="81f189f0-3ed9-4f29-a7b1-770f7af93676" providerId="ADAL" clId="{8C0CF395-08FF-4770-9AF7-FABC78118DB0}" dt="2021-02-10T18:01:17.904" v="34" actId="47"/>
        <pc:sldMkLst>
          <pc:docMk/>
          <pc:sldMk cId="1865496842" sldId="793"/>
        </pc:sldMkLst>
      </pc:sldChg>
      <pc:sldChg chg="del">
        <pc:chgData name="Adrian Kisliuk" userId="81f189f0-3ed9-4f29-a7b1-770f7af93676" providerId="ADAL" clId="{8C0CF395-08FF-4770-9AF7-FABC78118DB0}" dt="2021-02-10T18:01:17.904" v="34" actId="47"/>
        <pc:sldMkLst>
          <pc:docMk/>
          <pc:sldMk cId="2407910274" sldId="794"/>
        </pc:sldMkLst>
      </pc:sldChg>
      <pc:sldChg chg="del">
        <pc:chgData name="Adrian Kisliuk" userId="81f189f0-3ed9-4f29-a7b1-770f7af93676" providerId="ADAL" clId="{8C0CF395-08FF-4770-9AF7-FABC78118DB0}" dt="2021-02-10T18:01:17.904" v="34" actId="47"/>
        <pc:sldMkLst>
          <pc:docMk/>
          <pc:sldMk cId="1488434264" sldId="796"/>
        </pc:sldMkLst>
      </pc:sldChg>
      <pc:sldChg chg="del">
        <pc:chgData name="Adrian Kisliuk" userId="81f189f0-3ed9-4f29-a7b1-770f7af93676" providerId="ADAL" clId="{8C0CF395-08FF-4770-9AF7-FABC78118DB0}" dt="2021-02-10T18:01:17.904" v="34" actId="47"/>
        <pc:sldMkLst>
          <pc:docMk/>
          <pc:sldMk cId="3589037210" sldId="798"/>
        </pc:sldMkLst>
      </pc:sldChg>
      <pc:sldChg chg="modSp mod ord">
        <pc:chgData name="Adrian Kisliuk" userId="81f189f0-3ed9-4f29-a7b1-770f7af93676" providerId="ADAL" clId="{8C0CF395-08FF-4770-9AF7-FABC78118DB0}" dt="2021-02-10T20:03:03.163" v="2843"/>
        <pc:sldMkLst>
          <pc:docMk/>
          <pc:sldMk cId="1956313589" sldId="799"/>
        </pc:sldMkLst>
        <pc:spChg chg="mod">
          <ac:chgData name="Adrian Kisliuk" userId="81f189f0-3ed9-4f29-a7b1-770f7af93676" providerId="ADAL" clId="{8C0CF395-08FF-4770-9AF7-FABC78118DB0}" dt="2021-02-10T20:03:03.163" v="2843"/>
          <ac:spMkLst>
            <pc:docMk/>
            <pc:sldMk cId="1956313589" sldId="799"/>
            <ac:spMk id="5" creationId="{00000000-0000-0000-0000-000000000000}"/>
          </ac:spMkLst>
        </pc:spChg>
      </pc:sldChg>
      <pc:sldChg chg="del">
        <pc:chgData name="Adrian Kisliuk" userId="81f189f0-3ed9-4f29-a7b1-770f7af93676" providerId="ADAL" clId="{8C0CF395-08FF-4770-9AF7-FABC78118DB0}" dt="2021-02-10T18:00:26.473" v="0" actId="47"/>
        <pc:sldMkLst>
          <pc:docMk/>
          <pc:sldMk cId="1177755287" sldId="801"/>
        </pc:sldMkLst>
      </pc:sldChg>
      <pc:sldChg chg="del">
        <pc:chgData name="Adrian Kisliuk" userId="81f189f0-3ed9-4f29-a7b1-770f7af93676" providerId="ADAL" clId="{8C0CF395-08FF-4770-9AF7-FABC78118DB0}" dt="2021-02-10T18:01:17.904" v="34" actId="47"/>
        <pc:sldMkLst>
          <pc:docMk/>
          <pc:sldMk cId="1849252516" sldId="802"/>
        </pc:sldMkLst>
      </pc:sldChg>
      <pc:sldChg chg="del">
        <pc:chgData name="Adrian Kisliuk" userId="81f189f0-3ed9-4f29-a7b1-770f7af93676" providerId="ADAL" clId="{8C0CF395-08FF-4770-9AF7-FABC78118DB0}" dt="2021-02-10T18:01:17.904" v="34" actId="47"/>
        <pc:sldMkLst>
          <pc:docMk/>
          <pc:sldMk cId="2631980978" sldId="803"/>
        </pc:sldMkLst>
      </pc:sldChg>
      <pc:sldChg chg="del">
        <pc:chgData name="Adrian Kisliuk" userId="81f189f0-3ed9-4f29-a7b1-770f7af93676" providerId="ADAL" clId="{8C0CF395-08FF-4770-9AF7-FABC78118DB0}" dt="2021-02-10T18:01:02.556" v="33" actId="47"/>
        <pc:sldMkLst>
          <pc:docMk/>
          <pc:sldMk cId="1480693913" sldId="804"/>
        </pc:sldMkLst>
      </pc:sldChg>
      <pc:sldChg chg="del">
        <pc:chgData name="Adrian Kisliuk" userId="81f189f0-3ed9-4f29-a7b1-770f7af93676" providerId="ADAL" clId="{8C0CF395-08FF-4770-9AF7-FABC78118DB0}" dt="2021-02-10T18:01:17.904" v="34" actId="47"/>
        <pc:sldMkLst>
          <pc:docMk/>
          <pc:sldMk cId="1748728590" sldId="805"/>
        </pc:sldMkLst>
      </pc:sldChg>
      <pc:sldChg chg="del">
        <pc:chgData name="Adrian Kisliuk" userId="81f189f0-3ed9-4f29-a7b1-770f7af93676" providerId="ADAL" clId="{8C0CF395-08FF-4770-9AF7-FABC78118DB0}" dt="2021-02-10T18:01:17.904" v="34" actId="47"/>
        <pc:sldMkLst>
          <pc:docMk/>
          <pc:sldMk cId="2995988070" sldId="806"/>
        </pc:sldMkLst>
      </pc:sldChg>
      <pc:sldChg chg="modSp del mod">
        <pc:chgData name="Adrian Kisliuk" userId="81f189f0-3ed9-4f29-a7b1-770f7af93676" providerId="ADAL" clId="{8C0CF395-08FF-4770-9AF7-FABC78118DB0}" dt="2021-02-10T20:02:05.901" v="2804" actId="47"/>
        <pc:sldMkLst>
          <pc:docMk/>
          <pc:sldMk cId="2438877215" sldId="807"/>
        </pc:sldMkLst>
        <pc:spChg chg="mod">
          <ac:chgData name="Adrian Kisliuk" userId="81f189f0-3ed9-4f29-a7b1-770f7af93676" providerId="ADAL" clId="{8C0CF395-08FF-4770-9AF7-FABC78118DB0}" dt="2021-02-10T18:47:42.446" v="814"/>
          <ac:spMkLst>
            <pc:docMk/>
            <pc:sldMk cId="2438877215" sldId="807"/>
            <ac:spMk id="4" creationId="{00000000-0000-0000-0000-000000000000}"/>
          </ac:spMkLst>
        </pc:spChg>
        <pc:spChg chg="mod">
          <ac:chgData name="Adrian Kisliuk" userId="81f189f0-3ed9-4f29-a7b1-770f7af93676" providerId="ADAL" clId="{8C0CF395-08FF-4770-9AF7-FABC78118DB0}" dt="2021-02-10T19:38:38.060" v="2393" actId="20577"/>
          <ac:spMkLst>
            <pc:docMk/>
            <pc:sldMk cId="2438877215" sldId="807"/>
            <ac:spMk id="16" creationId="{00000000-0000-0000-0000-000000000000}"/>
          </ac:spMkLst>
        </pc:spChg>
        <pc:spChg chg="mod">
          <ac:chgData name="Adrian Kisliuk" userId="81f189f0-3ed9-4f29-a7b1-770f7af93676" providerId="ADAL" clId="{8C0CF395-08FF-4770-9AF7-FABC78118DB0}" dt="2021-02-10T18:52:34.290" v="965" actId="404"/>
          <ac:spMkLst>
            <pc:docMk/>
            <pc:sldMk cId="2438877215" sldId="807"/>
            <ac:spMk id="17" creationId="{00000000-0000-0000-0000-000000000000}"/>
          </ac:spMkLst>
        </pc:spChg>
        <pc:spChg chg="mod">
          <ac:chgData name="Adrian Kisliuk" userId="81f189f0-3ed9-4f29-a7b1-770f7af93676" providerId="ADAL" clId="{8C0CF395-08FF-4770-9AF7-FABC78118DB0}" dt="2021-02-10T18:51:58.595" v="960" actId="3064"/>
          <ac:spMkLst>
            <pc:docMk/>
            <pc:sldMk cId="2438877215" sldId="807"/>
            <ac:spMk id="22" creationId="{00000000-0000-0000-0000-000000000000}"/>
          </ac:spMkLst>
        </pc:spChg>
        <pc:grpChg chg="mod">
          <ac:chgData name="Adrian Kisliuk" userId="81f189f0-3ed9-4f29-a7b1-770f7af93676" providerId="ADAL" clId="{8C0CF395-08FF-4770-9AF7-FABC78118DB0}" dt="2021-02-10T18:53:41.168" v="972" actId="14100"/>
          <ac:grpSpMkLst>
            <pc:docMk/>
            <pc:sldMk cId="2438877215" sldId="807"/>
            <ac:grpSpMk id="2" creationId="{0C6AFC31-69CF-4D6C-8510-333B63404280}"/>
          </ac:grpSpMkLst>
        </pc:grpChg>
        <pc:grpChg chg="mod">
          <ac:chgData name="Adrian Kisliuk" userId="81f189f0-3ed9-4f29-a7b1-770f7af93676" providerId="ADAL" clId="{8C0CF395-08FF-4770-9AF7-FABC78118DB0}" dt="2021-02-10T18:54:35.490" v="976" actId="14100"/>
          <ac:grpSpMkLst>
            <pc:docMk/>
            <pc:sldMk cId="2438877215" sldId="807"/>
            <ac:grpSpMk id="6" creationId="{EBDE8C97-741C-4621-ACE3-5DE89E6BF1B5}"/>
          </ac:grpSpMkLst>
        </pc:grpChg>
      </pc:sldChg>
      <pc:sldChg chg="del">
        <pc:chgData name="Adrian Kisliuk" userId="81f189f0-3ed9-4f29-a7b1-770f7af93676" providerId="ADAL" clId="{8C0CF395-08FF-4770-9AF7-FABC78118DB0}" dt="2021-02-10T18:01:17.904" v="34" actId="47"/>
        <pc:sldMkLst>
          <pc:docMk/>
          <pc:sldMk cId="1716990745" sldId="808"/>
        </pc:sldMkLst>
      </pc:sldChg>
      <pc:sldChg chg="del">
        <pc:chgData name="Adrian Kisliuk" userId="81f189f0-3ed9-4f29-a7b1-770f7af93676" providerId="ADAL" clId="{8C0CF395-08FF-4770-9AF7-FABC78118DB0}" dt="2021-02-10T18:01:17.904" v="34" actId="47"/>
        <pc:sldMkLst>
          <pc:docMk/>
          <pc:sldMk cId="3497669596" sldId="809"/>
        </pc:sldMkLst>
      </pc:sldChg>
      <pc:sldChg chg="delSp modSp mod ord">
        <pc:chgData name="Adrian Kisliuk" userId="81f189f0-3ed9-4f29-a7b1-770f7af93676" providerId="ADAL" clId="{8C0CF395-08FF-4770-9AF7-FABC78118DB0}" dt="2021-02-10T20:02:56.745" v="2841"/>
        <pc:sldMkLst>
          <pc:docMk/>
          <pc:sldMk cId="1183502899" sldId="810"/>
        </pc:sldMkLst>
        <pc:spChg chg="mod">
          <ac:chgData name="Adrian Kisliuk" userId="81f189f0-3ed9-4f29-a7b1-770f7af93676" providerId="ADAL" clId="{8C0CF395-08FF-4770-9AF7-FABC78118DB0}" dt="2021-02-10T18:46:39.962" v="786" actId="20577"/>
          <ac:spMkLst>
            <pc:docMk/>
            <pc:sldMk cId="1183502899" sldId="810"/>
            <ac:spMk id="3" creationId="{00000000-0000-0000-0000-000000000000}"/>
          </ac:spMkLst>
        </pc:spChg>
        <pc:spChg chg="mod">
          <ac:chgData name="Adrian Kisliuk" userId="81f189f0-3ed9-4f29-a7b1-770f7af93676" providerId="ADAL" clId="{8C0CF395-08FF-4770-9AF7-FABC78118DB0}" dt="2021-02-10T20:02:56.745" v="2841"/>
          <ac:spMkLst>
            <pc:docMk/>
            <pc:sldMk cId="1183502899" sldId="810"/>
            <ac:spMk id="4" creationId="{00000000-0000-0000-0000-000000000000}"/>
          </ac:spMkLst>
        </pc:spChg>
        <pc:spChg chg="mod">
          <ac:chgData name="Adrian Kisliuk" userId="81f189f0-3ed9-4f29-a7b1-770f7af93676" providerId="ADAL" clId="{8C0CF395-08FF-4770-9AF7-FABC78118DB0}" dt="2021-02-10T19:14:44.181" v="1392" actId="108"/>
          <ac:spMkLst>
            <pc:docMk/>
            <pc:sldMk cId="1183502899" sldId="810"/>
            <ac:spMk id="6" creationId="{00000000-0000-0000-0000-000000000000}"/>
          </ac:spMkLst>
        </pc:spChg>
        <pc:spChg chg="mod">
          <ac:chgData name="Adrian Kisliuk" userId="81f189f0-3ed9-4f29-a7b1-770f7af93676" providerId="ADAL" clId="{8C0CF395-08FF-4770-9AF7-FABC78118DB0}" dt="2021-02-10T19:14:39.479" v="1390" actId="108"/>
          <ac:spMkLst>
            <pc:docMk/>
            <pc:sldMk cId="1183502899" sldId="810"/>
            <ac:spMk id="13" creationId="{A42CB132-2B8B-4431-8519-9124B550642E}"/>
          </ac:spMkLst>
        </pc:spChg>
        <pc:spChg chg="mod">
          <ac:chgData name="Adrian Kisliuk" userId="81f189f0-3ed9-4f29-a7b1-770f7af93676" providerId="ADAL" clId="{8C0CF395-08FF-4770-9AF7-FABC78118DB0}" dt="2021-02-10T19:14:49.385" v="1394" actId="108"/>
          <ac:spMkLst>
            <pc:docMk/>
            <pc:sldMk cId="1183502899" sldId="810"/>
            <ac:spMk id="22" creationId="{69C0E85C-B0C1-4540-B510-F32AAC079FE0}"/>
          </ac:spMkLst>
        </pc:spChg>
        <pc:spChg chg="del">
          <ac:chgData name="Adrian Kisliuk" userId="81f189f0-3ed9-4f29-a7b1-770f7af93676" providerId="ADAL" clId="{8C0CF395-08FF-4770-9AF7-FABC78118DB0}" dt="2021-02-10T18:46:45.293" v="787" actId="478"/>
          <ac:spMkLst>
            <pc:docMk/>
            <pc:sldMk cId="1183502899" sldId="810"/>
            <ac:spMk id="39" creationId="{A7DC8F3C-555C-4D4E-82A4-E279C5F47854}"/>
          </ac:spMkLst>
        </pc:spChg>
      </pc:sldChg>
      <pc:sldChg chg="delSp modSp mod ord">
        <pc:chgData name="Adrian Kisliuk" userId="81f189f0-3ed9-4f29-a7b1-770f7af93676" providerId="ADAL" clId="{8C0CF395-08FF-4770-9AF7-FABC78118DB0}" dt="2021-02-10T20:02:45.600" v="2840" actId="20577"/>
        <pc:sldMkLst>
          <pc:docMk/>
          <pc:sldMk cId="381622030" sldId="811"/>
        </pc:sldMkLst>
        <pc:spChg chg="mod">
          <ac:chgData name="Adrian Kisliuk" userId="81f189f0-3ed9-4f29-a7b1-770f7af93676" providerId="ADAL" clId="{8C0CF395-08FF-4770-9AF7-FABC78118DB0}" dt="2021-02-10T20:02:35.377" v="2823" actId="20577"/>
          <ac:spMkLst>
            <pc:docMk/>
            <pc:sldMk cId="381622030" sldId="811"/>
            <ac:spMk id="3" creationId="{00000000-0000-0000-0000-000000000000}"/>
          </ac:spMkLst>
        </pc:spChg>
        <pc:spChg chg="mod">
          <ac:chgData name="Adrian Kisliuk" userId="81f189f0-3ed9-4f29-a7b1-770f7af93676" providerId="ADAL" clId="{8C0CF395-08FF-4770-9AF7-FABC78118DB0}" dt="2021-02-10T20:02:45.600" v="2840" actId="20577"/>
          <ac:spMkLst>
            <pc:docMk/>
            <pc:sldMk cId="381622030" sldId="811"/>
            <ac:spMk id="4" creationId="{00000000-0000-0000-0000-000000000000}"/>
          </ac:spMkLst>
        </pc:spChg>
        <pc:spChg chg="mod">
          <ac:chgData name="Adrian Kisliuk" userId="81f189f0-3ed9-4f29-a7b1-770f7af93676" providerId="ADAL" clId="{8C0CF395-08FF-4770-9AF7-FABC78118DB0}" dt="2021-02-10T19:34:10.627" v="2022" actId="404"/>
          <ac:spMkLst>
            <pc:docMk/>
            <pc:sldMk cId="381622030" sldId="811"/>
            <ac:spMk id="7" creationId="{00000000-0000-0000-0000-000000000000}"/>
          </ac:spMkLst>
        </pc:spChg>
        <pc:spChg chg="mod">
          <ac:chgData name="Adrian Kisliuk" userId="81f189f0-3ed9-4f29-a7b1-770f7af93676" providerId="ADAL" clId="{8C0CF395-08FF-4770-9AF7-FABC78118DB0}" dt="2021-02-10T19:34:16.337" v="2024" actId="404"/>
          <ac:spMkLst>
            <pc:docMk/>
            <pc:sldMk cId="381622030" sldId="811"/>
            <ac:spMk id="26" creationId="{AA7C1736-7B5E-48F9-A847-2B654B5A7A3C}"/>
          </ac:spMkLst>
        </pc:spChg>
        <pc:spChg chg="mod">
          <ac:chgData name="Adrian Kisliuk" userId="81f189f0-3ed9-4f29-a7b1-770f7af93676" providerId="ADAL" clId="{8C0CF395-08FF-4770-9AF7-FABC78118DB0}" dt="2021-02-10T19:34:26.773" v="2027" actId="404"/>
          <ac:spMkLst>
            <pc:docMk/>
            <pc:sldMk cId="381622030" sldId="811"/>
            <ac:spMk id="30" creationId="{1F595901-02F8-4D5F-B764-F7E27CD95338}"/>
          </ac:spMkLst>
        </pc:spChg>
        <pc:spChg chg="del">
          <ac:chgData name="Adrian Kisliuk" userId="81f189f0-3ed9-4f29-a7b1-770f7af93676" providerId="ADAL" clId="{8C0CF395-08FF-4770-9AF7-FABC78118DB0}" dt="2021-02-10T20:01:06.955" v="2799" actId="478"/>
          <ac:spMkLst>
            <pc:docMk/>
            <pc:sldMk cId="381622030" sldId="811"/>
            <ac:spMk id="39" creationId="{A7DC8F3C-555C-4D4E-82A4-E279C5F47854}"/>
          </ac:spMkLst>
        </pc:spChg>
      </pc:sldChg>
      <pc:sldChg chg="delSp modSp add del mod">
        <pc:chgData name="Adrian Kisliuk" userId="81f189f0-3ed9-4f29-a7b1-770f7af93676" providerId="ADAL" clId="{8C0CF395-08FF-4770-9AF7-FABC78118DB0}" dt="2021-02-10T18:46:08.300" v="738" actId="47"/>
        <pc:sldMkLst>
          <pc:docMk/>
          <pc:sldMk cId="1139855596" sldId="812"/>
        </pc:sldMkLst>
        <pc:spChg chg="mod">
          <ac:chgData name="Adrian Kisliuk" userId="81f189f0-3ed9-4f29-a7b1-770f7af93676" providerId="ADAL" clId="{8C0CF395-08FF-4770-9AF7-FABC78118DB0}" dt="2021-02-10T18:45:48.096" v="737" actId="14100"/>
          <ac:spMkLst>
            <pc:docMk/>
            <pc:sldMk cId="1139855596" sldId="812"/>
            <ac:spMk id="21" creationId="{00000000-0000-0000-0000-000000000000}"/>
          </ac:spMkLst>
        </pc:spChg>
        <pc:spChg chg="mod">
          <ac:chgData name="Adrian Kisliuk" userId="81f189f0-3ed9-4f29-a7b1-770f7af93676" providerId="ADAL" clId="{8C0CF395-08FF-4770-9AF7-FABC78118DB0}" dt="2021-02-10T18:45:01.032" v="731" actId="14100"/>
          <ac:spMkLst>
            <pc:docMk/>
            <pc:sldMk cId="1139855596" sldId="812"/>
            <ac:spMk id="22" creationId="{00000000-0000-0000-0000-000000000000}"/>
          </ac:spMkLst>
        </pc:spChg>
        <pc:spChg chg="mod">
          <ac:chgData name="Adrian Kisliuk" userId="81f189f0-3ed9-4f29-a7b1-770f7af93676" providerId="ADAL" clId="{8C0CF395-08FF-4770-9AF7-FABC78118DB0}" dt="2021-02-10T18:44:31.998" v="726" actId="404"/>
          <ac:spMkLst>
            <pc:docMk/>
            <pc:sldMk cId="1139855596" sldId="812"/>
            <ac:spMk id="24" creationId="{00000000-0000-0000-0000-000000000000}"/>
          </ac:spMkLst>
        </pc:spChg>
        <pc:grpChg chg="del">
          <ac:chgData name="Adrian Kisliuk" userId="81f189f0-3ed9-4f29-a7b1-770f7af93676" providerId="ADAL" clId="{8C0CF395-08FF-4770-9AF7-FABC78118DB0}" dt="2021-02-10T18:42:59.858" v="707" actId="478"/>
          <ac:grpSpMkLst>
            <pc:docMk/>
            <pc:sldMk cId="1139855596" sldId="812"/>
            <ac:grpSpMk id="2" creationId="{0C6AFC31-69CF-4D6C-8510-333B63404280}"/>
          </ac:grpSpMkLst>
        </pc:grpChg>
        <pc:grpChg chg="mod">
          <ac:chgData name="Adrian Kisliuk" userId="81f189f0-3ed9-4f29-a7b1-770f7af93676" providerId="ADAL" clId="{8C0CF395-08FF-4770-9AF7-FABC78118DB0}" dt="2021-02-10T18:45:21.247" v="733" actId="14100"/>
          <ac:grpSpMkLst>
            <pc:docMk/>
            <pc:sldMk cId="1139855596" sldId="812"/>
            <ac:grpSpMk id="5" creationId="{86952852-6D72-476F-B6E9-36B9E09B5B2A}"/>
          </ac:grpSpMkLst>
        </pc:grpChg>
        <pc:grpChg chg="mod">
          <ac:chgData name="Adrian Kisliuk" userId="81f189f0-3ed9-4f29-a7b1-770f7af93676" providerId="ADAL" clId="{8C0CF395-08FF-4770-9AF7-FABC78118DB0}" dt="2021-02-10T18:45:10.812" v="732" actId="14100"/>
          <ac:grpSpMkLst>
            <pc:docMk/>
            <pc:sldMk cId="1139855596" sldId="812"/>
            <ac:grpSpMk id="6" creationId="{EBDE8C97-741C-4621-ACE3-5DE89E6BF1B5}"/>
          </ac:grpSpMkLst>
        </pc:grpChg>
      </pc:sldChg>
      <pc:sldChg chg="modSp add del mod">
        <pc:chgData name="Adrian Kisliuk" userId="81f189f0-3ed9-4f29-a7b1-770f7af93676" providerId="ADAL" clId="{8C0CF395-08FF-4770-9AF7-FABC78118DB0}" dt="2021-02-10T18:04:12.861" v="103" actId="47"/>
        <pc:sldMkLst>
          <pc:docMk/>
          <pc:sldMk cId="2615119134" sldId="812"/>
        </pc:sldMkLst>
        <pc:grpChg chg="mod">
          <ac:chgData name="Adrian Kisliuk" userId="81f189f0-3ed9-4f29-a7b1-770f7af93676" providerId="ADAL" clId="{8C0CF395-08FF-4770-9AF7-FABC78118DB0}" dt="2021-02-10T18:03:50.880" v="98" actId="14100"/>
          <ac:grpSpMkLst>
            <pc:docMk/>
            <pc:sldMk cId="2615119134" sldId="812"/>
            <ac:grpSpMk id="5" creationId="{86952852-6D72-476F-B6E9-36B9E09B5B2A}"/>
          </ac:grpSpMkLst>
        </pc:grpChg>
      </pc:sldChg>
      <pc:sldChg chg="modSp add mod">
        <pc:chgData name="Adrian Kisliuk" userId="81f189f0-3ed9-4f29-a7b1-770f7af93676" providerId="ADAL" clId="{8C0CF395-08FF-4770-9AF7-FABC78118DB0}" dt="2021-02-10T20:10:39.209" v="2948" actId="20577"/>
        <pc:sldMkLst>
          <pc:docMk/>
          <pc:sldMk cId="3998807522" sldId="812"/>
        </pc:sldMkLst>
        <pc:spChg chg="mod">
          <ac:chgData name="Adrian Kisliuk" userId="81f189f0-3ed9-4f29-a7b1-770f7af93676" providerId="ADAL" clId="{8C0CF395-08FF-4770-9AF7-FABC78118DB0}" dt="2021-02-10T20:01:41.393" v="2803" actId="20577"/>
          <ac:spMkLst>
            <pc:docMk/>
            <pc:sldMk cId="3998807522" sldId="812"/>
            <ac:spMk id="16" creationId="{00000000-0000-0000-0000-000000000000}"/>
          </ac:spMkLst>
        </pc:spChg>
        <pc:spChg chg="mod">
          <ac:chgData name="Adrian Kisliuk" userId="81f189f0-3ed9-4f29-a7b1-770f7af93676" providerId="ADAL" clId="{8C0CF395-08FF-4770-9AF7-FABC78118DB0}" dt="2021-02-10T19:56:04.537" v="2747" actId="20577"/>
          <ac:spMkLst>
            <pc:docMk/>
            <pc:sldMk cId="3998807522" sldId="812"/>
            <ac:spMk id="17" creationId="{00000000-0000-0000-0000-000000000000}"/>
          </ac:spMkLst>
        </pc:spChg>
        <pc:spChg chg="mod">
          <ac:chgData name="Adrian Kisliuk" userId="81f189f0-3ed9-4f29-a7b1-770f7af93676" providerId="ADAL" clId="{8C0CF395-08FF-4770-9AF7-FABC78118DB0}" dt="2021-02-10T20:07:08.233" v="2845" actId="14100"/>
          <ac:spMkLst>
            <pc:docMk/>
            <pc:sldMk cId="3998807522" sldId="812"/>
            <ac:spMk id="21" creationId="{00000000-0000-0000-0000-000000000000}"/>
          </ac:spMkLst>
        </pc:spChg>
        <pc:spChg chg="mod">
          <ac:chgData name="Adrian Kisliuk" userId="81f189f0-3ed9-4f29-a7b1-770f7af93676" providerId="ADAL" clId="{8C0CF395-08FF-4770-9AF7-FABC78118DB0}" dt="2021-02-10T20:10:39.209" v="2948" actId="20577"/>
          <ac:spMkLst>
            <pc:docMk/>
            <pc:sldMk cId="3998807522" sldId="812"/>
            <ac:spMk id="22" creationId="{00000000-0000-0000-0000-000000000000}"/>
          </ac:spMkLst>
        </pc:spChg>
        <pc:spChg chg="mod">
          <ac:chgData name="Adrian Kisliuk" userId="81f189f0-3ed9-4f29-a7b1-770f7af93676" providerId="ADAL" clId="{8C0CF395-08FF-4770-9AF7-FABC78118DB0}" dt="2021-02-10T19:55:07.877" v="2729" actId="14100"/>
          <ac:spMkLst>
            <pc:docMk/>
            <pc:sldMk cId="3998807522" sldId="812"/>
            <ac:spMk id="23" creationId="{00000000-0000-0000-0000-000000000000}"/>
          </ac:spMkLst>
        </pc:spChg>
        <pc:spChg chg="mod">
          <ac:chgData name="Adrian Kisliuk" userId="81f189f0-3ed9-4f29-a7b1-770f7af93676" providerId="ADAL" clId="{8C0CF395-08FF-4770-9AF7-FABC78118DB0}" dt="2021-02-10T19:54:32.276" v="2723" actId="404"/>
          <ac:spMkLst>
            <pc:docMk/>
            <pc:sldMk cId="3998807522" sldId="812"/>
            <ac:spMk id="24" creationId="{00000000-0000-0000-0000-000000000000}"/>
          </ac:spMkLst>
        </pc:spChg>
        <pc:grpChg chg="mod">
          <ac:chgData name="Adrian Kisliuk" userId="81f189f0-3ed9-4f29-a7b1-770f7af93676" providerId="ADAL" clId="{8C0CF395-08FF-4770-9AF7-FABC78118DB0}" dt="2021-02-10T19:59:26.563" v="2796" actId="1035"/>
          <ac:grpSpMkLst>
            <pc:docMk/>
            <pc:sldMk cId="3998807522" sldId="812"/>
            <ac:grpSpMk id="2" creationId="{0C6AFC31-69CF-4D6C-8510-333B63404280}"/>
          </ac:grpSpMkLst>
        </pc:grpChg>
        <pc:grpChg chg="mod">
          <ac:chgData name="Adrian Kisliuk" userId="81f189f0-3ed9-4f29-a7b1-770f7af93676" providerId="ADAL" clId="{8C0CF395-08FF-4770-9AF7-FABC78118DB0}" dt="2021-02-10T19:59:32.129" v="2797" actId="14100"/>
          <ac:grpSpMkLst>
            <pc:docMk/>
            <pc:sldMk cId="3998807522" sldId="812"/>
            <ac:grpSpMk id="5" creationId="{86952852-6D72-476F-B6E9-36B9E09B5B2A}"/>
          </ac:grpSpMkLst>
        </pc:grpChg>
        <pc:grpChg chg="mod">
          <ac:chgData name="Adrian Kisliuk" userId="81f189f0-3ed9-4f29-a7b1-770f7af93676" providerId="ADAL" clId="{8C0CF395-08FF-4770-9AF7-FABC78118DB0}" dt="2021-02-10T19:55:23.675" v="2733" actId="14100"/>
          <ac:grpSpMkLst>
            <pc:docMk/>
            <pc:sldMk cId="3998807522" sldId="812"/>
            <ac:grpSpMk id="6" creationId="{EBDE8C97-741C-4621-ACE3-5DE89E6BF1B5}"/>
          </ac:grpSpMkLst>
        </pc:grpChg>
      </pc:sldChg>
    </pc:docChg>
  </pc:docChgLst>
  <pc:docChgLst>
    <pc:chgData name="Wesolowski, Piotr" userId="a149bbb4-9f48-4908-a8ea-011f725f241c" providerId="ADAL" clId="{DF43F8D0-D34B-4E96-BD1F-501EB13E2DAE}"/>
    <pc:docChg chg="custSel modSld">
      <pc:chgData name="Wesolowski, Piotr" userId="a149bbb4-9f48-4908-a8ea-011f725f241c" providerId="ADAL" clId="{DF43F8D0-D34B-4E96-BD1F-501EB13E2DAE}" dt="2021-04-20T13:46:34.288" v="493"/>
      <pc:docMkLst>
        <pc:docMk/>
      </pc:docMkLst>
      <pc:sldChg chg="addSp delSp modSp mod">
        <pc:chgData name="Wesolowski, Piotr" userId="a149bbb4-9f48-4908-a8ea-011f725f241c" providerId="ADAL" clId="{DF43F8D0-D34B-4E96-BD1F-501EB13E2DAE}" dt="2021-04-16T14:24:08.443" v="487" actId="1076"/>
        <pc:sldMkLst>
          <pc:docMk/>
          <pc:sldMk cId="3424724315" sldId="850"/>
        </pc:sldMkLst>
        <pc:spChg chg="add del mod">
          <ac:chgData name="Wesolowski, Piotr" userId="a149bbb4-9f48-4908-a8ea-011f725f241c" providerId="ADAL" clId="{DF43F8D0-D34B-4E96-BD1F-501EB13E2DAE}" dt="2021-04-16T14:15:46.769" v="201" actId="478"/>
          <ac:spMkLst>
            <pc:docMk/>
            <pc:sldMk cId="3424724315" sldId="850"/>
            <ac:spMk id="3" creationId="{5CCC33F8-5EBB-45EB-864E-50B19A7C2118}"/>
          </ac:spMkLst>
        </pc:spChg>
        <pc:spChg chg="add del mod">
          <ac:chgData name="Wesolowski, Piotr" userId="a149bbb4-9f48-4908-a8ea-011f725f241c" providerId="ADAL" clId="{DF43F8D0-D34B-4E96-BD1F-501EB13E2DAE}" dt="2021-04-16T14:18:27.965" v="262" actId="478"/>
          <ac:spMkLst>
            <pc:docMk/>
            <pc:sldMk cId="3424724315" sldId="850"/>
            <ac:spMk id="5" creationId="{5DBD66E2-86B5-4914-ADCA-884E6827543A}"/>
          </ac:spMkLst>
        </pc:spChg>
        <pc:spChg chg="add mod">
          <ac:chgData name="Wesolowski, Piotr" userId="a149bbb4-9f48-4908-a8ea-011f725f241c" providerId="ADAL" clId="{DF43F8D0-D34B-4E96-BD1F-501EB13E2DAE}" dt="2021-04-16T14:23:28.715" v="394" actId="404"/>
          <ac:spMkLst>
            <pc:docMk/>
            <pc:sldMk cId="3424724315" sldId="850"/>
            <ac:spMk id="7" creationId="{A01B97CA-E518-42F4-99E1-F023E52FB426}"/>
          </ac:spMkLst>
        </pc:spChg>
        <pc:spChg chg="add mod">
          <ac:chgData name="Wesolowski, Piotr" userId="a149bbb4-9f48-4908-a8ea-011f725f241c" providerId="ADAL" clId="{DF43F8D0-D34B-4E96-BD1F-501EB13E2DAE}" dt="2021-04-16T14:24:08.443" v="487" actId="1076"/>
          <ac:spMkLst>
            <pc:docMk/>
            <pc:sldMk cId="3424724315" sldId="850"/>
            <ac:spMk id="13" creationId="{A14801F6-224F-4B1F-9166-FFA690A76EA1}"/>
          </ac:spMkLst>
        </pc:spChg>
        <pc:spChg chg="mod">
          <ac:chgData name="Wesolowski, Piotr" userId="a149bbb4-9f48-4908-a8ea-011f725f241c" providerId="ADAL" clId="{DF43F8D0-D34B-4E96-BD1F-501EB13E2DAE}" dt="2021-04-16T14:22:37.403" v="353" actId="313"/>
          <ac:spMkLst>
            <pc:docMk/>
            <pc:sldMk cId="3424724315" sldId="850"/>
            <ac:spMk id="26" creationId="{CE1C3E13-AF8F-4301-B411-986CE84A3DD5}"/>
          </ac:spMkLst>
        </pc:spChg>
      </pc:sldChg>
      <pc:sldChg chg="delSp modSp mod modCm">
        <pc:chgData name="Wesolowski, Piotr" userId="a149bbb4-9f48-4908-a8ea-011f725f241c" providerId="ADAL" clId="{DF43F8D0-D34B-4E96-BD1F-501EB13E2DAE}" dt="2021-04-20T13:46:34.288" v="493"/>
        <pc:sldMkLst>
          <pc:docMk/>
          <pc:sldMk cId="3715642723" sldId="904"/>
        </pc:sldMkLst>
        <pc:spChg chg="del mod">
          <ac:chgData name="Wesolowski, Piotr" userId="a149bbb4-9f48-4908-a8ea-011f725f241c" providerId="ADAL" clId="{DF43F8D0-D34B-4E96-BD1F-501EB13E2DAE}" dt="2021-04-20T13:46:15.747" v="489" actId="478"/>
          <ac:spMkLst>
            <pc:docMk/>
            <pc:sldMk cId="3715642723" sldId="904"/>
            <ac:spMk id="8" creationId="{3907C534-8E08-4CF0-AFA3-754A4F7C8EFA}"/>
          </ac:spMkLst>
        </pc:spChg>
        <pc:spChg chg="del">
          <ac:chgData name="Wesolowski, Piotr" userId="a149bbb4-9f48-4908-a8ea-011f725f241c" providerId="ADAL" clId="{DF43F8D0-D34B-4E96-BD1F-501EB13E2DAE}" dt="2021-04-20T13:46:17.990" v="490" actId="478"/>
          <ac:spMkLst>
            <pc:docMk/>
            <pc:sldMk cId="3715642723" sldId="904"/>
            <ac:spMk id="11" creationId="{9A5D9D18-CF71-46F1-A9D5-F8B9CF9CB53B}"/>
          </ac:spMkLst>
        </pc:spChg>
        <pc:spChg chg="del">
          <ac:chgData name="Wesolowski, Piotr" userId="a149bbb4-9f48-4908-a8ea-011f725f241c" providerId="ADAL" clId="{DF43F8D0-D34B-4E96-BD1F-501EB13E2DAE}" dt="2021-04-20T13:46:18.686" v="491" actId="478"/>
          <ac:spMkLst>
            <pc:docMk/>
            <pc:sldMk cId="3715642723" sldId="904"/>
            <ac:spMk id="12" creationId="{57FE6D4D-037B-42BD-9EC4-3516A2990648}"/>
          </ac:spMkLst>
        </pc:spChg>
      </pc:sldChg>
    </pc:docChg>
  </pc:docChgLst>
  <pc:docChgLst>
    <pc:chgData name="Kisliuk, Adrian (ext)" userId="6e619ce3-2643-4cdf-9a13-b4c269650021" providerId="ADAL" clId="{91AF5212-C8E2-42DE-91E2-8A4BFAC3C0CB}"/>
    <pc:docChg chg="undo custSel addSld delSld modSld sldOrd">
      <pc:chgData name="Kisliuk, Adrian (ext)" userId="6e619ce3-2643-4cdf-9a13-b4c269650021" providerId="ADAL" clId="{91AF5212-C8E2-42DE-91E2-8A4BFAC3C0CB}" dt="2021-04-15T15:26:03.794" v="2822" actId="207"/>
      <pc:docMkLst>
        <pc:docMk/>
      </pc:docMkLst>
      <pc:sldChg chg="modSp mod">
        <pc:chgData name="Kisliuk, Adrian (ext)" userId="6e619ce3-2643-4cdf-9a13-b4c269650021" providerId="ADAL" clId="{91AF5212-C8E2-42DE-91E2-8A4BFAC3C0CB}" dt="2021-04-15T15:06:12.647" v="2707" actId="20577"/>
        <pc:sldMkLst>
          <pc:docMk/>
          <pc:sldMk cId="3888384040" sldId="474"/>
        </pc:sldMkLst>
        <pc:spChg chg="mod">
          <ac:chgData name="Kisliuk, Adrian (ext)" userId="6e619ce3-2643-4cdf-9a13-b4c269650021" providerId="ADAL" clId="{91AF5212-C8E2-42DE-91E2-8A4BFAC3C0CB}" dt="2021-04-15T15:06:12.647" v="2707" actId="20577"/>
          <ac:spMkLst>
            <pc:docMk/>
            <pc:sldMk cId="3888384040" sldId="474"/>
            <ac:spMk id="10" creationId="{00000000-0000-0000-0000-000000000000}"/>
          </ac:spMkLst>
        </pc:spChg>
      </pc:sldChg>
      <pc:sldChg chg="modSp mod ord">
        <pc:chgData name="Kisliuk, Adrian (ext)" userId="6e619ce3-2643-4cdf-9a13-b4c269650021" providerId="ADAL" clId="{91AF5212-C8E2-42DE-91E2-8A4BFAC3C0CB}" dt="2021-04-15T15:05:31.920" v="2703"/>
        <pc:sldMkLst>
          <pc:docMk/>
          <pc:sldMk cId="1627132099" sldId="849"/>
        </pc:sldMkLst>
        <pc:spChg chg="mod">
          <ac:chgData name="Kisliuk, Adrian (ext)" userId="6e619ce3-2643-4cdf-9a13-b4c269650021" providerId="ADAL" clId="{91AF5212-C8E2-42DE-91E2-8A4BFAC3C0CB}" dt="2021-04-15T14:10:18.105" v="35" actId="20577"/>
          <ac:spMkLst>
            <pc:docMk/>
            <pc:sldMk cId="1627132099" sldId="849"/>
            <ac:spMk id="44" creationId="{5BE3AE2B-4A0E-4204-B25A-B404EC4FDDA8}"/>
          </ac:spMkLst>
        </pc:spChg>
      </pc:sldChg>
      <pc:sldChg chg="ord">
        <pc:chgData name="Kisliuk, Adrian (ext)" userId="6e619ce3-2643-4cdf-9a13-b4c269650021" providerId="ADAL" clId="{91AF5212-C8E2-42DE-91E2-8A4BFAC3C0CB}" dt="2021-04-15T15:04:40.320" v="2699"/>
        <pc:sldMkLst>
          <pc:docMk/>
          <pc:sldMk cId="408860177" sldId="852"/>
        </pc:sldMkLst>
      </pc:sldChg>
      <pc:sldChg chg="addSp delSp modSp mod">
        <pc:chgData name="Kisliuk, Adrian (ext)" userId="6e619ce3-2643-4cdf-9a13-b4c269650021" providerId="ADAL" clId="{91AF5212-C8E2-42DE-91E2-8A4BFAC3C0CB}" dt="2021-04-15T14:19:27.511" v="216" actId="208"/>
        <pc:sldMkLst>
          <pc:docMk/>
          <pc:sldMk cId="2552030312" sldId="854"/>
        </pc:sldMkLst>
        <pc:spChg chg="mod">
          <ac:chgData name="Kisliuk, Adrian (ext)" userId="6e619ce3-2643-4cdf-9a13-b4c269650021" providerId="ADAL" clId="{91AF5212-C8E2-42DE-91E2-8A4BFAC3C0CB}" dt="2021-04-15T14:14:19.890" v="143" actId="948"/>
          <ac:spMkLst>
            <pc:docMk/>
            <pc:sldMk cId="2552030312" sldId="854"/>
            <ac:spMk id="2" creationId="{DE936FAF-2E76-49E3-A26B-EE542092B6EF}"/>
          </ac:spMkLst>
        </pc:spChg>
        <pc:spChg chg="mod">
          <ac:chgData name="Kisliuk, Adrian (ext)" userId="6e619ce3-2643-4cdf-9a13-b4c269650021" providerId="ADAL" clId="{91AF5212-C8E2-42DE-91E2-8A4BFAC3C0CB}" dt="2021-04-15T14:13:52.463" v="138" actId="1076"/>
          <ac:spMkLst>
            <pc:docMk/>
            <pc:sldMk cId="2552030312" sldId="854"/>
            <ac:spMk id="3" creationId="{3371DF3F-79CA-E64F-A14E-989CB784861D}"/>
          </ac:spMkLst>
        </pc:spChg>
        <pc:spChg chg="add del mod modVis">
          <ac:chgData name="Kisliuk, Adrian (ext)" userId="6e619ce3-2643-4cdf-9a13-b4c269650021" providerId="ADAL" clId="{91AF5212-C8E2-42DE-91E2-8A4BFAC3C0CB}" dt="2021-04-15T14:14:19.927" v="180"/>
          <ac:spMkLst>
            <pc:docMk/>
            <pc:sldMk cId="2552030312" sldId="854"/>
            <ac:spMk id="5" creationId="{5BD6AE28-4805-4070-95B9-A56566E0833E}"/>
          </ac:spMkLst>
        </pc:spChg>
        <pc:spChg chg="add del mod">
          <ac:chgData name="Kisliuk, Adrian (ext)" userId="6e619ce3-2643-4cdf-9a13-b4c269650021" providerId="ADAL" clId="{91AF5212-C8E2-42DE-91E2-8A4BFAC3C0CB}" dt="2021-04-15T14:18:32.400" v="210" actId="21"/>
          <ac:spMkLst>
            <pc:docMk/>
            <pc:sldMk cId="2552030312" sldId="854"/>
            <ac:spMk id="7" creationId="{F88E3057-8DD8-469F-99AF-ACABEF2EE671}"/>
          </ac:spMkLst>
        </pc:spChg>
        <pc:spChg chg="mod">
          <ac:chgData name="Kisliuk, Adrian (ext)" userId="6e619ce3-2643-4cdf-9a13-b4c269650021" providerId="ADAL" clId="{91AF5212-C8E2-42DE-91E2-8A4BFAC3C0CB}" dt="2021-04-15T14:16:58.938" v="198" actId="12"/>
          <ac:spMkLst>
            <pc:docMk/>
            <pc:sldMk cId="2552030312" sldId="854"/>
            <ac:spMk id="8" creationId="{B6B871D8-C132-479D-8579-2FE6462D86E3}"/>
          </ac:spMkLst>
        </pc:spChg>
        <pc:spChg chg="mod">
          <ac:chgData name="Kisliuk, Adrian (ext)" userId="6e619ce3-2643-4cdf-9a13-b4c269650021" providerId="ADAL" clId="{91AF5212-C8E2-42DE-91E2-8A4BFAC3C0CB}" dt="2021-04-15T14:15:42.597" v="192" actId="14100"/>
          <ac:spMkLst>
            <pc:docMk/>
            <pc:sldMk cId="2552030312" sldId="854"/>
            <ac:spMk id="9" creationId="{C964F4FF-7D56-466B-A1EC-110646CC99CD}"/>
          </ac:spMkLst>
        </pc:spChg>
        <pc:spChg chg="mod">
          <ac:chgData name="Kisliuk, Adrian (ext)" userId="6e619ce3-2643-4cdf-9a13-b4c269650021" providerId="ADAL" clId="{91AF5212-C8E2-42DE-91E2-8A4BFAC3C0CB}" dt="2021-04-15T14:17:03.678" v="199" actId="12"/>
          <ac:spMkLst>
            <pc:docMk/>
            <pc:sldMk cId="2552030312" sldId="854"/>
            <ac:spMk id="10" creationId="{B7926D57-2347-40FA-8399-D501F67CB29D}"/>
          </ac:spMkLst>
        </pc:spChg>
        <pc:spChg chg="add mod">
          <ac:chgData name="Kisliuk, Adrian (ext)" userId="6e619ce3-2643-4cdf-9a13-b4c269650021" providerId="ADAL" clId="{91AF5212-C8E2-42DE-91E2-8A4BFAC3C0CB}" dt="2021-04-15T14:19:27.511" v="216" actId="208"/>
          <ac:spMkLst>
            <pc:docMk/>
            <pc:sldMk cId="2552030312" sldId="854"/>
            <ac:spMk id="11" creationId="{C47485E1-A93F-4BA8-B32D-B372163F866D}"/>
          </ac:spMkLst>
        </pc:spChg>
        <pc:spChg chg="add mod">
          <ac:chgData name="Kisliuk, Adrian (ext)" userId="6e619ce3-2643-4cdf-9a13-b4c269650021" providerId="ADAL" clId="{91AF5212-C8E2-42DE-91E2-8A4BFAC3C0CB}" dt="2021-04-15T14:19:27.511" v="216" actId="208"/>
          <ac:spMkLst>
            <pc:docMk/>
            <pc:sldMk cId="2552030312" sldId="854"/>
            <ac:spMk id="12" creationId="{DA6C3CCB-73A4-44E0-957C-C1A68722E66C}"/>
          </ac:spMkLst>
        </pc:spChg>
        <pc:spChg chg="add del mod">
          <ac:chgData name="Kisliuk, Adrian (ext)" userId="6e619ce3-2643-4cdf-9a13-b4c269650021" providerId="ADAL" clId="{91AF5212-C8E2-42DE-91E2-8A4BFAC3C0CB}" dt="2021-04-15T14:18:45.312" v="212" actId="478"/>
          <ac:spMkLst>
            <pc:docMk/>
            <pc:sldMk cId="2552030312" sldId="854"/>
            <ac:spMk id="13" creationId="{867CBD17-FF41-405E-B2E5-ADC90AF14B30}"/>
          </ac:spMkLst>
        </pc:spChg>
        <pc:spChg chg="add mod">
          <ac:chgData name="Kisliuk, Adrian (ext)" userId="6e619ce3-2643-4cdf-9a13-b4c269650021" providerId="ADAL" clId="{91AF5212-C8E2-42DE-91E2-8A4BFAC3C0CB}" dt="2021-04-15T14:19:27.511" v="216" actId="208"/>
          <ac:spMkLst>
            <pc:docMk/>
            <pc:sldMk cId="2552030312" sldId="854"/>
            <ac:spMk id="14" creationId="{5691E2AD-7906-4457-AE2A-BAE55F1C0EDE}"/>
          </ac:spMkLst>
        </pc:spChg>
        <pc:graphicFrameChg chg="mod">
          <ac:chgData name="Kisliuk, Adrian (ext)" userId="6e619ce3-2643-4cdf-9a13-b4c269650021" providerId="ADAL" clId="{91AF5212-C8E2-42DE-91E2-8A4BFAC3C0CB}" dt="2021-04-15T14:14:19.927" v="182"/>
          <ac:graphicFrameMkLst>
            <pc:docMk/>
            <pc:sldMk cId="2552030312" sldId="854"/>
            <ac:graphicFrameMk id="6" creationId="{580DFCAE-76C4-413B-B499-F7B76F1E13AF}"/>
          </ac:graphicFrameMkLst>
        </pc:graphicFrameChg>
      </pc:sldChg>
      <pc:sldChg chg="del">
        <pc:chgData name="Kisliuk, Adrian (ext)" userId="6e619ce3-2643-4cdf-9a13-b4c269650021" providerId="ADAL" clId="{91AF5212-C8E2-42DE-91E2-8A4BFAC3C0CB}" dt="2021-04-15T14:08:55.457" v="12" actId="47"/>
        <pc:sldMkLst>
          <pc:docMk/>
          <pc:sldMk cId="2088302067" sldId="859"/>
        </pc:sldMkLst>
      </pc:sldChg>
      <pc:sldChg chg="modSp add del mod">
        <pc:chgData name="Kisliuk, Adrian (ext)" userId="6e619ce3-2643-4cdf-9a13-b4c269650021" providerId="ADAL" clId="{91AF5212-C8E2-42DE-91E2-8A4BFAC3C0CB}" dt="2021-04-15T14:08:36.279" v="9" actId="47"/>
        <pc:sldMkLst>
          <pc:docMk/>
          <pc:sldMk cId="1291646818" sldId="867"/>
        </pc:sldMkLst>
        <pc:graphicFrameChg chg="mod">
          <ac:chgData name="Kisliuk, Adrian (ext)" userId="6e619ce3-2643-4cdf-9a13-b4c269650021" providerId="ADAL" clId="{91AF5212-C8E2-42DE-91E2-8A4BFAC3C0CB}" dt="2021-04-15T14:06:00.234" v="8"/>
          <ac:graphicFrameMkLst>
            <pc:docMk/>
            <pc:sldMk cId="1291646818" sldId="867"/>
            <ac:graphicFrameMk id="6" creationId="{580DFCAE-76C4-413B-B499-F7B76F1E13AF}"/>
          </ac:graphicFrameMkLst>
        </pc:graphicFrameChg>
      </pc:sldChg>
      <pc:sldChg chg="del">
        <pc:chgData name="Kisliuk, Adrian (ext)" userId="6e619ce3-2643-4cdf-9a13-b4c269650021" providerId="ADAL" clId="{91AF5212-C8E2-42DE-91E2-8A4BFAC3C0CB}" dt="2021-04-15T14:08:48.595" v="11" actId="47"/>
        <pc:sldMkLst>
          <pc:docMk/>
          <pc:sldMk cId="2341877079" sldId="868"/>
        </pc:sldMkLst>
      </pc:sldChg>
      <pc:sldChg chg="modSp add del mod">
        <pc:chgData name="Kisliuk, Adrian (ext)" userId="6e619ce3-2643-4cdf-9a13-b4c269650021" providerId="ADAL" clId="{91AF5212-C8E2-42DE-91E2-8A4BFAC3C0CB}" dt="2021-04-15T14:08:38.540" v="10" actId="47"/>
        <pc:sldMkLst>
          <pc:docMk/>
          <pc:sldMk cId="1584059014" sldId="869"/>
        </pc:sldMkLst>
        <pc:graphicFrameChg chg="mod">
          <ac:chgData name="Kisliuk, Adrian (ext)" userId="6e619ce3-2643-4cdf-9a13-b4c269650021" providerId="ADAL" clId="{91AF5212-C8E2-42DE-91E2-8A4BFAC3C0CB}" dt="2021-04-15T14:06:00.194" v="5" actId="1076"/>
          <ac:graphicFrameMkLst>
            <pc:docMk/>
            <pc:sldMk cId="1584059014" sldId="869"/>
            <ac:graphicFrameMk id="6" creationId="{580DFCAE-76C4-413B-B499-F7B76F1E13AF}"/>
          </ac:graphicFrameMkLst>
        </pc:graphicFrameChg>
      </pc:sldChg>
      <pc:sldChg chg="del">
        <pc:chgData name="Kisliuk, Adrian (ext)" userId="6e619ce3-2643-4cdf-9a13-b4c269650021" providerId="ADAL" clId="{91AF5212-C8E2-42DE-91E2-8A4BFAC3C0CB}" dt="2021-04-15T14:20:08.054" v="217" actId="47"/>
        <pc:sldMkLst>
          <pc:docMk/>
          <pc:sldMk cId="809706117" sldId="870"/>
        </pc:sldMkLst>
      </pc:sldChg>
      <pc:sldChg chg="ord">
        <pc:chgData name="Kisliuk, Adrian (ext)" userId="6e619ce3-2643-4cdf-9a13-b4c269650021" providerId="ADAL" clId="{91AF5212-C8E2-42DE-91E2-8A4BFAC3C0CB}" dt="2021-04-15T14:09:00.352" v="14"/>
        <pc:sldMkLst>
          <pc:docMk/>
          <pc:sldMk cId="1971424281" sldId="871"/>
        </pc:sldMkLst>
      </pc:sldChg>
      <pc:sldChg chg="addSp delSp modSp mod">
        <pc:chgData name="Kisliuk, Adrian (ext)" userId="6e619ce3-2643-4cdf-9a13-b4c269650021" providerId="ADAL" clId="{91AF5212-C8E2-42DE-91E2-8A4BFAC3C0CB}" dt="2021-04-15T15:10:38.771" v="2806" actId="165"/>
        <pc:sldMkLst>
          <pc:docMk/>
          <pc:sldMk cId="1758910654" sldId="872"/>
        </pc:sldMkLst>
        <pc:spChg chg="mod topLvl">
          <ac:chgData name="Kisliuk, Adrian (ext)" userId="6e619ce3-2643-4cdf-9a13-b4c269650021" providerId="ADAL" clId="{91AF5212-C8E2-42DE-91E2-8A4BFAC3C0CB}" dt="2021-04-15T15:10:38.771" v="2806" actId="165"/>
          <ac:spMkLst>
            <pc:docMk/>
            <pc:sldMk cId="1758910654" sldId="872"/>
            <ac:spMk id="12" creationId="{13DDFB9B-B73F-4BDD-9450-596059F82F6F}"/>
          </ac:spMkLst>
        </pc:spChg>
        <pc:spChg chg="mod topLvl">
          <ac:chgData name="Kisliuk, Adrian (ext)" userId="6e619ce3-2643-4cdf-9a13-b4c269650021" providerId="ADAL" clId="{91AF5212-C8E2-42DE-91E2-8A4BFAC3C0CB}" dt="2021-04-15T15:10:38.771" v="2806" actId="165"/>
          <ac:spMkLst>
            <pc:docMk/>
            <pc:sldMk cId="1758910654" sldId="872"/>
            <ac:spMk id="19" creationId="{153306F1-2A0E-4D68-BA66-B8AF04BFEC63}"/>
          </ac:spMkLst>
        </pc:spChg>
        <pc:spChg chg="mod topLvl">
          <ac:chgData name="Kisliuk, Adrian (ext)" userId="6e619ce3-2643-4cdf-9a13-b4c269650021" providerId="ADAL" clId="{91AF5212-C8E2-42DE-91E2-8A4BFAC3C0CB}" dt="2021-04-15T15:10:38.771" v="2806" actId="165"/>
          <ac:spMkLst>
            <pc:docMk/>
            <pc:sldMk cId="1758910654" sldId="872"/>
            <ac:spMk id="23" creationId="{624170FD-30D4-4052-9186-927A77A3C792}"/>
          </ac:spMkLst>
        </pc:spChg>
        <pc:spChg chg="mod topLvl">
          <ac:chgData name="Kisliuk, Adrian (ext)" userId="6e619ce3-2643-4cdf-9a13-b4c269650021" providerId="ADAL" clId="{91AF5212-C8E2-42DE-91E2-8A4BFAC3C0CB}" dt="2021-04-15T15:10:38.771" v="2806" actId="165"/>
          <ac:spMkLst>
            <pc:docMk/>
            <pc:sldMk cId="1758910654" sldId="872"/>
            <ac:spMk id="24" creationId="{CC6C6EE1-EACB-4F1C-9536-D61F24ED4CC5}"/>
          </ac:spMkLst>
        </pc:spChg>
        <pc:spChg chg="mod topLvl">
          <ac:chgData name="Kisliuk, Adrian (ext)" userId="6e619ce3-2643-4cdf-9a13-b4c269650021" providerId="ADAL" clId="{91AF5212-C8E2-42DE-91E2-8A4BFAC3C0CB}" dt="2021-04-15T15:10:38.771" v="2806" actId="165"/>
          <ac:spMkLst>
            <pc:docMk/>
            <pc:sldMk cId="1758910654" sldId="872"/>
            <ac:spMk id="26" creationId="{548F08B3-6FD0-4D69-8E3A-FB7B859A81BE}"/>
          </ac:spMkLst>
        </pc:spChg>
        <pc:spChg chg="mod topLvl">
          <ac:chgData name="Kisliuk, Adrian (ext)" userId="6e619ce3-2643-4cdf-9a13-b4c269650021" providerId="ADAL" clId="{91AF5212-C8E2-42DE-91E2-8A4BFAC3C0CB}" dt="2021-04-15T15:10:38.771" v="2806" actId="165"/>
          <ac:spMkLst>
            <pc:docMk/>
            <pc:sldMk cId="1758910654" sldId="872"/>
            <ac:spMk id="27" creationId="{5ACC94EB-85FC-42C8-8F08-2B6132FC2B9A}"/>
          </ac:spMkLst>
        </pc:spChg>
        <pc:spChg chg="mod topLvl">
          <ac:chgData name="Kisliuk, Adrian (ext)" userId="6e619ce3-2643-4cdf-9a13-b4c269650021" providerId="ADAL" clId="{91AF5212-C8E2-42DE-91E2-8A4BFAC3C0CB}" dt="2021-04-15T15:10:38.771" v="2806" actId="165"/>
          <ac:spMkLst>
            <pc:docMk/>
            <pc:sldMk cId="1758910654" sldId="872"/>
            <ac:spMk id="36" creationId="{12D829DC-FB4B-431C-B657-DE96D45F67BB}"/>
          </ac:spMkLst>
        </pc:spChg>
        <pc:spChg chg="mod topLvl">
          <ac:chgData name="Kisliuk, Adrian (ext)" userId="6e619ce3-2643-4cdf-9a13-b4c269650021" providerId="ADAL" clId="{91AF5212-C8E2-42DE-91E2-8A4BFAC3C0CB}" dt="2021-04-15T15:10:38.771" v="2806" actId="165"/>
          <ac:spMkLst>
            <pc:docMk/>
            <pc:sldMk cId="1758910654" sldId="872"/>
            <ac:spMk id="37" creationId="{5DFEC39C-CE07-4ECC-94CF-97BC683ABE78}"/>
          </ac:spMkLst>
        </pc:spChg>
        <pc:spChg chg="mod topLvl">
          <ac:chgData name="Kisliuk, Adrian (ext)" userId="6e619ce3-2643-4cdf-9a13-b4c269650021" providerId="ADAL" clId="{91AF5212-C8E2-42DE-91E2-8A4BFAC3C0CB}" dt="2021-04-15T15:10:38.771" v="2806" actId="165"/>
          <ac:spMkLst>
            <pc:docMk/>
            <pc:sldMk cId="1758910654" sldId="872"/>
            <ac:spMk id="38" creationId="{1CB22556-81D2-46B6-9C81-19EF13EA88F4}"/>
          </ac:spMkLst>
        </pc:spChg>
        <pc:spChg chg="mod topLvl">
          <ac:chgData name="Kisliuk, Adrian (ext)" userId="6e619ce3-2643-4cdf-9a13-b4c269650021" providerId="ADAL" clId="{91AF5212-C8E2-42DE-91E2-8A4BFAC3C0CB}" dt="2021-04-15T15:10:38.771" v="2806" actId="165"/>
          <ac:spMkLst>
            <pc:docMk/>
            <pc:sldMk cId="1758910654" sldId="872"/>
            <ac:spMk id="44" creationId="{5BE3AE2B-4A0E-4204-B25A-B404EC4FDDA8}"/>
          </ac:spMkLst>
        </pc:spChg>
        <pc:spChg chg="mod topLvl">
          <ac:chgData name="Kisliuk, Adrian (ext)" userId="6e619ce3-2643-4cdf-9a13-b4c269650021" providerId="ADAL" clId="{91AF5212-C8E2-42DE-91E2-8A4BFAC3C0CB}" dt="2021-04-15T15:10:38.771" v="2806" actId="165"/>
          <ac:spMkLst>
            <pc:docMk/>
            <pc:sldMk cId="1758910654" sldId="872"/>
            <ac:spMk id="67" creationId="{6E0184C5-B967-4FCF-B023-8892F4ABBFB5}"/>
          </ac:spMkLst>
        </pc:spChg>
        <pc:spChg chg="mod topLvl">
          <ac:chgData name="Kisliuk, Adrian (ext)" userId="6e619ce3-2643-4cdf-9a13-b4c269650021" providerId="ADAL" clId="{91AF5212-C8E2-42DE-91E2-8A4BFAC3C0CB}" dt="2021-04-15T15:10:38.771" v="2806" actId="165"/>
          <ac:spMkLst>
            <pc:docMk/>
            <pc:sldMk cId="1758910654" sldId="872"/>
            <ac:spMk id="69" creationId="{EF23AA6E-069F-4349-A89F-7238D05307BE}"/>
          </ac:spMkLst>
        </pc:spChg>
        <pc:spChg chg="mod topLvl">
          <ac:chgData name="Kisliuk, Adrian (ext)" userId="6e619ce3-2643-4cdf-9a13-b4c269650021" providerId="ADAL" clId="{91AF5212-C8E2-42DE-91E2-8A4BFAC3C0CB}" dt="2021-04-15T15:10:38.771" v="2806" actId="165"/>
          <ac:spMkLst>
            <pc:docMk/>
            <pc:sldMk cId="1758910654" sldId="872"/>
            <ac:spMk id="70" creationId="{EE66E68C-AC94-4FD2-96ED-8D8997ABB572}"/>
          </ac:spMkLst>
        </pc:spChg>
        <pc:spChg chg="mod topLvl">
          <ac:chgData name="Kisliuk, Adrian (ext)" userId="6e619ce3-2643-4cdf-9a13-b4c269650021" providerId="ADAL" clId="{91AF5212-C8E2-42DE-91E2-8A4BFAC3C0CB}" dt="2021-04-15T15:10:38.771" v="2806" actId="165"/>
          <ac:spMkLst>
            <pc:docMk/>
            <pc:sldMk cId="1758910654" sldId="872"/>
            <ac:spMk id="71" creationId="{61B29BA6-3764-49FF-9F42-FB0CDC7E8FFB}"/>
          </ac:spMkLst>
        </pc:spChg>
        <pc:spChg chg="mod topLvl">
          <ac:chgData name="Kisliuk, Adrian (ext)" userId="6e619ce3-2643-4cdf-9a13-b4c269650021" providerId="ADAL" clId="{91AF5212-C8E2-42DE-91E2-8A4BFAC3C0CB}" dt="2021-04-15T15:10:38.771" v="2806" actId="165"/>
          <ac:spMkLst>
            <pc:docMk/>
            <pc:sldMk cId="1758910654" sldId="872"/>
            <ac:spMk id="72" creationId="{36059C90-DBC1-45FB-9E74-3747AAEBEE5F}"/>
          </ac:spMkLst>
        </pc:spChg>
        <pc:spChg chg="mod topLvl">
          <ac:chgData name="Kisliuk, Adrian (ext)" userId="6e619ce3-2643-4cdf-9a13-b4c269650021" providerId="ADAL" clId="{91AF5212-C8E2-42DE-91E2-8A4BFAC3C0CB}" dt="2021-04-15T15:10:38.771" v="2806" actId="165"/>
          <ac:spMkLst>
            <pc:docMk/>
            <pc:sldMk cId="1758910654" sldId="872"/>
            <ac:spMk id="81" creationId="{552775DB-5997-454C-9151-C8164EC41734}"/>
          </ac:spMkLst>
        </pc:spChg>
        <pc:spChg chg="mod topLvl">
          <ac:chgData name="Kisliuk, Adrian (ext)" userId="6e619ce3-2643-4cdf-9a13-b4c269650021" providerId="ADAL" clId="{91AF5212-C8E2-42DE-91E2-8A4BFAC3C0CB}" dt="2021-04-15T15:10:38.771" v="2806" actId="165"/>
          <ac:spMkLst>
            <pc:docMk/>
            <pc:sldMk cId="1758910654" sldId="872"/>
            <ac:spMk id="82" creationId="{BFFE17F6-4064-4957-86F3-32341E45A770}"/>
          </ac:spMkLst>
        </pc:spChg>
        <pc:spChg chg="mod topLvl">
          <ac:chgData name="Kisliuk, Adrian (ext)" userId="6e619ce3-2643-4cdf-9a13-b4c269650021" providerId="ADAL" clId="{91AF5212-C8E2-42DE-91E2-8A4BFAC3C0CB}" dt="2021-04-15T15:10:38.771" v="2806" actId="165"/>
          <ac:spMkLst>
            <pc:docMk/>
            <pc:sldMk cId="1758910654" sldId="872"/>
            <ac:spMk id="83" creationId="{A7F4A503-1623-463F-B66A-90F98586D750}"/>
          </ac:spMkLst>
        </pc:spChg>
        <pc:grpChg chg="add del mod">
          <ac:chgData name="Kisliuk, Adrian (ext)" userId="6e619ce3-2643-4cdf-9a13-b4c269650021" providerId="ADAL" clId="{91AF5212-C8E2-42DE-91E2-8A4BFAC3C0CB}" dt="2021-04-15T15:09:12.937" v="2731" actId="165"/>
          <ac:grpSpMkLst>
            <pc:docMk/>
            <pc:sldMk cId="1758910654" sldId="872"/>
            <ac:grpSpMk id="7" creationId="{AA97C40D-47F0-4214-89BF-CCE92229ABCD}"/>
          </ac:grpSpMkLst>
        </pc:grpChg>
        <pc:grpChg chg="add del mod">
          <ac:chgData name="Kisliuk, Adrian (ext)" userId="6e619ce3-2643-4cdf-9a13-b4c269650021" providerId="ADAL" clId="{91AF5212-C8E2-42DE-91E2-8A4BFAC3C0CB}" dt="2021-04-15T15:10:38.771" v="2806" actId="165"/>
          <ac:grpSpMkLst>
            <pc:docMk/>
            <pc:sldMk cId="1758910654" sldId="872"/>
            <ac:grpSpMk id="8" creationId="{D96353C5-5A99-4710-9DAB-6F107799C32C}"/>
          </ac:grpSpMkLst>
        </pc:grpChg>
        <pc:picChg chg="mod topLvl">
          <ac:chgData name="Kisliuk, Adrian (ext)" userId="6e619ce3-2643-4cdf-9a13-b4c269650021" providerId="ADAL" clId="{91AF5212-C8E2-42DE-91E2-8A4BFAC3C0CB}" dt="2021-04-15T15:10:38.771" v="2806" actId="165"/>
          <ac:picMkLst>
            <pc:docMk/>
            <pc:sldMk cId="1758910654" sldId="872"/>
            <ac:picMk id="16" creationId="{F29F1F7C-0D26-41DF-AC6A-9886F949FEC9}"/>
          </ac:picMkLst>
        </pc:picChg>
        <pc:picChg chg="mod topLvl">
          <ac:chgData name="Kisliuk, Adrian (ext)" userId="6e619ce3-2643-4cdf-9a13-b4c269650021" providerId="ADAL" clId="{91AF5212-C8E2-42DE-91E2-8A4BFAC3C0CB}" dt="2021-04-15T15:10:38.771" v="2806" actId="165"/>
          <ac:picMkLst>
            <pc:docMk/>
            <pc:sldMk cId="1758910654" sldId="872"/>
            <ac:picMk id="33" creationId="{FDFCE72B-4FE7-427A-8A4C-F087F18E34A5}"/>
          </ac:picMkLst>
        </pc:picChg>
        <pc:picChg chg="mod topLvl">
          <ac:chgData name="Kisliuk, Adrian (ext)" userId="6e619ce3-2643-4cdf-9a13-b4c269650021" providerId="ADAL" clId="{91AF5212-C8E2-42DE-91E2-8A4BFAC3C0CB}" dt="2021-04-15T15:10:38.771" v="2806" actId="165"/>
          <ac:picMkLst>
            <pc:docMk/>
            <pc:sldMk cId="1758910654" sldId="872"/>
            <ac:picMk id="1026" creationId="{92BEDCD2-D9FA-492D-9738-4357A3D8F149}"/>
          </ac:picMkLst>
        </pc:picChg>
        <pc:cxnChg chg="mod topLvl">
          <ac:chgData name="Kisliuk, Adrian (ext)" userId="6e619ce3-2643-4cdf-9a13-b4c269650021" providerId="ADAL" clId="{91AF5212-C8E2-42DE-91E2-8A4BFAC3C0CB}" dt="2021-04-15T15:10:38.771" v="2806" actId="165"/>
          <ac:cxnSpMkLst>
            <pc:docMk/>
            <pc:sldMk cId="1758910654" sldId="872"/>
            <ac:cxnSpMk id="5" creationId="{A4C623EE-5F8C-43C6-BD7F-4F7F0804E80E}"/>
          </ac:cxnSpMkLst>
        </pc:cxnChg>
        <pc:cxnChg chg="mod topLvl">
          <ac:chgData name="Kisliuk, Adrian (ext)" userId="6e619ce3-2643-4cdf-9a13-b4c269650021" providerId="ADAL" clId="{91AF5212-C8E2-42DE-91E2-8A4BFAC3C0CB}" dt="2021-04-15T15:10:38.771" v="2806" actId="165"/>
          <ac:cxnSpMkLst>
            <pc:docMk/>
            <pc:sldMk cId="1758910654" sldId="872"/>
            <ac:cxnSpMk id="21" creationId="{9362684C-436C-45A6-9F89-A22C41EF495B}"/>
          </ac:cxnSpMkLst>
        </pc:cxnChg>
        <pc:cxnChg chg="mod topLvl">
          <ac:chgData name="Kisliuk, Adrian (ext)" userId="6e619ce3-2643-4cdf-9a13-b4c269650021" providerId="ADAL" clId="{91AF5212-C8E2-42DE-91E2-8A4BFAC3C0CB}" dt="2021-04-15T15:10:38.771" v="2806" actId="165"/>
          <ac:cxnSpMkLst>
            <pc:docMk/>
            <pc:sldMk cId="1758910654" sldId="872"/>
            <ac:cxnSpMk id="29" creationId="{AD8299C5-A83B-4DE8-827B-CBDF6ED21028}"/>
          </ac:cxnSpMkLst>
        </pc:cxnChg>
        <pc:cxnChg chg="mod topLvl">
          <ac:chgData name="Kisliuk, Adrian (ext)" userId="6e619ce3-2643-4cdf-9a13-b4c269650021" providerId="ADAL" clId="{91AF5212-C8E2-42DE-91E2-8A4BFAC3C0CB}" dt="2021-04-15T15:10:38.771" v="2806" actId="165"/>
          <ac:cxnSpMkLst>
            <pc:docMk/>
            <pc:sldMk cId="1758910654" sldId="872"/>
            <ac:cxnSpMk id="32" creationId="{960A8471-4033-4D9C-B0CF-94B8FDF047AB}"/>
          </ac:cxnSpMkLst>
        </pc:cxnChg>
        <pc:cxnChg chg="mod topLvl">
          <ac:chgData name="Kisliuk, Adrian (ext)" userId="6e619ce3-2643-4cdf-9a13-b4c269650021" providerId="ADAL" clId="{91AF5212-C8E2-42DE-91E2-8A4BFAC3C0CB}" dt="2021-04-15T15:10:38.771" v="2806" actId="165"/>
          <ac:cxnSpMkLst>
            <pc:docMk/>
            <pc:sldMk cId="1758910654" sldId="872"/>
            <ac:cxnSpMk id="42" creationId="{676C73C1-54DC-4F4E-9EFE-41B1016206C2}"/>
          </ac:cxnSpMkLst>
        </pc:cxnChg>
        <pc:cxnChg chg="mod topLvl">
          <ac:chgData name="Kisliuk, Adrian (ext)" userId="6e619ce3-2643-4cdf-9a13-b4c269650021" providerId="ADAL" clId="{91AF5212-C8E2-42DE-91E2-8A4BFAC3C0CB}" dt="2021-04-15T15:10:38.771" v="2806" actId="165"/>
          <ac:cxnSpMkLst>
            <pc:docMk/>
            <pc:sldMk cId="1758910654" sldId="872"/>
            <ac:cxnSpMk id="48" creationId="{1050C63E-5585-4A11-B1EC-F7EDA319A04E}"/>
          </ac:cxnSpMkLst>
        </pc:cxnChg>
        <pc:cxnChg chg="mod topLvl">
          <ac:chgData name="Kisliuk, Adrian (ext)" userId="6e619ce3-2643-4cdf-9a13-b4c269650021" providerId="ADAL" clId="{91AF5212-C8E2-42DE-91E2-8A4BFAC3C0CB}" dt="2021-04-15T15:10:38.771" v="2806" actId="165"/>
          <ac:cxnSpMkLst>
            <pc:docMk/>
            <pc:sldMk cId="1758910654" sldId="872"/>
            <ac:cxnSpMk id="53" creationId="{AD39E464-4ACC-414D-B567-513C379969E3}"/>
          </ac:cxnSpMkLst>
        </pc:cxnChg>
        <pc:cxnChg chg="mod topLvl">
          <ac:chgData name="Kisliuk, Adrian (ext)" userId="6e619ce3-2643-4cdf-9a13-b4c269650021" providerId="ADAL" clId="{91AF5212-C8E2-42DE-91E2-8A4BFAC3C0CB}" dt="2021-04-15T15:10:38.771" v="2806" actId="165"/>
          <ac:cxnSpMkLst>
            <pc:docMk/>
            <pc:sldMk cId="1758910654" sldId="872"/>
            <ac:cxnSpMk id="56" creationId="{08E8E5E4-67B7-4DAF-A6CC-D2743D94A973}"/>
          </ac:cxnSpMkLst>
        </pc:cxnChg>
        <pc:cxnChg chg="mod topLvl">
          <ac:chgData name="Kisliuk, Adrian (ext)" userId="6e619ce3-2643-4cdf-9a13-b4c269650021" providerId="ADAL" clId="{91AF5212-C8E2-42DE-91E2-8A4BFAC3C0CB}" dt="2021-04-15T15:10:38.771" v="2806" actId="165"/>
          <ac:cxnSpMkLst>
            <pc:docMk/>
            <pc:sldMk cId="1758910654" sldId="872"/>
            <ac:cxnSpMk id="75" creationId="{6E239FD2-9337-48F7-865C-32CBD5FCDFFF}"/>
          </ac:cxnSpMkLst>
        </pc:cxnChg>
        <pc:cxnChg chg="mod topLvl">
          <ac:chgData name="Kisliuk, Adrian (ext)" userId="6e619ce3-2643-4cdf-9a13-b4c269650021" providerId="ADAL" clId="{91AF5212-C8E2-42DE-91E2-8A4BFAC3C0CB}" dt="2021-04-15T15:10:38.771" v="2806" actId="165"/>
          <ac:cxnSpMkLst>
            <pc:docMk/>
            <pc:sldMk cId="1758910654" sldId="872"/>
            <ac:cxnSpMk id="78" creationId="{7F603801-B170-455A-B796-0BE874C79947}"/>
          </ac:cxnSpMkLst>
        </pc:cxnChg>
        <pc:cxnChg chg="mod topLvl">
          <ac:chgData name="Kisliuk, Adrian (ext)" userId="6e619ce3-2643-4cdf-9a13-b4c269650021" providerId="ADAL" clId="{91AF5212-C8E2-42DE-91E2-8A4BFAC3C0CB}" dt="2021-04-15T15:10:38.771" v="2806" actId="165"/>
          <ac:cxnSpMkLst>
            <pc:docMk/>
            <pc:sldMk cId="1758910654" sldId="872"/>
            <ac:cxnSpMk id="90" creationId="{170F4735-1CEB-462F-AFD3-E7AF1B99D737}"/>
          </ac:cxnSpMkLst>
        </pc:cxnChg>
        <pc:cxnChg chg="mod topLvl">
          <ac:chgData name="Kisliuk, Adrian (ext)" userId="6e619ce3-2643-4cdf-9a13-b4c269650021" providerId="ADAL" clId="{91AF5212-C8E2-42DE-91E2-8A4BFAC3C0CB}" dt="2021-04-15T15:10:38.771" v="2806" actId="165"/>
          <ac:cxnSpMkLst>
            <pc:docMk/>
            <pc:sldMk cId="1758910654" sldId="872"/>
            <ac:cxnSpMk id="93" creationId="{1416EC65-93AC-4B21-8796-1D3552EEE3AA}"/>
          </ac:cxnSpMkLst>
        </pc:cxnChg>
        <pc:cxnChg chg="mod topLvl">
          <ac:chgData name="Kisliuk, Adrian (ext)" userId="6e619ce3-2643-4cdf-9a13-b4c269650021" providerId="ADAL" clId="{91AF5212-C8E2-42DE-91E2-8A4BFAC3C0CB}" dt="2021-04-15T15:10:38.771" v="2806" actId="165"/>
          <ac:cxnSpMkLst>
            <pc:docMk/>
            <pc:sldMk cId="1758910654" sldId="872"/>
            <ac:cxnSpMk id="96" creationId="{CFEFBC2F-A57B-4D23-9AD8-0177BFBAF3B8}"/>
          </ac:cxnSpMkLst>
        </pc:cxnChg>
        <pc:cxnChg chg="mod topLvl">
          <ac:chgData name="Kisliuk, Adrian (ext)" userId="6e619ce3-2643-4cdf-9a13-b4c269650021" providerId="ADAL" clId="{91AF5212-C8E2-42DE-91E2-8A4BFAC3C0CB}" dt="2021-04-15T15:10:38.771" v="2806" actId="165"/>
          <ac:cxnSpMkLst>
            <pc:docMk/>
            <pc:sldMk cId="1758910654" sldId="872"/>
            <ac:cxnSpMk id="111" creationId="{8E995278-8651-4F8F-888E-25CC8EC65F61}"/>
          </ac:cxnSpMkLst>
        </pc:cxnChg>
        <pc:cxnChg chg="mod topLvl">
          <ac:chgData name="Kisliuk, Adrian (ext)" userId="6e619ce3-2643-4cdf-9a13-b4c269650021" providerId="ADAL" clId="{91AF5212-C8E2-42DE-91E2-8A4BFAC3C0CB}" dt="2021-04-15T15:10:38.771" v="2806" actId="165"/>
          <ac:cxnSpMkLst>
            <pc:docMk/>
            <pc:sldMk cId="1758910654" sldId="872"/>
            <ac:cxnSpMk id="114" creationId="{9A803330-86A2-4C09-AD48-555222D89CF3}"/>
          </ac:cxnSpMkLst>
        </pc:cxnChg>
        <pc:cxnChg chg="mod topLvl">
          <ac:chgData name="Kisliuk, Adrian (ext)" userId="6e619ce3-2643-4cdf-9a13-b4c269650021" providerId="ADAL" clId="{91AF5212-C8E2-42DE-91E2-8A4BFAC3C0CB}" dt="2021-04-15T15:10:38.771" v="2806" actId="165"/>
          <ac:cxnSpMkLst>
            <pc:docMk/>
            <pc:sldMk cId="1758910654" sldId="872"/>
            <ac:cxnSpMk id="117" creationId="{F0F6DDE1-8831-404C-B915-33DE1AF72ED3}"/>
          </ac:cxnSpMkLst>
        </pc:cxnChg>
        <pc:cxnChg chg="mod topLvl">
          <ac:chgData name="Kisliuk, Adrian (ext)" userId="6e619ce3-2643-4cdf-9a13-b4c269650021" providerId="ADAL" clId="{91AF5212-C8E2-42DE-91E2-8A4BFAC3C0CB}" dt="2021-04-15T15:10:38.771" v="2806" actId="165"/>
          <ac:cxnSpMkLst>
            <pc:docMk/>
            <pc:sldMk cId="1758910654" sldId="872"/>
            <ac:cxnSpMk id="120" creationId="{659374FF-74A4-453A-AC6D-39E6A7DADD46}"/>
          </ac:cxnSpMkLst>
        </pc:cxnChg>
      </pc:sldChg>
      <pc:sldChg chg="addSp delSp modSp add mod ord">
        <pc:chgData name="Kisliuk, Adrian (ext)" userId="6e619ce3-2643-4cdf-9a13-b4c269650021" providerId="ADAL" clId="{91AF5212-C8E2-42DE-91E2-8A4BFAC3C0CB}" dt="2021-04-15T15:26:03.794" v="2822" actId="207"/>
        <pc:sldMkLst>
          <pc:docMk/>
          <pc:sldMk cId="3743295614" sldId="873"/>
        </pc:sldMkLst>
        <pc:spChg chg="mod">
          <ac:chgData name="Kisliuk, Adrian (ext)" userId="6e619ce3-2643-4cdf-9a13-b4c269650021" providerId="ADAL" clId="{91AF5212-C8E2-42DE-91E2-8A4BFAC3C0CB}" dt="2021-04-15T15:03:28.994" v="2658" actId="948"/>
          <ac:spMkLst>
            <pc:docMk/>
            <pc:sldMk cId="3743295614" sldId="873"/>
            <ac:spMk id="2" creationId="{4F0A5095-4837-4DA6-90E9-57CA6A6D96D3}"/>
          </ac:spMkLst>
        </pc:spChg>
        <pc:spChg chg="add del mod modVis">
          <ac:chgData name="Kisliuk, Adrian (ext)" userId="6e619ce3-2643-4cdf-9a13-b4c269650021" providerId="ADAL" clId="{91AF5212-C8E2-42DE-91E2-8A4BFAC3C0CB}" dt="2021-04-15T14:22:42.368" v="289"/>
          <ac:spMkLst>
            <pc:docMk/>
            <pc:sldMk cId="3743295614" sldId="873"/>
            <ac:spMk id="5" creationId="{025166C4-0A4C-43E1-A89A-539784D1A275}"/>
          </ac:spMkLst>
        </pc:spChg>
        <pc:spChg chg="add del mod modVis">
          <ac:chgData name="Kisliuk, Adrian (ext)" userId="6e619ce3-2643-4cdf-9a13-b4c269650021" providerId="ADAL" clId="{91AF5212-C8E2-42DE-91E2-8A4BFAC3C0CB}" dt="2021-04-15T14:22:45.883" v="339"/>
          <ac:spMkLst>
            <pc:docMk/>
            <pc:sldMk cId="3743295614" sldId="873"/>
            <ac:spMk id="6" creationId="{25EDFB6A-424B-4927-8430-CF4A95E603A4}"/>
          </ac:spMkLst>
        </pc:spChg>
        <pc:spChg chg="add del mod modVis">
          <ac:chgData name="Kisliuk, Adrian (ext)" userId="6e619ce3-2643-4cdf-9a13-b4c269650021" providerId="ADAL" clId="{91AF5212-C8E2-42DE-91E2-8A4BFAC3C0CB}" dt="2021-04-15T14:24:23.614" v="382"/>
          <ac:spMkLst>
            <pc:docMk/>
            <pc:sldMk cId="3743295614" sldId="873"/>
            <ac:spMk id="7" creationId="{CD3131D8-AC3C-4BEB-9004-5D7D37C955BC}"/>
          </ac:spMkLst>
        </pc:spChg>
        <pc:spChg chg="add del mod modVis">
          <ac:chgData name="Kisliuk, Adrian (ext)" userId="6e619ce3-2643-4cdf-9a13-b4c269650021" providerId="ADAL" clId="{91AF5212-C8E2-42DE-91E2-8A4BFAC3C0CB}" dt="2021-04-15T14:24:25.518" v="430"/>
          <ac:spMkLst>
            <pc:docMk/>
            <pc:sldMk cId="3743295614" sldId="873"/>
            <ac:spMk id="8" creationId="{C39C9CFD-567A-4339-AA98-6C1AC514FCF3}"/>
          </ac:spMkLst>
        </pc:spChg>
        <pc:spChg chg="add del mod modVis">
          <ac:chgData name="Kisliuk, Adrian (ext)" userId="6e619ce3-2643-4cdf-9a13-b4c269650021" providerId="ADAL" clId="{91AF5212-C8E2-42DE-91E2-8A4BFAC3C0CB}" dt="2021-04-15T14:24:48.904" v="475"/>
          <ac:spMkLst>
            <pc:docMk/>
            <pc:sldMk cId="3743295614" sldId="873"/>
            <ac:spMk id="9" creationId="{39879441-F192-4692-926B-BB5D11ED480A}"/>
          </ac:spMkLst>
        </pc:spChg>
        <pc:spChg chg="add del mod modVis">
          <ac:chgData name="Kisliuk, Adrian (ext)" userId="6e619ce3-2643-4cdf-9a13-b4c269650021" providerId="ADAL" clId="{91AF5212-C8E2-42DE-91E2-8A4BFAC3C0CB}" dt="2021-04-15T14:24:49.851" v="518"/>
          <ac:spMkLst>
            <pc:docMk/>
            <pc:sldMk cId="3743295614" sldId="873"/>
            <ac:spMk id="10" creationId="{1B406AC3-574D-429A-95AB-8B77EACCEC70}"/>
          </ac:spMkLst>
        </pc:spChg>
        <pc:spChg chg="add del mod modVis">
          <ac:chgData name="Kisliuk, Adrian (ext)" userId="6e619ce3-2643-4cdf-9a13-b4c269650021" providerId="ADAL" clId="{91AF5212-C8E2-42DE-91E2-8A4BFAC3C0CB}" dt="2021-04-15T14:35:22.421" v="1116"/>
          <ac:spMkLst>
            <pc:docMk/>
            <pc:sldMk cId="3743295614" sldId="873"/>
            <ac:spMk id="12" creationId="{0A12A506-F44C-477D-8BDA-D1958E6AF79A}"/>
          </ac:spMkLst>
        </pc:spChg>
        <pc:spChg chg="add del mod modVis">
          <ac:chgData name="Kisliuk, Adrian (ext)" userId="6e619ce3-2643-4cdf-9a13-b4c269650021" providerId="ADAL" clId="{91AF5212-C8E2-42DE-91E2-8A4BFAC3C0CB}" dt="2021-04-15T14:35:25.644" v="1170"/>
          <ac:spMkLst>
            <pc:docMk/>
            <pc:sldMk cId="3743295614" sldId="873"/>
            <ac:spMk id="13" creationId="{063C03BC-437C-4C3F-8B66-DEED62E682B6}"/>
          </ac:spMkLst>
        </pc:spChg>
        <pc:spChg chg="add del mod modVis">
          <ac:chgData name="Kisliuk, Adrian (ext)" userId="6e619ce3-2643-4cdf-9a13-b4c269650021" providerId="ADAL" clId="{91AF5212-C8E2-42DE-91E2-8A4BFAC3C0CB}" dt="2021-04-15T14:35:27.777" v="1217"/>
          <ac:spMkLst>
            <pc:docMk/>
            <pc:sldMk cId="3743295614" sldId="873"/>
            <ac:spMk id="14" creationId="{0EDFA641-4695-4BC1-BEC2-6A823990D6E2}"/>
          </ac:spMkLst>
        </pc:spChg>
        <pc:spChg chg="add del mod modVis">
          <ac:chgData name="Kisliuk, Adrian (ext)" userId="6e619ce3-2643-4cdf-9a13-b4c269650021" providerId="ADAL" clId="{91AF5212-C8E2-42DE-91E2-8A4BFAC3C0CB}" dt="2021-04-15T14:35:29.025" v="1260"/>
          <ac:spMkLst>
            <pc:docMk/>
            <pc:sldMk cId="3743295614" sldId="873"/>
            <ac:spMk id="15" creationId="{7170C6DC-95F9-4AAF-BF4A-12F5AD1ECCEE}"/>
          </ac:spMkLst>
        </pc:spChg>
        <pc:spChg chg="add del mod modVis">
          <ac:chgData name="Kisliuk, Adrian (ext)" userId="6e619ce3-2643-4cdf-9a13-b4c269650021" providerId="ADAL" clId="{91AF5212-C8E2-42DE-91E2-8A4BFAC3C0CB}" dt="2021-04-15T14:35:30.798" v="1305"/>
          <ac:spMkLst>
            <pc:docMk/>
            <pc:sldMk cId="3743295614" sldId="873"/>
            <ac:spMk id="16" creationId="{F79A48E7-E926-4195-BD51-CAF7FE14D832}"/>
          </ac:spMkLst>
        </pc:spChg>
        <pc:spChg chg="add del mod modVis">
          <ac:chgData name="Kisliuk, Adrian (ext)" userId="6e619ce3-2643-4cdf-9a13-b4c269650021" providerId="ADAL" clId="{91AF5212-C8E2-42DE-91E2-8A4BFAC3C0CB}" dt="2021-04-15T14:49:18.953" v="1519"/>
          <ac:spMkLst>
            <pc:docMk/>
            <pc:sldMk cId="3743295614" sldId="873"/>
            <ac:spMk id="17" creationId="{00662B17-A84F-48F5-B9F7-37F7DC38BE6F}"/>
          </ac:spMkLst>
        </pc:spChg>
        <pc:spChg chg="add del mod modVis">
          <ac:chgData name="Kisliuk, Adrian (ext)" userId="6e619ce3-2643-4cdf-9a13-b4c269650021" providerId="ADAL" clId="{91AF5212-C8E2-42DE-91E2-8A4BFAC3C0CB}" dt="2021-04-15T14:50:11.208" v="1570"/>
          <ac:spMkLst>
            <pc:docMk/>
            <pc:sldMk cId="3743295614" sldId="873"/>
            <ac:spMk id="18" creationId="{9D850356-C0F9-42BE-9CF9-1F081727DEE4}"/>
          </ac:spMkLst>
        </pc:spChg>
        <pc:spChg chg="add del mod modVis">
          <ac:chgData name="Kisliuk, Adrian (ext)" userId="6e619ce3-2643-4cdf-9a13-b4c269650021" providerId="ADAL" clId="{91AF5212-C8E2-42DE-91E2-8A4BFAC3C0CB}" dt="2021-04-15T14:50:13.159" v="1611"/>
          <ac:spMkLst>
            <pc:docMk/>
            <pc:sldMk cId="3743295614" sldId="873"/>
            <ac:spMk id="19" creationId="{89E20461-76B4-4D65-A445-605B96CC7FE0}"/>
          </ac:spMkLst>
        </pc:spChg>
        <pc:spChg chg="add del mod modVis">
          <ac:chgData name="Kisliuk, Adrian (ext)" userId="6e619ce3-2643-4cdf-9a13-b4c269650021" providerId="ADAL" clId="{91AF5212-C8E2-42DE-91E2-8A4BFAC3C0CB}" dt="2021-04-15T14:51:22.005" v="1697"/>
          <ac:spMkLst>
            <pc:docMk/>
            <pc:sldMk cId="3743295614" sldId="873"/>
            <ac:spMk id="20" creationId="{9923D274-2354-4648-96CF-95D30C2EE413}"/>
          </ac:spMkLst>
        </pc:spChg>
        <pc:spChg chg="add del mod modVis">
          <ac:chgData name="Kisliuk, Adrian (ext)" userId="6e619ce3-2643-4cdf-9a13-b4c269650021" providerId="ADAL" clId="{91AF5212-C8E2-42DE-91E2-8A4BFAC3C0CB}" dt="2021-04-15T14:51:24.965" v="1751"/>
          <ac:spMkLst>
            <pc:docMk/>
            <pc:sldMk cId="3743295614" sldId="873"/>
            <ac:spMk id="21" creationId="{F9D99958-C127-4B1A-AECD-AF121B6EDE07}"/>
          </ac:spMkLst>
        </pc:spChg>
        <pc:spChg chg="add del mod modVis">
          <ac:chgData name="Kisliuk, Adrian (ext)" userId="6e619ce3-2643-4cdf-9a13-b4c269650021" providerId="ADAL" clId="{91AF5212-C8E2-42DE-91E2-8A4BFAC3C0CB}" dt="2021-04-15T14:51:27.425" v="1795"/>
          <ac:spMkLst>
            <pc:docMk/>
            <pc:sldMk cId="3743295614" sldId="873"/>
            <ac:spMk id="22" creationId="{7FAA0CD4-5FB1-4B21-97AC-4AFFB3536F48}"/>
          </ac:spMkLst>
        </pc:spChg>
        <pc:spChg chg="add del mod modVis">
          <ac:chgData name="Kisliuk, Adrian (ext)" userId="6e619ce3-2643-4cdf-9a13-b4c269650021" providerId="ADAL" clId="{91AF5212-C8E2-42DE-91E2-8A4BFAC3C0CB}" dt="2021-04-15T14:51:29.151" v="1836"/>
          <ac:spMkLst>
            <pc:docMk/>
            <pc:sldMk cId="3743295614" sldId="873"/>
            <ac:spMk id="23" creationId="{813A27AD-AA77-457A-BC6D-A463AC5851FC}"/>
          </ac:spMkLst>
        </pc:spChg>
        <pc:spChg chg="add del mod modVis">
          <ac:chgData name="Kisliuk, Adrian (ext)" userId="6e619ce3-2643-4cdf-9a13-b4c269650021" providerId="ADAL" clId="{91AF5212-C8E2-42DE-91E2-8A4BFAC3C0CB}" dt="2021-04-15T14:51:46.176" v="1877"/>
          <ac:spMkLst>
            <pc:docMk/>
            <pc:sldMk cId="3743295614" sldId="873"/>
            <ac:spMk id="24" creationId="{C5717FEF-9CE0-41E0-AE44-F78BB14741C5}"/>
          </ac:spMkLst>
        </pc:spChg>
        <pc:spChg chg="add del mod modVis">
          <ac:chgData name="Kisliuk, Adrian (ext)" userId="6e619ce3-2643-4cdf-9a13-b4c269650021" providerId="ADAL" clId="{91AF5212-C8E2-42DE-91E2-8A4BFAC3C0CB}" dt="2021-04-15T14:51:49.597" v="1918"/>
          <ac:spMkLst>
            <pc:docMk/>
            <pc:sldMk cId="3743295614" sldId="873"/>
            <ac:spMk id="25" creationId="{FC8C99F4-7026-4761-8321-3DE411FDDD0E}"/>
          </ac:spMkLst>
        </pc:spChg>
        <pc:spChg chg="add del mod modVis">
          <ac:chgData name="Kisliuk, Adrian (ext)" userId="6e619ce3-2643-4cdf-9a13-b4c269650021" providerId="ADAL" clId="{91AF5212-C8E2-42DE-91E2-8A4BFAC3C0CB}" dt="2021-04-15T14:51:52.157" v="1961"/>
          <ac:spMkLst>
            <pc:docMk/>
            <pc:sldMk cId="3743295614" sldId="873"/>
            <ac:spMk id="26" creationId="{61704F0D-9402-41F0-A03A-39734D67CE89}"/>
          </ac:spMkLst>
        </pc:spChg>
        <pc:spChg chg="add del mod modVis">
          <ac:chgData name="Kisliuk, Adrian (ext)" userId="6e619ce3-2643-4cdf-9a13-b4c269650021" providerId="ADAL" clId="{91AF5212-C8E2-42DE-91E2-8A4BFAC3C0CB}" dt="2021-04-15T14:51:53.198" v="2003"/>
          <ac:spMkLst>
            <pc:docMk/>
            <pc:sldMk cId="3743295614" sldId="873"/>
            <ac:spMk id="27" creationId="{02130934-C29A-48FE-9EFE-397428EA87D8}"/>
          </ac:spMkLst>
        </pc:spChg>
        <pc:spChg chg="add del mod modVis">
          <ac:chgData name="Kisliuk, Adrian (ext)" userId="6e619ce3-2643-4cdf-9a13-b4c269650021" providerId="ADAL" clId="{91AF5212-C8E2-42DE-91E2-8A4BFAC3C0CB}" dt="2021-04-15T14:51:54.729" v="2047"/>
          <ac:spMkLst>
            <pc:docMk/>
            <pc:sldMk cId="3743295614" sldId="873"/>
            <ac:spMk id="28" creationId="{F6929709-F821-4717-A785-46132A094065}"/>
          </ac:spMkLst>
        </pc:spChg>
        <pc:spChg chg="add del mod modVis">
          <ac:chgData name="Kisliuk, Adrian (ext)" userId="6e619ce3-2643-4cdf-9a13-b4c269650021" providerId="ADAL" clId="{91AF5212-C8E2-42DE-91E2-8A4BFAC3C0CB}" dt="2021-04-15T14:51:57.422" v="2088"/>
          <ac:spMkLst>
            <pc:docMk/>
            <pc:sldMk cId="3743295614" sldId="873"/>
            <ac:spMk id="29" creationId="{F203D1D4-BB0B-4BAD-A98B-44C4A529A9A5}"/>
          </ac:spMkLst>
        </pc:spChg>
        <pc:spChg chg="add del mod modVis">
          <ac:chgData name="Kisliuk, Adrian (ext)" userId="6e619ce3-2643-4cdf-9a13-b4c269650021" providerId="ADAL" clId="{91AF5212-C8E2-42DE-91E2-8A4BFAC3C0CB}" dt="2021-04-15T14:51:59.900" v="2129"/>
          <ac:spMkLst>
            <pc:docMk/>
            <pc:sldMk cId="3743295614" sldId="873"/>
            <ac:spMk id="30" creationId="{07BD87BF-ECA2-43C3-BD0A-2D05CB088122}"/>
          </ac:spMkLst>
        </pc:spChg>
        <pc:spChg chg="add del mod modVis">
          <ac:chgData name="Kisliuk, Adrian (ext)" userId="6e619ce3-2643-4cdf-9a13-b4c269650021" providerId="ADAL" clId="{91AF5212-C8E2-42DE-91E2-8A4BFAC3C0CB}" dt="2021-04-15T14:52:13.379" v="2173"/>
          <ac:spMkLst>
            <pc:docMk/>
            <pc:sldMk cId="3743295614" sldId="873"/>
            <ac:spMk id="31" creationId="{9A05E291-95AA-46B8-9F01-EFEC135A9145}"/>
          </ac:spMkLst>
        </pc:spChg>
        <pc:spChg chg="add del mod modVis">
          <ac:chgData name="Kisliuk, Adrian (ext)" userId="6e619ce3-2643-4cdf-9a13-b4c269650021" providerId="ADAL" clId="{91AF5212-C8E2-42DE-91E2-8A4BFAC3C0CB}" dt="2021-04-15T14:52:14.252" v="2216"/>
          <ac:spMkLst>
            <pc:docMk/>
            <pc:sldMk cId="3743295614" sldId="873"/>
            <ac:spMk id="32" creationId="{A97E36AD-55A1-4B55-A90C-4C78CB84D4E7}"/>
          </ac:spMkLst>
        </pc:spChg>
        <pc:spChg chg="add del mod modVis">
          <ac:chgData name="Kisliuk, Adrian (ext)" userId="6e619ce3-2643-4cdf-9a13-b4c269650021" providerId="ADAL" clId="{91AF5212-C8E2-42DE-91E2-8A4BFAC3C0CB}" dt="2021-04-15T14:52:20.179" v="2265"/>
          <ac:spMkLst>
            <pc:docMk/>
            <pc:sldMk cId="3743295614" sldId="873"/>
            <ac:spMk id="33" creationId="{9720F1D2-4967-4005-B6D4-97ACA6477004}"/>
          </ac:spMkLst>
        </pc:spChg>
        <pc:spChg chg="add mod">
          <ac:chgData name="Kisliuk, Adrian (ext)" userId="6e619ce3-2643-4cdf-9a13-b4c269650021" providerId="ADAL" clId="{91AF5212-C8E2-42DE-91E2-8A4BFAC3C0CB}" dt="2021-04-15T15:12:01.157" v="2820" actId="1036"/>
          <ac:spMkLst>
            <pc:docMk/>
            <pc:sldMk cId="3743295614" sldId="873"/>
            <ac:spMk id="34" creationId="{D007DA82-C325-4DA3-9E40-5BFAC41303C7}"/>
          </ac:spMkLst>
        </pc:spChg>
        <pc:spChg chg="add del mod modVis">
          <ac:chgData name="Kisliuk, Adrian (ext)" userId="6e619ce3-2643-4cdf-9a13-b4c269650021" providerId="ADAL" clId="{91AF5212-C8E2-42DE-91E2-8A4BFAC3C0CB}" dt="2021-04-15T15:03:04.437" v="2483"/>
          <ac:spMkLst>
            <pc:docMk/>
            <pc:sldMk cId="3743295614" sldId="873"/>
            <ac:spMk id="35" creationId="{4DDDCA41-2F85-430A-8F7E-590F1A79B4DE}"/>
          </ac:spMkLst>
        </pc:spChg>
        <pc:spChg chg="add del mod modVis">
          <ac:chgData name="Kisliuk, Adrian (ext)" userId="6e619ce3-2643-4cdf-9a13-b4c269650021" providerId="ADAL" clId="{91AF5212-C8E2-42DE-91E2-8A4BFAC3C0CB}" dt="2021-04-15T15:03:19.051" v="2524"/>
          <ac:spMkLst>
            <pc:docMk/>
            <pc:sldMk cId="3743295614" sldId="873"/>
            <ac:spMk id="36" creationId="{25658885-E70B-4611-8451-74BB5CED69B4}"/>
          </ac:spMkLst>
        </pc:spChg>
        <pc:spChg chg="add del mod modVis">
          <ac:chgData name="Kisliuk, Adrian (ext)" userId="6e619ce3-2643-4cdf-9a13-b4c269650021" providerId="ADAL" clId="{91AF5212-C8E2-42DE-91E2-8A4BFAC3C0CB}" dt="2021-04-15T15:03:19.593" v="2565"/>
          <ac:spMkLst>
            <pc:docMk/>
            <pc:sldMk cId="3743295614" sldId="873"/>
            <ac:spMk id="37" creationId="{250189EA-908B-4E71-8CDE-CFFCE0F244EE}"/>
          </ac:spMkLst>
        </pc:spChg>
        <pc:spChg chg="add del mod modVis">
          <ac:chgData name="Kisliuk, Adrian (ext)" userId="6e619ce3-2643-4cdf-9a13-b4c269650021" providerId="ADAL" clId="{91AF5212-C8E2-42DE-91E2-8A4BFAC3C0CB}" dt="2021-04-15T15:03:21.578" v="2610"/>
          <ac:spMkLst>
            <pc:docMk/>
            <pc:sldMk cId="3743295614" sldId="873"/>
            <ac:spMk id="38" creationId="{9F158BCB-A1D2-4BAA-B565-4A0989DD70E1}"/>
          </ac:spMkLst>
        </pc:spChg>
        <pc:spChg chg="add del mod modVis">
          <ac:chgData name="Kisliuk, Adrian (ext)" userId="6e619ce3-2643-4cdf-9a13-b4c269650021" providerId="ADAL" clId="{91AF5212-C8E2-42DE-91E2-8A4BFAC3C0CB}" dt="2021-04-15T15:03:26.460" v="2651"/>
          <ac:spMkLst>
            <pc:docMk/>
            <pc:sldMk cId="3743295614" sldId="873"/>
            <ac:spMk id="39" creationId="{03B51097-C5DB-490B-8E9F-A86329545D4A}"/>
          </ac:spMkLst>
        </pc:spChg>
        <pc:spChg chg="add del mod modVis">
          <ac:chgData name="Kisliuk, Adrian (ext)" userId="6e619ce3-2643-4cdf-9a13-b4c269650021" providerId="ADAL" clId="{91AF5212-C8E2-42DE-91E2-8A4BFAC3C0CB}" dt="2021-04-15T15:03:29.022" v="2695"/>
          <ac:spMkLst>
            <pc:docMk/>
            <pc:sldMk cId="3743295614" sldId="873"/>
            <ac:spMk id="40" creationId="{39C1226D-425A-4F73-872A-AE00405B2FC5}"/>
          </ac:spMkLst>
        </pc:spChg>
        <pc:graphicFrameChg chg="add mod ord modVis">
          <ac:chgData name="Kisliuk, Adrian (ext)" userId="6e619ce3-2643-4cdf-9a13-b4c269650021" providerId="ADAL" clId="{91AF5212-C8E2-42DE-91E2-8A4BFAC3C0CB}" dt="2021-04-15T15:03:29.024" v="2697"/>
          <ac:graphicFrameMkLst>
            <pc:docMk/>
            <pc:sldMk cId="3743295614" sldId="873"/>
            <ac:graphicFrameMk id="4" creationId="{C83F301A-78A1-4983-9CB8-1A10622AAB94}"/>
          </ac:graphicFrameMkLst>
        </pc:graphicFrameChg>
        <pc:graphicFrameChg chg="add del mod modGraphic">
          <ac:chgData name="Kisliuk, Adrian (ext)" userId="6e619ce3-2643-4cdf-9a13-b4c269650021" providerId="ADAL" clId="{91AF5212-C8E2-42DE-91E2-8A4BFAC3C0CB}" dt="2021-04-15T15:26:03.794" v="2822" actId="207"/>
          <ac:graphicFrameMkLst>
            <pc:docMk/>
            <pc:sldMk cId="3743295614" sldId="873"/>
            <ac:graphicFrameMk id="11" creationId="{DA95A6DF-05B3-4364-96B6-B05A3911B7BF}"/>
          </ac:graphicFrameMkLst>
        </pc:graphicFrameChg>
      </pc:sldChg>
      <pc:sldChg chg="addSp delSp modSp add del mod ord">
        <pc:chgData name="Kisliuk, Adrian (ext)" userId="6e619ce3-2643-4cdf-9a13-b4c269650021" providerId="ADAL" clId="{91AF5212-C8E2-42DE-91E2-8A4BFAC3C0CB}" dt="2021-04-15T14:52:39.412" v="2268" actId="47"/>
        <pc:sldMkLst>
          <pc:docMk/>
          <pc:sldMk cId="713517148" sldId="874"/>
        </pc:sldMkLst>
        <pc:spChg chg="mod">
          <ac:chgData name="Kisliuk, Adrian (ext)" userId="6e619ce3-2643-4cdf-9a13-b4c269650021" providerId="ADAL" clId="{91AF5212-C8E2-42DE-91E2-8A4BFAC3C0CB}" dt="2021-04-15T14:40:56.878" v="1322" actId="948"/>
          <ac:spMkLst>
            <pc:docMk/>
            <pc:sldMk cId="713517148" sldId="874"/>
            <ac:spMk id="2" creationId="{4F0A5095-4837-4DA6-90E9-57CA6A6D96D3}"/>
          </ac:spMkLst>
        </pc:spChg>
        <pc:spChg chg="add del mod modVis">
          <ac:chgData name="Kisliuk, Adrian (ext)" userId="6e619ce3-2643-4cdf-9a13-b4c269650021" providerId="ADAL" clId="{91AF5212-C8E2-42DE-91E2-8A4BFAC3C0CB}" dt="2021-04-15T14:26:10.630" v="566"/>
          <ac:spMkLst>
            <pc:docMk/>
            <pc:sldMk cId="713517148" sldId="874"/>
            <ac:spMk id="5" creationId="{22BE16BC-2A73-4202-B6E9-A17D8CBAB7F4}"/>
          </ac:spMkLst>
        </pc:spChg>
        <pc:spChg chg="add del mod modVis">
          <ac:chgData name="Kisliuk, Adrian (ext)" userId="6e619ce3-2643-4cdf-9a13-b4c269650021" providerId="ADAL" clId="{91AF5212-C8E2-42DE-91E2-8A4BFAC3C0CB}" dt="2021-04-15T14:26:13.334" v="616"/>
          <ac:spMkLst>
            <pc:docMk/>
            <pc:sldMk cId="713517148" sldId="874"/>
            <ac:spMk id="6" creationId="{5A37F6C8-0F93-4E6B-A91B-ECC768FD2129}"/>
          </ac:spMkLst>
        </pc:spChg>
        <pc:spChg chg="add del mod modVis">
          <ac:chgData name="Kisliuk, Adrian (ext)" userId="6e619ce3-2643-4cdf-9a13-b4c269650021" providerId="ADAL" clId="{91AF5212-C8E2-42DE-91E2-8A4BFAC3C0CB}" dt="2021-04-15T14:40:56.919" v="1359"/>
          <ac:spMkLst>
            <pc:docMk/>
            <pc:sldMk cId="713517148" sldId="874"/>
            <ac:spMk id="8" creationId="{2DFCD06A-B730-49DE-881B-0F16FC1B5E34}"/>
          </ac:spMkLst>
        </pc:spChg>
        <pc:graphicFrameChg chg="mod">
          <ac:chgData name="Kisliuk, Adrian (ext)" userId="6e619ce3-2643-4cdf-9a13-b4c269650021" providerId="ADAL" clId="{91AF5212-C8E2-42DE-91E2-8A4BFAC3C0CB}" dt="2021-04-15T14:48:27.018" v="1479"/>
          <ac:graphicFrameMkLst>
            <pc:docMk/>
            <pc:sldMk cId="713517148" sldId="874"/>
            <ac:graphicFrameMk id="4" creationId="{C83F301A-78A1-4983-9CB8-1A10622AAB94}"/>
          </ac:graphicFrameMkLst>
        </pc:graphicFrameChg>
        <pc:graphicFrameChg chg="add mod modGraphic">
          <ac:chgData name="Kisliuk, Adrian (ext)" userId="6e619ce3-2643-4cdf-9a13-b4c269650021" providerId="ADAL" clId="{91AF5212-C8E2-42DE-91E2-8A4BFAC3C0CB}" dt="2021-04-15T14:46:17.908" v="1430" actId="20577"/>
          <ac:graphicFrameMkLst>
            <pc:docMk/>
            <pc:sldMk cId="713517148" sldId="874"/>
            <ac:graphicFrameMk id="7" creationId="{03BBE539-69A4-4259-81B2-E5119E0E37B0}"/>
          </ac:graphicFrameMkLst>
        </pc:graphicFrameChg>
        <pc:graphicFrameChg chg="del">
          <ac:chgData name="Kisliuk, Adrian (ext)" userId="6e619ce3-2643-4cdf-9a13-b4c269650021" providerId="ADAL" clId="{91AF5212-C8E2-42DE-91E2-8A4BFAC3C0CB}" dt="2021-04-15T14:25:56.871" v="527" actId="478"/>
          <ac:graphicFrameMkLst>
            <pc:docMk/>
            <pc:sldMk cId="713517148" sldId="874"/>
            <ac:graphicFrameMk id="11" creationId="{DA95A6DF-05B3-4364-96B6-B05A3911B7BF}"/>
          </ac:graphicFrameMkLst>
        </pc:graphicFrameChg>
      </pc:sldChg>
      <pc:sldChg chg="add del">
        <pc:chgData name="Kisliuk, Adrian (ext)" userId="6e619ce3-2643-4cdf-9a13-b4c269650021" providerId="ADAL" clId="{91AF5212-C8E2-42DE-91E2-8A4BFAC3C0CB}" dt="2021-04-15T14:35:38.521" v="1310" actId="47"/>
        <pc:sldMkLst>
          <pc:docMk/>
          <pc:sldMk cId="611875231" sldId="875"/>
        </pc:sldMkLst>
      </pc:sldChg>
      <pc:sldChg chg="addSp delSp modSp add del mod">
        <pc:chgData name="Kisliuk, Adrian (ext)" userId="6e619ce3-2643-4cdf-9a13-b4c269650021" providerId="ADAL" clId="{91AF5212-C8E2-42DE-91E2-8A4BFAC3C0CB}" dt="2021-04-15T15:00:56.673" v="2350" actId="47"/>
        <pc:sldMkLst>
          <pc:docMk/>
          <pc:sldMk cId="1684634463" sldId="876"/>
        </pc:sldMkLst>
        <pc:spChg chg="mod">
          <ac:chgData name="Kisliuk, Adrian (ext)" userId="6e619ce3-2643-4cdf-9a13-b4c269650021" providerId="ADAL" clId="{91AF5212-C8E2-42DE-91E2-8A4BFAC3C0CB}" dt="2021-04-15T14:30:09.830" v="950" actId="948"/>
          <ac:spMkLst>
            <pc:docMk/>
            <pc:sldMk cId="1684634463" sldId="876"/>
            <ac:spMk id="2" creationId="{4F0A5095-4837-4DA6-90E9-57CA6A6D96D3}"/>
          </ac:spMkLst>
        </pc:spChg>
        <pc:spChg chg="add del mod modVis">
          <ac:chgData name="Kisliuk, Adrian (ext)" userId="6e619ce3-2643-4cdf-9a13-b4c269650021" providerId="ADAL" clId="{91AF5212-C8E2-42DE-91E2-8A4BFAC3C0CB}" dt="2021-04-15T14:28:34.440" v="669"/>
          <ac:spMkLst>
            <pc:docMk/>
            <pc:sldMk cId="1684634463" sldId="876"/>
            <ac:spMk id="5" creationId="{BB9B296C-C662-4120-BF97-A02118989704}"/>
          </ac:spMkLst>
        </pc:spChg>
        <pc:spChg chg="add del mod modVis">
          <ac:chgData name="Kisliuk, Adrian (ext)" userId="6e619ce3-2643-4cdf-9a13-b4c269650021" providerId="ADAL" clId="{91AF5212-C8E2-42DE-91E2-8A4BFAC3C0CB}" dt="2021-04-15T14:28:36.486" v="716"/>
          <ac:spMkLst>
            <pc:docMk/>
            <pc:sldMk cId="1684634463" sldId="876"/>
            <ac:spMk id="6" creationId="{2B853384-7DA9-4588-9845-079C2A13927C}"/>
          </ac:spMkLst>
        </pc:spChg>
        <pc:spChg chg="add del mod modVis">
          <ac:chgData name="Kisliuk, Adrian (ext)" userId="6e619ce3-2643-4cdf-9a13-b4c269650021" providerId="ADAL" clId="{91AF5212-C8E2-42DE-91E2-8A4BFAC3C0CB}" dt="2021-04-15T14:28:38.304" v="765"/>
          <ac:spMkLst>
            <pc:docMk/>
            <pc:sldMk cId="1684634463" sldId="876"/>
            <ac:spMk id="8" creationId="{6F7F5229-763E-4197-A19F-0A8D68EE03A6}"/>
          </ac:spMkLst>
        </pc:spChg>
        <pc:spChg chg="add del mod modVis">
          <ac:chgData name="Kisliuk, Adrian (ext)" userId="6e619ce3-2643-4cdf-9a13-b4c269650021" providerId="ADAL" clId="{91AF5212-C8E2-42DE-91E2-8A4BFAC3C0CB}" dt="2021-04-15T14:28:40.086" v="808"/>
          <ac:spMkLst>
            <pc:docMk/>
            <pc:sldMk cId="1684634463" sldId="876"/>
            <ac:spMk id="9" creationId="{68AAA2C9-AF5C-480E-8658-1630A764A367}"/>
          </ac:spMkLst>
        </pc:spChg>
        <pc:spChg chg="add del mod modVis">
          <ac:chgData name="Kisliuk, Adrian (ext)" userId="6e619ce3-2643-4cdf-9a13-b4c269650021" providerId="ADAL" clId="{91AF5212-C8E2-42DE-91E2-8A4BFAC3C0CB}" dt="2021-04-15T14:28:41.109" v="851"/>
          <ac:spMkLst>
            <pc:docMk/>
            <pc:sldMk cId="1684634463" sldId="876"/>
            <ac:spMk id="10" creationId="{CD7A2E6E-E025-4A45-9C01-A127DA102B96}"/>
          </ac:spMkLst>
        </pc:spChg>
        <pc:spChg chg="add del mod modVis">
          <ac:chgData name="Kisliuk, Adrian (ext)" userId="6e619ce3-2643-4cdf-9a13-b4c269650021" providerId="ADAL" clId="{91AF5212-C8E2-42DE-91E2-8A4BFAC3C0CB}" dt="2021-04-15T14:29:50.505" v="899"/>
          <ac:spMkLst>
            <pc:docMk/>
            <pc:sldMk cId="1684634463" sldId="876"/>
            <ac:spMk id="11" creationId="{655A7B41-FC48-4D04-96DB-4BB9086C29F4}"/>
          </ac:spMkLst>
        </pc:spChg>
        <pc:spChg chg="add del mod modVis">
          <ac:chgData name="Kisliuk, Adrian (ext)" userId="6e619ce3-2643-4cdf-9a13-b4c269650021" providerId="ADAL" clId="{91AF5212-C8E2-42DE-91E2-8A4BFAC3C0CB}" dt="2021-04-15T14:29:52.370" v="946"/>
          <ac:spMkLst>
            <pc:docMk/>
            <pc:sldMk cId="1684634463" sldId="876"/>
            <ac:spMk id="12" creationId="{71454106-B943-4BE5-AD90-2AB361D46EF4}"/>
          </ac:spMkLst>
        </pc:spChg>
        <pc:spChg chg="add del mod modVis">
          <ac:chgData name="Kisliuk, Adrian (ext)" userId="6e619ce3-2643-4cdf-9a13-b4c269650021" providerId="ADAL" clId="{91AF5212-C8E2-42DE-91E2-8A4BFAC3C0CB}" dt="2021-04-15T14:30:09.857" v="987"/>
          <ac:spMkLst>
            <pc:docMk/>
            <pc:sldMk cId="1684634463" sldId="876"/>
            <ac:spMk id="13" creationId="{F8342FE5-FF2F-4996-BFFD-23530F1A23C1}"/>
          </ac:spMkLst>
        </pc:spChg>
        <pc:spChg chg="add mod">
          <ac:chgData name="Kisliuk, Adrian (ext)" userId="6e619ce3-2643-4cdf-9a13-b4c269650021" providerId="ADAL" clId="{91AF5212-C8E2-42DE-91E2-8A4BFAC3C0CB}" dt="2021-04-15T14:34:44.921" v="1073" actId="20577"/>
          <ac:spMkLst>
            <pc:docMk/>
            <pc:sldMk cId="1684634463" sldId="876"/>
            <ac:spMk id="14" creationId="{FC7E801E-B745-4B9C-95FC-BB249BF5EEDA}"/>
          </ac:spMkLst>
        </pc:spChg>
        <pc:spChg chg="add mod">
          <ac:chgData name="Kisliuk, Adrian (ext)" userId="6e619ce3-2643-4cdf-9a13-b4c269650021" providerId="ADAL" clId="{91AF5212-C8E2-42DE-91E2-8A4BFAC3C0CB}" dt="2021-04-15T14:34:40.619" v="1072" actId="1076"/>
          <ac:spMkLst>
            <pc:docMk/>
            <pc:sldMk cId="1684634463" sldId="876"/>
            <ac:spMk id="15" creationId="{D72D106A-2EB6-4EED-8CE5-D978679D31E5}"/>
          </ac:spMkLst>
        </pc:spChg>
        <pc:spChg chg="add mod">
          <ac:chgData name="Kisliuk, Adrian (ext)" userId="6e619ce3-2643-4cdf-9a13-b4c269650021" providerId="ADAL" clId="{91AF5212-C8E2-42DE-91E2-8A4BFAC3C0CB}" dt="2021-04-15T14:34:47.235" v="1074" actId="1076"/>
          <ac:spMkLst>
            <pc:docMk/>
            <pc:sldMk cId="1684634463" sldId="876"/>
            <ac:spMk id="16" creationId="{77582934-EC6B-4B8E-A8EC-7EDB92BECEE4}"/>
          </ac:spMkLst>
        </pc:spChg>
        <pc:spChg chg="add mod">
          <ac:chgData name="Kisliuk, Adrian (ext)" userId="6e619ce3-2643-4cdf-9a13-b4c269650021" providerId="ADAL" clId="{91AF5212-C8E2-42DE-91E2-8A4BFAC3C0CB}" dt="2021-04-15T14:31:38.699" v="1059" actId="20577"/>
          <ac:spMkLst>
            <pc:docMk/>
            <pc:sldMk cId="1684634463" sldId="876"/>
            <ac:spMk id="17" creationId="{45B2011C-7341-4255-9348-1F5CBFAC150C}"/>
          </ac:spMkLst>
        </pc:spChg>
        <pc:graphicFrameChg chg="mod">
          <ac:chgData name="Kisliuk, Adrian (ext)" userId="6e619ce3-2643-4cdf-9a13-b4c269650021" providerId="ADAL" clId="{91AF5212-C8E2-42DE-91E2-8A4BFAC3C0CB}" dt="2021-04-15T14:30:09.859" v="989"/>
          <ac:graphicFrameMkLst>
            <pc:docMk/>
            <pc:sldMk cId="1684634463" sldId="876"/>
            <ac:graphicFrameMk id="4" creationId="{C83F301A-78A1-4983-9CB8-1A10622AAB94}"/>
          </ac:graphicFrameMkLst>
        </pc:graphicFrameChg>
        <pc:graphicFrameChg chg="del">
          <ac:chgData name="Kisliuk, Adrian (ext)" userId="6e619ce3-2643-4cdf-9a13-b4c269650021" providerId="ADAL" clId="{91AF5212-C8E2-42DE-91E2-8A4BFAC3C0CB}" dt="2021-04-15T14:28:31.440" v="629" actId="478"/>
          <ac:graphicFrameMkLst>
            <pc:docMk/>
            <pc:sldMk cId="1684634463" sldId="876"/>
            <ac:graphicFrameMk id="7" creationId="{03BBE539-69A4-4259-81B2-E5119E0E37B0}"/>
          </ac:graphicFrameMkLst>
        </pc:graphicFrameChg>
      </pc:sldChg>
      <pc:sldChg chg="addSp delSp modSp add mod">
        <pc:chgData name="Kisliuk, Adrian (ext)" userId="6e619ce3-2643-4cdf-9a13-b4c269650021" providerId="ADAL" clId="{91AF5212-C8E2-42DE-91E2-8A4BFAC3C0CB}" dt="2021-04-15T14:50:24.446" v="1654"/>
        <pc:sldMkLst>
          <pc:docMk/>
          <pc:sldMk cId="476882913" sldId="877"/>
        </pc:sldMkLst>
        <pc:spChg chg="mod">
          <ac:chgData name="Kisliuk, Adrian (ext)" userId="6e619ce3-2643-4cdf-9a13-b4c269650021" providerId="ADAL" clId="{91AF5212-C8E2-42DE-91E2-8A4BFAC3C0CB}" dt="2021-04-15T14:50:24.418" v="1615" actId="948"/>
          <ac:spMkLst>
            <pc:docMk/>
            <pc:sldMk cId="476882913" sldId="877"/>
            <ac:spMk id="2" creationId="{4F0A5095-4837-4DA6-90E9-57CA6A6D96D3}"/>
          </ac:spMkLst>
        </pc:spChg>
        <pc:spChg chg="add del mod modVis">
          <ac:chgData name="Kisliuk, Adrian (ext)" userId="6e619ce3-2643-4cdf-9a13-b4c269650021" providerId="ADAL" clId="{91AF5212-C8E2-42DE-91E2-8A4BFAC3C0CB}" dt="2021-04-15T14:47:55.891" v="1470"/>
          <ac:spMkLst>
            <pc:docMk/>
            <pc:sldMk cId="476882913" sldId="877"/>
            <ac:spMk id="5" creationId="{EC76404C-9ADE-4E98-BD96-CA62236A39EF}"/>
          </ac:spMkLst>
        </pc:spChg>
        <pc:spChg chg="add del mod modVis">
          <ac:chgData name="Kisliuk, Adrian (ext)" userId="6e619ce3-2643-4cdf-9a13-b4c269650021" providerId="ADAL" clId="{91AF5212-C8E2-42DE-91E2-8A4BFAC3C0CB}" dt="2021-04-15T14:50:24.445" v="1652"/>
          <ac:spMkLst>
            <pc:docMk/>
            <pc:sldMk cId="476882913" sldId="877"/>
            <ac:spMk id="6" creationId="{F1102535-7AC6-4447-9372-C5FDACABA3BE}"/>
          </ac:spMkLst>
        </pc:spChg>
        <pc:graphicFrameChg chg="mod">
          <ac:chgData name="Kisliuk, Adrian (ext)" userId="6e619ce3-2643-4cdf-9a13-b4c269650021" providerId="ADAL" clId="{91AF5212-C8E2-42DE-91E2-8A4BFAC3C0CB}" dt="2021-04-15T14:50:24.446" v="1654"/>
          <ac:graphicFrameMkLst>
            <pc:docMk/>
            <pc:sldMk cId="476882913" sldId="877"/>
            <ac:graphicFrameMk id="4" creationId="{C83F301A-78A1-4983-9CB8-1A10622AAB94}"/>
          </ac:graphicFrameMkLst>
        </pc:graphicFrameChg>
        <pc:graphicFrameChg chg="modGraphic">
          <ac:chgData name="Kisliuk, Adrian (ext)" userId="6e619ce3-2643-4cdf-9a13-b4c269650021" providerId="ADAL" clId="{91AF5212-C8E2-42DE-91E2-8A4BFAC3C0CB}" dt="2021-04-15T14:48:19.377" v="1475" actId="2165"/>
          <ac:graphicFrameMkLst>
            <pc:docMk/>
            <pc:sldMk cId="476882913" sldId="877"/>
            <ac:graphicFrameMk id="7" creationId="{03BBE539-69A4-4259-81B2-E5119E0E37B0}"/>
          </ac:graphicFrameMkLst>
        </pc:graphicFrameChg>
      </pc:sldChg>
      <pc:sldChg chg="add del">
        <pc:chgData name="Kisliuk, Adrian (ext)" userId="6e619ce3-2643-4cdf-9a13-b4c269650021" providerId="ADAL" clId="{91AF5212-C8E2-42DE-91E2-8A4BFAC3C0CB}" dt="2021-04-15T14:38:53.065" v="1312" actId="47"/>
        <pc:sldMkLst>
          <pc:docMk/>
          <pc:sldMk cId="3384709218" sldId="877"/>
        </pc:sldMkLst>
      </pc:sldChg>
      <pc:sldChg chg="addSp delSp modSp add mod ord">
        <pc:chgData name="Kisliuk, Adrian (ext)" userId="6e619ce3-2643-4cdf-9a13-b4c269650021" providerId="ADAL" clId="{91AF5212-C8E2-42DE-91E2-8A4BFAC3C0CB}" dt="2021-04-15T15:02:36.607" v="2444"/>
        <pc:sldMkLst>
          <pc:docMk/>
          <pc:sldMk cId="1349561212" sldId="878"/>
        </pc:sldMkLst>
        <pc:spChg chg="mod">
          <ac:chgData name="Kisliuk, Adrian (ext)" userId="6e619ce3-2643-4cdf-9a13-b4c269650021" providerId="ADAL" clId="{91AF5212-C8E2-42DE-91E2-8A4BFAC3C0CB}" dt="2021-04-15T15:01:25.645" v="2394" actId="948"/>
          <ac:spMkLst>
            <pc:docMk/>
            <pc:sldMk cId="1349561212" sldId="878"/>
            <ac:spMk id="2" creationId="{4F0A5095-4837-4DA6-90E9-57CA6A6D96D3}"/>
          </ac:spMkLst>
        </pc:spChg>
        <pc:spChg chg="add del mod modVis">
          <ac:chgData name="Kisliuk, Adrian (ext)" userId="6e619ce3-2643-4cdf-9a13-b4c269650021" providerId="ADAL" clId="{91AF5212-C8E2-42DE-91E2-8A4BFAC3C0CB}" dt="2021-04-15T15:01:22.972" v="2390"/>
          <ac:spMkLst>
            <pc:docMk/>
            <pc:sldMk cId="1349561212" sldId="878"/>
            <ac:spMk id="5" creationId="{37823C91-3123-4CCE-B545-A21E8B612075}"/>
          </ac:spMkLst>
        </pc:spChg>
        <pc:spChg chg="add del mod modVis">
          <ac:chgData name="Kisliuk, Adrian (ext)" userId="6e619ce3-2643-4cdf-9a13-b4c269650021" providerId="ADAL" clId="{91AF5212-C8E2-42DE-91E2-8A4BFAC3C0CB}" dt="2021-04-15T15:01:25.685" v="2431"/>
          <ac:spMkLst>
            <pc:docMk/>
            <pc:sldMk cId="1349561212" sldId="878"/>
            <ac:spMk id="6" creationId="{8444C4A6-826C-4953-AB1B-61232C5CF2C7}"/>
          </ac:spMkLst>
        </pc:spChg>
        <pc:graphicFrameChg chg="mod">
          <ac:chgData name="Kisliuk, Adrian (ext)" userId="6e619ce3-2643-4cdf-9a13-b4c269650021" providerId="ADAL" clId="{91AF5212-C8E2-42DE-91E2-8A4BFAC3C0CB}" dt="2021-04-15T15:01:25.687" v="2433"/>
          <ac:graphicFrameMkLst>
            <pc:docMk/>
            <pc:sldMk cId="1349561212" sldId="878"/>
            <ac:graphicFrameMk id="4" creationId="{C83F301A-78A1-4983-9CB8-1A10622AAB94}"/>
          </ac:graphicFrameMkLst>
        </pc:graphicFrameChg>
        <pc:graphicFrameChg chg="modGraphic">
          <ac:chgData name="Kisliuk, Adrian (ext)" userId="6e619ce3-2643-4cdf-9a13-b4c269650021" providerId="ADAL" clId="{91AF5212-C8E2-42DE-91E2-8A4BFAC3C0CB}" dt="2021-04-15T15:02:03.323" v="2440" actId="113"/>
          <ac:graphicFrameMkLst>
            <pc:docMk/>
            <pc:sldMk cId="1349561212" sldId="878"/>
            <ac:graphicFrameMk id="11" creationId="{DA95A6DF-05B3-4364-96B6-B05A3911B7BF}"/>
          </ac:graphicFrameMkLst>
        </pc:graphicFrameChg>
      </pc:sldChg>
    </pc:docChg>
  </pc:docChgLst>
  <pc:docChgLst>
    <pc:chgData name="Adrian Kisliuk" userId="81f189f0-3ed9-4f29-a7b1-770f7af93676" providerId="ADAL" clId="{B279C86E-D63F-45C2-ADD0-745373E4BD67}"/>
    <pc:docChg chg="undo redo custSel addSld delSld modSld sldOrd">
      <pc:chgData name="Adrian Kisliuk" userId="81f189f0-3ed9-4f29-a7b1-770f7af93676" providerId="ADAL" clId="{B279C86E-D63F-45C2-ADD0-745373E4BD67}" dt="2021-02-07T14:22:37.146" v="703"/>
      <pc:docMkLst>
        <pc:docMk/>
      </pc:docMkLst>
      <pc:sldChg chg="del">
        <pc:chgData name="Adrian Kisliuk" userId="81f189f0-3ed9-4f29-a7b1-770f7af93676" providerId="ADAL" clId="{B279C86E-D63F-45C2-ADD0-745373E4BD67}" dt="2021-02-07T14:01:29.068" v="616" actId="47"/>
        <pc:sldMkLst>
          <pc:docMk/>
          <pc:sldMk cId="1327067909" sldId="303"/>
        </pc:sldMkLst>
      </pc:sldChg>
      <pc:sldChg chg="addSp delSp modSp add del mod">
        <pc:chgData name="Adrian Kisliuk" userId="81f189f0-3ed9-4f29-a7b1-770f7af93676" providerId="ADAL" clId="{B279C86E-D63F-45C2-ADD0-745373E4BD67}" dt="2021-02-07T14:18:26.346" v="647" actId="207"/>
        <pc:sldMkLst>
          <pc:docMk/>
          <pc:sldMk cId="1000530360" sldId="306"/>
        </pc:sldMkLst>
        <pc:spChg chg="add del">
          <ac:chgData name="Adrian Kisliuk" userId="81f189f0-3ed9-4f29-a7b1-770f7af93676" providerId="ADAL" clId="{B279C86E-D63F-45C2-ADD0-745373E4BD67}" dt="2021-02-07T14:14:01.397" v="637" actId="21"/>
          <ac:spMkLst>
            <pc:docMk/>
            <pc:sldMk cId="1000530360" sldId="306"/>
            <ac:spMk id="2" creationId="{2C6AABAB-3D86-4A4A-B15B-CF6D81E325EF}"/>
          </ac:spMkLst>
        </pc:spChg>
        <pc:spChg chg="mod">
          <ac:chgData name="Adrian Kisliuk" userId="81f189f0-3ed9-4f29-a7b1-770f7af93676" providerId="ADAL" clId="{B279C86E-D63F-45C2-ADD0-745373E4BD67}" dt="2021-02-07T14:06:12.106" v="627" actId="207"/>
          <ac:spMkLst>
            <pc:docMk/>
            <pc:sldMk cId="1000530360" sldId="306"/>
            <ac:spMk id="3" creationId="{00000000-0000-0000-0000-000000000000}"/>
          </ac:spMkLst>
        </pc:spChg>
        <pc:spChg chg="mod">
          <ac:chgData name="Adrian Kisliuk" userId="81f189f0-3ed9-4f29-a7b1-770f7af93676" providerId="ADAL" clId="{B279C86E-D63F-45C2-ADD0-745373E4BD67}" dt="2021-02-07T14:06:12.106" v="627" actId="207"/>
          <ac:spMkLst>
            <pc:docMk/>
            <pc:sldMk cId="1000530360" sldId="306"/>
            <ac:spMk id="6" creationId="{00000000-0000-0000-0000-000000000000}"/>
          </ac:spMkLst>
        </pc:spChg>
        <pc:spChg chg="mod">
          <ac:chgData name="Adrian Kisliuk" userId="81f189f0-3ed9-4f29-a7b1-770f7af93676" providerId="ADAL" clId="{B279C86E-D63F-45C2-ADD0-745373E4BD67}" dt="2021-02-07T14:18:26.346" v="647" actId="207"/>
          <ac:spMkLst>
            <pc:docMk/>
            <pc:sldMk cId="1000530360" sldId="306"/>
            <ac:spMk id="8" creationId="{00000000-0000-0000-0000-000000000000}"/>
          </ac:spMkLst>
        </pc:spChg>
        <pc:spChg chg="add mod">
          <ac:chgData name="Adrian Kisliuk" userId="81f189f0-3ed9-4f29-a7b1-770f7af93676" providerId="ADAL" clId="{B279C86E-D63F-45C2-ADD0-745373E4BD67}" dt="2021-02-07T14:15:01.814" v="639"/>
          <ac:spMkLst>
            <pc:docMk/>
            <pc:sldMk cId="1000530360" sldId="306"/>
            <ac:spMk id="9" creationId="{D9E455C7-5469-45CE-A109-22DD58C88AC8}"/>
          </ac:spMkLst>
        </pc:spChg>
        <pc:picChg chg="add del mod ord">
          <ac:chgData name="Adrian Kisliuk" userId="81f189f0-3ed9-4f29-a7b1-770f7af93676" providerId="ADAL" clId="{B279C86E-D63F-45C2-ADD0-745373E4BD67}" dt="2021-02-07T14:06:15.164" v="630" actId="478"/>
          <ac:picMkLst>
            <pc:docMk/>
            <pc:sldMk cId="1000530360" sldId="306"/>
            <ac:picMk id="4" creationId="{687DB3C7-9728-4C96-9D68-C07BDB9C315E}"/>
          </ac:picMkLst>
        </pc:picChg>
        <pc:picChg chg="add mod ord">
          <ac:chgData name="Adrian Kisliuk" userId="81f189f0-3ed9-4f29-a7b1-770f7af93676" providerId="ADAL" clId="{B279C86E-D63F-45C2-ADD0-745373E4BD67}" dt="2021-02-07T14:18:09.799" v="644" actId="1076"/>
          <ac:picMkLst>
            <pc:docMk/>
            <pc:sldMk cId="1000530360" sldId="306"/>
            <ac:picMk id="7" creationId="{AE3BA756-F49A-4408-A693-59481EDBBDDD}"/>
          </ac:picMkLst>
        </pc:picChg>
      </pc:sldChg>
      <pc:sldChg chg="del">
        <pc:chgData name="Adrian Kisliuk" userId="81f189f0-3ed9-4f29-a7b1-770f7af93676" providerId="ADAL" clId="{B279C86E-D63F-45C2-ADD0-745373E4BD67}" dt="2021-02-07T14:01:29.068" v="616" actId="47"/>
        <pc:sldMkLst>
          <pc:docMk/>
          <pc:sldMk cId="968079691" sldId="312"/>
        </pc:sldMkLst>
      </pc:sldChg>
      <pc:sldChg chg="modSp mod">
        <pc:chgData name="Adrian Kisliuk" userId="81f189f0-3ed9-4f29-a7b1-770f7af93676" providerId="ADAL" clId="{B279C86E-D63F-45C2-ADD0-745373E4BD67}" dt="2021-02-07T13:34:40.383" v="297" actId="1076"/>
        <pc:sldMkLst>
          <pc:docMk/>
          <pc:sldMk cId="1616179656" sldId="350"/>
        </pc:sldMkLst>
        <pc:spChg chg="mod">
          <ac:chgData name="Adrian Kisliuk" userId="81f189f0-3ed9-4f29-a7b1-770f7af93676" providerId="ADAL" clId="{B279C86E-D63F-45C2-ADD0-745373E4BD67}" dt="2021-02-07T13:34:40.383" v="297" actId="1076"/>
          <ac:spMkLst>
            <pc:docMk/>
            <pc:sldMk cId="1616179656" sldId="350"/>
            <ac:spMk id="39" creationId="{A7DC8F3C-555C-4D4E-82A4-E279C5F47854}"/>
          </ac:spMkLst>
        </pc:spChg>
      </pc:sldChg>
      <pc:sldChg chg="modSp mod">
        <pc:chgData name="Adrian Kisliuk" userId="81f189f0-3ed9-4f29-a7b1-770f7af93676" providerId="ADAL" clId="{B279C86E-D63F-45C2-ADD0-745373E4BD67}" dt="2021-02-07T14:00:13.787" v="576" actId="20577"/>
        <pc:sldMkLst>
          <pc:docMk/>
          <pc:sldMk cId="2159670343" sldId="395"/>
        </pc:sldMkLst>
        <pc:spChg chg="mod">
          <ac:chgData name="Adrian Kisliuk" userId="81f189f0-3ed9-4f29-a7b1-770f7af93676" providerId="ADAL" clId="{B279C86E-D63F-45C2-ADD0-745373E4BD67}" dt="2021-02-07T14:00:13.787" v="576" actId="20577"/>
          <ac:spMkLst>
            <pc:docMk/>
            <pc:sldMk cId="2159670343" sldId="395"/>
            <ac:spMk id="22" creationId="{00000000-0000-0000-0000-000000000000}"/>
          </ac:spMkLst>
        </pc:spChg>
      </pc:sldChg>
      <pc:sldChg chg="modSp mod">
        <pc:chgData name="Adrian Kisliuk" userId="81f189f0-3ed9-4f29-a7b1-770f7af93676" providerId="ADAL" clId="{B279C86E-D63F-45C2-ADD0-745373E4BD67}" dt="2021-02-07T14:01:22.003" v="615" actId="20577"/>
        <pc:sldMkLst>
          <pc:docMk/>
          <pc:sldMk cId="512011113" sldId="480"/>
        </pc:sldMkLst>
        <pc:spChg chg="mod">
          <ac:chgData name="Adrian Kisliuk" userId="81f189f0-3ed9-4f29-a7b1-770f7af93676" providerId="ADAL" clId="{B279C86E-D63F-45C2-ADD0-745373E4BD67}" dt="2021-02-07T14:01:22.003" v="615" actId="20577"/>
          <ac:spMkLst>
            <pc:docMk/>
            <pc:sldMk cId="512011113" sldId="480"/>
            <ac:spMk id="3" creationId="{00000000-0000-0000-0000-000000000000}"/>
          </ac:spMkLst>
        </pc:spChg>
        <pc:spChg chg="mod">
          <ac:chgData name="Adrian Kisliuk" userId="81f189f0-3ed9-4f29-a7b1-770f7af93676" providerId="ADAL" clId="{B279C86E-D63F-45C2-ADD0-745373E4BD67}" dt="2021-02-07T14:01:18.011" v="612" actId="5793"/>
          <ac:spMkLst>
            <pc:docMk/>
            <pc:sldMk cId="512011113" sldId="480"/>
            <ac:spMk id="10" creationId="{00000000-0000-0000-0000-000000000000}"/>
          </ac:spMkLst>
        </pc:spChg>
      </pc:sldChg>
      <pc:sldChg chg="del">
        <pc:chgData name="Adrian Kisliuk" userId="81f189f0-3ed9-4f29-a7b1-770f7af93676" providerId="ADAL" clId="{B279C86E-D63F-45C2-ADD0-745373E4BD67}" dt="2021-02-07T14:01:29.068" v="616" actId="47"/>
        <pc:sldMkLst>
          <pc:docMk/>
          <pc:sldMk cId="1263992570" sldId="481"/>
        </pc:sldMkLst>
      </pc:sldChg>
      <pc:sldChg chg="del">
        <pc:chgData name="Adrian Kisliuk" userId="81f189f0-3ed9-4f29-a7b1-770f7af93676" providerId="ADAL" clId="{B279C86E-D63F-45C2-ADD0-745373E4BD67}" dt="2021-02-07T14:01:29.068" v="616" actId="47"/>
        <pc:sldMkLst>
          <pc:docMk/>
          <pc:sldMk cId="138857588" sldId="482"/>
        </pc:sldMkLst>
      </pc:sldChg>
      <pc:sldChg chg="del">
        <pc:chgData name="Adrian Kisliuk" userId="81f189f0-3ed9-4f29-a7b1-770f7af93676" providerId="ADAL" clId="{B279C86E-D63F-45C2-ADD0-745373E4BD67}" dt="2021-02-07T14:01:29.068" v="616" actId="47"/>
        <pc:sldMkLst>
          <pc:docMk/>
          <pc:sldMk cId="3805048506" sldId="483"/>
        </pc:sldMkLst>
      </pc:sldChg>
      <pc:sldChg chg="addSp delSp modSp mod">
        <pc:chgData name="Adrian Kisliuk" userId="81f189f0-3ed9-4f29-a7b1-770f7af93676" providerId="ADAL" clId="{B279C86E-D63F-45C2-ADD0-745373E4BD67}" dt="2021-02-07T13:44:11.499" v="315" actId="2085"/>
        <pc:sldMkLst>
          <pc:docMk/>
          <pc:sldMk cId="1562960636" sldId="772"/>
        </pc:sldMkLst>
        <pc:spChg chg="add mod">
          <ac:chgData name="Adrian Kisliuk" userId="81f189f0-3ed9-4f29-a7b1-770f7af93676" providerId="ADAL" clId="{B279C86E-D63F-45C2-ADD0-745373E4BD67}" dt="2021-02-07T13:34:48.892" v="301"/>
          <ac:spMkLst>
            <pc:docMk/>
            <pc:sldMk cId="1562960636" sldId="772"/>
            <ac:spMk id="6" creationId="{60B8B0BD-9E5B-447E-BF09-B81C38A997AF}"/>
          </ac:spMkLst>
        </pc:spChg>
        <pc:spChg chg="del mod">
          <ac:chgData name="Adrian Kisliuk" userId="81f189f0-3ed9-4f29-a7b1-770f7af93676" providerId="ADAL" clId="{B279C86E-D63F-45C2-ADD0-745373E4BD67}" dt="2021-02-07T13:34:48.415" v="300" actId="478"/>
          <ac:spMkLst>
            <pc:docMk/>
            <pc:sldMk cId="1562960636" sldId="772"/>
            <ac:spMk id="8" creationId="{B78F5D22-7D21-4512-8D14-D6802F7C739E}"/>
          </ac:spMkLst>
        </pc:spChg>
        <pc:spChg chg="mod">
          <ac:chgData name="Adrian Kisliuk" userId="81f189f0-3ed9-4f29-a7b1-770f7af93676" providerId="ADAL" clId="{B279C86E-D63F-45C2-ADD0-745373E4BD67}" dt="2021-02-07T13:44:11.499" v="315" actId="2085"/>
          <ac:spMkLst>
            <pc:docMk/>
            <pc:sldMk cId="1562960636" sldId="772"/>
            <ac:spMk id="13" creationId="{00000000-0000-0000-0000-000000000000}"/>
          </ac:spMkLst>
        </pc:spChg>
        <pc:picChg chg="add mod">
          <ac:chgData name="Adrian Kisliuk" userId="81f189f0-3ed9-4f29-a7b1-770f7af93676" providerId="ADAL" clId="{B279C86E-D63F-45C2-ADD0-745373E4BD67}" dt="2021-02-07T13:44:00.737" v="314" actId="1076"/>
          <ac:picMkLst>
            <pc:docMk/>
            <pc:sldMk cId="1562960636" sldId="772"/>
            <ac:picMk id="4" creationId="{422C2EF3-18ED-4C28-AF83-BE2DA3162F61}"/>
          </ac:picMkLst>
        </pc:picChg>
      </pc:sldChg>
      <pc:sldChg chg="del">
        <pc:chgData name="Adrian Kisliuk" userId="81f189f0-3ed9-4f29-a7b1-770f7af93676" providerId="ADAL" clId="{B279C86E-D63F-45C2-ADD0-745373E4BD67}" dt="2021-02-07T13:17:57.791" v="12" actId="47"/>
        <pc:sldMkLst>
          <pc:docMk/>
          <pc:sldMk cId="552320398" sldId="782"/>
        </pc:sldMkLst>
      </pc:sldChg>
      <pc:sldChg chg="del">
        <pc:chgData name="Adrian Kisliuk" userId="81f189f0-3ed9-4f29-a7b1-770f7af93676" providerId="ADAL" clId="{B279C86E-D63F-45C2-ADD0-745373E4BD67}" dt="2021-02-07T13:17:01.403" v="4" actId="47"/>
        <pc:sldMkLst>
          <pc:docMk/>
          <pc:sldMk cId="3364872823" sldId="784"/>
        </pc:sldMkLst>
      </pc:sldChg>
      <pc:sldChg chg="addSp delSp modSp del mod">
        <pc:chgData name="Adrian Kisliuk" userId="81f189f0-3ed9-4f29-a7b1-770f7af93676" providerId="ADAL" clId="{B279C86E-D63F-45C2-ADD0-745373E4BD67}" dt="2021-02-07T13:54:01.472" v="368" actId="47"/>
        <pc:sldMkLst>
          <pc:docMk/>
          <pc:sldMk cId="331093303" sldId="786"/>
        </pc:sldMkLst>
        <pc:graphicFrameChg chg="add del mod">
          <ac:chgData name="Adrian Kisliuk" userId="81f189f0-3ed9-4f29-a7b1-770f7af93676" providerId="ADAL" clId="{B279C86E-D63F-45C2-ADD0-745373E4BD67}" dt="2021-02-07T13:46:27.570" v="317" actId="478"/>
          <ac:graphicFrameMkLst>
            <pc:docMk/>
            <pc:sldMk cId="331093303" sldId="786"/>
            <ac:graphicFrameMk id="2" creationId="{BD65879F-DB34-42F8-A39C-347434AED3C6}"/>
          </ac:graphicFrameMkLst>
        </pc:graphicFrameChg>
        <pc:picChg chg="add del mod ord">
          <ac:chgData name="Adrian Kisliuk" userId="81f189f0-3ed9-4f29-a7b1-770f7af93676" providerId="ADAL" clId="{B279C86E-D63F-45C2-ADD0-745373E4BD67}" dt="2021-02-07T13:48:36.320" v="329" actId="478"/>
          <ac:picMkLst>
            <pc:docMk/>
            <pc:sldMk cId="331093303" sldId="786"/>
            <ac:picMk id="5" creationId="{A94D4FDF-198C-4262-8CEE-A0E6A017997D}"/>
          </ac:picMkLst>
        </pc:picChg>
      </pc:sldChg>
      <pc:sldChg chg="del">
        <pc:chgData name="Adrian Kisliuk" userId="81f189f0-3ed9-4f29-a7b1-770f7af93676" providerId="ADAL" clId="{B279C86E-D63F-45C2-ADD0-745373E4BD67}" dt="2021-02-07T13:17:05.115" v="5" actId="47"/>
        <pc:sldMkLst>
          <pc:docMk/>
          <pc:sldMk cId="1051082620" sldId="789"/>
        </pc:sldMkLst>
      </pc:sldChg>
      <pc:sldChg chg="del">
        <pc:chgData name="Adrian Kisliuk" userId="81f189f0-3ed9-4f29-a7b1-770f7af93676" providerId="ADAL" clId="{B279C86E-D63F-45C2-ADD0-745373E4BD67}" dt="2021-02-07T13:17:06.236" v="6" actId="47"/>
        <pc:sldMkLst>
          <pc:docMk/>
          <pc:sldMk cId="2783263837" sldId="790"/>
        </pc:sldMkLst>
      </pc:sldChg>
      <pc:sldChg chg="del">
        <pc:chgData name="Adrian Kisliuk" userId="81f189f0-3ed9-4f29-a7b1-770f7af93676" providerId="ADAL" clId="{B279C86E-D63F-45C2-ADD0-745373E4BD67}" dt="2021-02-07T13:17:06.880" v="7" actId="47"/>
        <pc:sldMkLst>
          <pc:docMk/>
          <pc:sldMk cId="2069920512" sldId="791"/>
        </pc:sldMkLst>
      </pc:sldChg>
      <pc:sldChg chg="add del">
        <pc:chgData name="Adrian Kisliuk" userId="81f189f0-3ed9-4f29-a7b1-770f7af93676" providerId="ADAL" clId="{B279C86E-D63F-45C2-ADD0-745373E4BD67}" dt="2021-02-07T13:17:14.199" v="10" actId="47"/>
        <pc:sldMkLst>
          <pc:docMk/>
          <pc:sldMk cId="633585633" sldId="792"/>
        </pc:sldMkLst>
      </pc:sldChg>
      <pc:sldChg chg="addSp delSp modSp mod">
        <pc:chgData name="Adrian Kisliuk" userId="81f189f0-3ed9-4f29-a7b1-770f7af93676" providerId="ADAL" clId="{B279C86E-D63F-45C2-ADD0-745373E4BD67}" dt="2021-02-07T13:34:43.796" v="299"/>
        <pc:sldMkLst>
          <pc:docMk/>
          <pc:sldMk cId="1865496842" sldId="793"/>
        </pc:sldMkLst>
        <pc:spChg chg="add mod">
          <ac:chgData name="Adrian Kisliuk" userId="81f189f0-3ed9-4f29-a7b1-770f7af93676" providerId="ADAL" clId="{B279C86E-D63F-45C2-ADD0-745373E4BD67}" dt="2021-02-07T13:34:43.796" v="299"/>
          <ac:spMkLst>
            <pc:docMk/>
            <pc:sldMk cId="1865496842" sldId="793"/>
            <ac:spMk id="37" creationId="{B9E6B739-F657-4A5C-BCA4-2B622305DB37}"/>
          </ac:spMkLst>
        </pc:spChg>
        <pc:spChg chg="del">
          <ac:chgData name="Adrian Kisliuk" userId="81f189f0-3ed9-4f29-a7b1-770f7af93676" providerId="ADAL" clId="{B279C86E-D63F-45C2-ADD0-745373E4BD67}" dt="2021-02-07T13:34:43.435" v="298" actId="478"/>
          <ac:spMkLst>
            <pc:docMk/>
            <pc:sldMk cId="1865496842" sldId="793"/>
            <ac:spMk id="39" creationId="{A7DC8F3C-555C-4D4E-82A4-E279C5F47854}"/>
          </ac:spMkLst>
        </pc:spChg>
      </pc:sldChg>
      <pc:sldChg chg="add del">
        <pc:chgData name="Adrian Kisliuk" userId="81f189f0-3ed9-4f29-a7b1-770f7af93676" providerId="ADAL" clId="{B279C86E-D63F-45C2-ADD0-745373E4BD67}" dt="2021-02-07T13:16:04.363" v="2"/>
        <pc:sldMkLst>
          <pc:docMk/>
          <pc:sldMk cId="1763557898" sldId="794"/>
        </pc:sldMkLst>
      </pc:sldChg>
      <pc:sldChg chg="add">
        <pc:chgData name="Adrian Kisliuk" userId="81f189f0-3ed9-4f29-a7b1-770f7af93676" providerId="ADAL" clId="{B279C86E-D63F-45C2-ADD0-745373E4BD67}" dt="2021-02-07T13:16:18.273" v="3"/>
        <pc:sldMkLst>
          <pc:docMk/>
          <pc:sldMk cId="2407910274" sldId="794"/>
        </pc:sldMkLst>
      </pc:sldChg>
      <pc:sldChg chg="add del">
        <pc:chgData name="Adrian Kisliuk" userId="81f189f0-3ed9-4f29-a7b1-770f7af93676" providerId="ADAL" clId="{B279C86E-D63F-45C2-ADD0-745373E4BD67}" dt="2021-02-07T13:16:04.363" v="2"/>
        <pc:sldMkLst>
          <pc:docMk/>
          <pc:sldMk cId="271147740" sldId="795"/>
        </pc:sldMkLst>
      </pc:sldChg>
      <pc:sldChg chg="add">
        <pc:chgData name="Adrian Kisliuk" userId="81f189f0-3ed9-4f29-a7b1-770f7af93676" providerId="ADAL" clId="{B279C86E-D63F-45C2-ADD0-745373E4BD67}" dt="2021-02-07T13:16:18.273" v="3"/>
        <pc:sldMkLst>
          <pc:docMk/>
          <pc:sldMk cId="2409535806" sldId="795"/>
        </pc:sldMkLst>
      </pc:sldChg>
      <pc:sldChg chg="add del">
        <pc:chgData name="Adrian Kisliuk" userId="81f189f0-3ed9-4f29-a7b1-770f7af93676" providerId="ADAL" clId="{B279C86E-D63F-45C2-ADD0-745373E4BD67}" dt="2021-02-07T13:16:04.363" v="2"/>
        <pc:sldMkLst>
          <pc:docMk/>
          <pc:sldMk cId="1296002166" sldId="796"/>
        </pc:sldMkLst>
      </pc:sldChg>
      <pc:sldChg chg="add">
        <pc:chgData name="Adrian Kisliuk" userId="81f189f0-3ed9-4f29-a7b1-770f7af93676" providerId="ADAL" clId="{B279C86E-D63F-45C2-ADD0-745373E4BD67}" dt="2021-02-07T13:16:18.273" v="3"/>
        <pc:sldMkLst>
          <pc:docMk/>
          <pc:sldMk cId="1488434264" sldId="796"/>
        </pc:sldMkLst>
      </pc:sldChg>
      <pc:sldChg chg="add">
        <pc:chgData name="Adrian Kisliuk" userId="81f189f0-3ed9-4f29-a7b1-770f7af93676" providerId="ADAL" clId="{B279C86E-D63F-45C2-ADD0-745373E4BD67}" dt="2021-02-07T13:16:18.273" v="3"/>
        <pc:sldMkLst>
          <pc:docMk/>
          <pc:sldMk cId="2425059267" sldId="797"/>
        </pc:sldMkLst>
      </pc:sldChg>
      <pc:sldChg chg="add del">
        <pc:chgData name="Adrian Kisliuk" userId="81f189f0-3ed9-4f29-a7b1-770f7af93676" providerId="ADAL" clId="{B279C86E-D63F-45C2-ADD0-745373E4BD67}" dt="2021-02-07T13:16:04.363" v="2"/>
        <pc:sldMkLst>
          <pc:docMk/>
          <pc:sldMk cId="4053824951" sldId="797"/>
        </pc:sldMkLst>
      </pc:sldChg>
      <pc:sldChg chg="add del">
        <pc:chgData name="Adrian Kisliuk" userId="81f189f0-3ed9-4f29-a7b1-770f7af93676" providerId="ADAL" clId="{B279C86E-D63F-45C2-ADD0-745373E4BD67}" dt="2021-02-07T13:16:04.363" v="2"/>
        <pc:sldMkLst>
          <pc:docMk/>
          <pc:sldMk cId="447521300" sldId="798"/>
        </pc:sldMkLst>
      </pc:sldChg>
      <pc:sldChg chg="add">
        <pc:chgData name="Adrian Kisliuk" userId="81f189f0-3ed9-4f29-a7b1-770f7af93676" providerId="ADAL" clId="{B279C86E-D63F-45C2-ADD0-745373E4BD67}" dt="2021-02-07T13:16:18.273" v="3"/>
        <pc:sldMkLst>
          <pc:docMk/>
          <pc:sldMk cId="3589037210" sldId="798"/>
        </pc:sldMkLst>
      </pc:sldChg>
      <pc:sldChg chg="modSp add mod">
        <pc:chgData name="Adrian Kisliuk" userId="81f189f0-3ed9-4f29-a7b1-770f7af93676" providerId="ADAL" clId="{B279C86E-D63F-45C2-ADD0-745373E4BD67}" dt="2021-02-07T13:57:21.519" v="484" actId="14100"/>
        <pc:sldMkLst>
          <pc:docMk/>
          <pc:sldMk cId="1956313589" sldId="799"/>
        </pc:sldMkLst>
        <pc:graphicFrameChg chg="modGraphic">
          <ac:chgData name="Adrian Kisliuk" userId="81f189f0-3ed9-4f29-a7b1-770f7af93676" providerId="ADAL" clId="{B279C86E-D63F-45C2-ADD0-745373E4BD67}" dt="2021-02-07T13:57:21.519" v="484" actId="14100"/>
          <ac:graphicFrameMkLst>
            <pc:docMk/>
            <pc:sldMk cId="1956313589" sldId="799"/>
            <ac:graphicFrameMk id="11" creationId="{FF10CA16-74F9-4260-93E9-F994C8B3E186}"/>
          </ac:graphicFrameMkLst>
        </pc:graphicFrameChg>
      </pc:sldChg>
      <pc:sldChg chg="modSp add del mod setBg">
        <pc:chgData name="Adrian Kisliuk" userId="81f189f0-3ed9-4f29-a7b1-770f7af93676" providerId="ADAL" clId="{B279C86E-D63F-45C2-ADD0-745373E4BD67}" dt="2021-02-07T13:33:40.679" v="293" actId="47"/>
        <pc:sldMkLst>
          <pc:docMk/>
          <pc:sldMk cId="1655024882" sldId="800"/>
        </pc:sldMkLst>
        <pc:spChg chg="mod">
          <ac:chgData name="Adrian Kisliuk" userId="81f189f0-3ed9-4f29-a7b1-770f7af93676" providerId="ADAL" clId="{B279C86E-D63F-45C2-ADD0-745373E4BD67}" dt="2021-02-07T13:19:42.569" v="68" actId="20577"/>
          <ac:spMkLst>
            <pc:docMk/>
            <pc:sldMk cId="1655024882" sldId="800"/>
            <ac:spMk id="2" creationId="{848724A1-8D9B-4E48-BEA8-7DD98666F28D}"/>
          </ac:spMkLst>
        </pc:spChg>
      </pc:sldChg>
      <pc:sldChg chg="addSp delSp modSp add mod">
        <pc:chgData name="Adrian Kisliuk" userId="81f189f0-3ed9-4f29-a7b1-770f7af93676" providerId="ADAL" clId="{B279C86E-D63F-45C2-ADD0-745373E4BD67}" dt="2021-02-07T13:33:09.748" v="292" actId="108"/>
        <pc:sldMkLst>
          <pc:docMk/>
          <pc:sldMk cId="1177755287" sldId="801"/>
        </pc:sldMkLst>
        <pc:spChg chg="mod">
          <ac:chgData name="Adrian Kisliuk" userId="81f189f0-3ed9-4f29-a7b1-770f7af93676" providerId="ADAL" clId="{B279C86E-D63F-45C2-ADD0-745373E4BD67}" dt="2021-02-07T13:24:07.625" v="171" actId="20577"/>
          <ac:spMkLst>
            <pc:docMk/>
            <pc:sldMk cId="1177755287" sldId="801"/>
            <ac:spMk id="3" creationId="{00000000-0000-0000-0000-000000000000}"/>
          </ac:spMkLst>
        </pc:spChg>
        <pc:spChg chg="mod">
          <ac:chgData name="Adrian Kisliuk" userId="81f189f0-3ed9-4f29-a7b1-770f7af93676" providerId="ADAL" clId="{B279C86E-D63F-45C2-ADD0-745373E4BD67}" dt="2021-02-07T13:20:05.594" v="97" actId="20577"/>
          <ac:spMkLst>
            <pc:docMk/>
            <pc:sldMk cId="1177755287" sldId="801"/>
            <ac:spMk id="4" creationId="{00000000-0000-0000-0000-000000000000}"/>
          </ac:spMkLst>
        </pc:spChg>
        <pc:spChg chg="del">
          <ac:chgData name="Adrian Kisliuk" userId="81f189f0-3ed9-4f29-a7b1-770f7af93676" providerId="ADAL" clId="{B279C86E-D63F-45C2-ADD0-745373E4BD67}" dt="2021-02-07T13:20:16.170" v="98" actId="478"/>
          <ac:spMkLst>
            <pc:docMk/>
            <pc:sldMk cId="1177755287" sldId="801"/>
            <ac:spMk id="6" creationId="{00000000-0000-0000-0000-000000000000}"/>
          </ac:spMkLst>
        </pc:spChg>
        <pc:spChg chg="del">
          <ac:chgData name="Adrian Kisliuk" userId="81f189f0-3ed9-4f29-a7b1-770f7af93676" providerId="ADAL" clId="{B279C86E-D63F-45C2-ADD0-745373E4BD67}" dt="2021-02-07T13:20:16.170" v="98" actId="478"/>
          <ac:spMkLst>
            <pc:docMk/>
            <pc:sldMk cId="1177755287" sldId="801"/>
            <ac:spMk id="7" creationId="{00000000-0000-0000-0000-000000000000}"/>
          </ac:spMkLst>
        </pc:spChg>
        <pc:spChg chg="del">
          <ac:chgData name="Adrian Kisliuk" userId="81f189f0-3ed9-4f29-a7b1-770f7af93676" providerId="ADAL" clId="{B279C86E-D63F-45C2-ADD0-745373E4BD67}" dt="2021-02-07T13:20:16.170" v="98" actId="478"/>
          <ac:spMkLst>
            <pc:docMk/>
            <pc:sldMk cId="1177755287" sldId="801"/>
            <ac:spMk id="13" creationId="{A42CB132-2B8B-4431-8519-9124B550642E}"/>
          </ac:spMkLst>
        </pc:spChg>
        <pc:spChg chg="del">
          <ac:chgData name="Adrian Kisliuk" userId="81f189f0-3ed9-4f29-a7b1-770f7af93676" providerId="ADAL" clId="{B279C86E-D63F-45C2-ADD0-745373E4BD67}" dt="2021-02-07T13:20:16.170" v="98" actId="478"/>
          <ac:spMkLst>
            <pc:docMk/>
            <pc:sldMk cId="1177755287" sldId="801"/>
            <ac:spMk id="22" creationId="{69C0E85C-B0C1-4540-B510-F32AAC079FE0}"/>
          </ac:spMkLst>
        </pc:spChg>
        <pc:spChg chg="del">
          <ac:chgData name="Adrian Kisliuk" userId="81f189f0-3ed9-4f29-a7b1-770f7af93676" providerId="ADAL" clId="{B279C86E-D63F-45C2-ADD0-745373E4BD67}" dt="2021-02-07T13:20:16.170" v="98" actId="478"/>
          <ac:spMkLst>
            <pc:docMk/>
            <pc:sldMk cId="1177755287" sldId="801"/>
            <ac:spMk id="26" creationId="{AA7C1736-7B5E-48F9-A847-2B654B5A7A3C}"/>
          </ac:spMkLst>
        </pc:spChg>
        <pc:spChg chg="del">
          <ac:chgData name="Adrian Kisliuk" userId="81f189f0-3ed9-4f29-a7b1-770f7af93676" providerId="ADAL" clId="{B279C86E-D63F-45C2-ADD0-745373E4BD67}" dt="2021-02-07T13:20:16.170" v="98" actId="478"/>
          <ac:spMkLst>
            <pc:docMk/>
            <pc:sldMk cId="1177755287" sldId="801"/>
            <ac:spMk id="30" creationId="{1F595901-02F8-4D5F-B764-F7E27CD95338}"/>
          </ac:spMkLst>
        </pc:spChg>
        <pc:spChg chg="del">
          <ac:chgData name="Adrian Kisliuk" userId="81f189f0-3ed9-4f29-a7b1-770f7af93676" providerId="ADAL" clId="{B279C86E-D63F-45C2-ADD0-745373E4BD67}" dt="2021-02-07T13:20:16.170" v="98" actId="478"/>
          <ac:spMkLst>
            <pc:docMk/>
            <pc:sldMk cId="1177755287" sldId="801"/>
            <ac:spMk id="34" creationId="{59734FF0-13AE-49D5-918A-B1443D4466F2}"/>
          </ac:spMkLst>
        </pc:spChg>
        <pc:spChg chg="del">
          <ac:chgData name="Adrian Kisliuk" userId="81f189f0-3ed9-4f29-a7b1-770f7af93676" providerId="ADAL" clId="{B279C86E-D63F-45C2-ADD0-745373E4BD67}" dt="2021-02-07T13:20:16.170" v="98" actId="478"/>
          <ac:spMkLst>
            <pc:docMk/>
            <pc:sldMk cId="1177755287" sldId="801"/>
            <ac:spMk id="35" creationId="{4D1EC1F4-6EAE-4FD7-A755-CF09B470AB57}"/>
          </ac:spMkLst>
        </pc:spChg>
        <pc:spChg chg="del">
          <ac:chgData name="Adrian Kisliuk" userId="81f189f0-3ed9-4f29-a7b1-770f7af93676" providerId="ADAL" clId="{B279C86E-D63F-45C2-ADD0-745373E4BD67}" dt="2021-02-07T13:20:16.170" v="98" actId="478"/>
          <ac:spMkLst>
            <pc:docMk/>
            <pc:sldMk cId="1177755287" sldId="801"/>
            <ac:spMk id="36" creationId="{D184E874-2F62-4591-AFBC-4EF385F2B9AF}"/>
          </ac:spMkLst>
        </pc:spChg>
        <pc:spChg chg="add mod">
          <ac:chgData name="Adrian Kisliuk" userId="81f189f0-3ed9-4f29-a7b1-770f7af93676" providerId="ADAL" clId="{B279C86E-D63F-45C2-ADD0-745373E4BD67}" dt="2021-02-07T13:33:09.748" v="292" actId="108"/>
          <ac:spMkLst>
            <pc:docMk/>
            <pc:sldMk cId="1177755287" sldId="801"/>
            <ac:spMk id="37" creationId="{8D918941-6B74-43DF-A3AB-C114C9C069C6}"/>
          </ac:spMkLst>
        </pc:spChg>
        <pc:spChg chg="add del mod ord">
          <ac:chgData name="Adrian Kisliuk" userId="81f189f0-3ed9-4f29-a7b1-770f7af93676" providerId="ADAL" clId="{B279C86E-D63F-45C2-ADD0-745373E4BD67}" dt="2021-02-07T13:32:52.954" v="284" actId="478"/>
          <ac:spMkLst>
            <pc:docMk/>
            <pc:sldMk cId="1177755287" sldId="801"/>
            <ac:spMk id="38" creationId="{2E0CF722-9548-4463-A090-233D771F0429}"/>
          </ac:spMkLst>
        </pc:spChg>
        <pc:spChg chg="del">
          <ac:chgData name="Adrian Kisliuk" userId="81f189f0-3ed9-4f29-a7b1-770f7af93676" providerId="ADAL" clId="{B279C86E-D63F-45C2-ADD0-745373E4BD67}" dt="2021-02-07T13:20:18.871" v="100" actId="478"/>
          <ac:spMkLst>
            <pc:docMk/>
            <pc:sldMk cId="1177755287" sldId="801"/>
            <ac:spMk id="39" creationId="{A7DC8F3C-555C-4D4E-82A4-E279C5F47854}"/>
          </ac:spMkLst>
        </pc:spChg>
        <pc:grpChg chg="del">
          <ac:chgData name="Adrian Kisliuk" userId="81f189f0-3ed9-4f29-a7b1-770f7af93676" providerId="ADAL" clId="{B279C86E-D63F-45C2-ADD0-745373E4BD67}" dt="2021-02-07T13:20:16.170" v="98" actId="478"/>
          <ac:grpSpMkLst>
            <pc:docMk/>
            <pc:sldMk cId="1177755287" sldId="801"/>
            <ac:grpSpMk id="12" creationId="{00000000-0000-0000-0000-000000000000}"/>
          </ac:grpSpMkLst>
        </pc:grpChg>
        <pc:grpChg chg="del">
          <ac:chgData name="Adrian Kisliuk" userId="81f189f0-3ed9-4f29-a7b1-770f7af93676" providerId="ADAL" clId="{B279C86E-D63F-45C2-ADD0-745373E4BD67}" dt="2021-02-07T13:20:16.170" v="98" actId="478"/>
          <ac:grpSpMkLst>
            <pc:docMk/>
            <pc:sldMk cId="1177755287" sldId="801"/>
            <ac:grpSpMk id="16" creationId="{0BC81861-00FC-41ED-BBBF-A3469D5A311A}"/>
          </ac:grpSpMkLst>
        </pc:grpChg>
        <pc:grpChg chg="del">
          <ac:chgData name="Adrian Kisliuk" userId="81f189f0-3ed9-4f29-a7b1-770f7af93676" providerId="ADAL" clId="{B279C86E-D63F-45C2-ADD0-745373E4BD67}" dt="2021-02-07T13:20:16.170" v="98" actId="478"/>
          <ac:grpSpMkLst>
            <pc:docMk/>
            <pc:sldMk cId="1177755287" sldId="801"/>
            <ac:grpSpMk id="17" creationId="{00000000-0000-0000-0000-000000000000}"/>
          </ac:grpSpMkLst>
        </pc:grpChg>
        <pc:grpChg chg="del">
          <ac:chgData name="Adrian Kisliuk" userId="81f189f0-3ed9-4f29-a7b1-770f7af93676" providerId="ADAL" clId="{B279C86E-D63F-45C2-ADD0-745373E4BD67}" dt="2021-02-07T13:20:16.170" v="98" actId="478"/>
          <ac:grpSpMkLst>
            <pc:docMk/>
            <pc:sldMk cId="1177755287" sldId="801"/>
            <ac:grpSpMk id="23" creationId="{5C22EA0C-7F27-4D9D-8C2D-4FF86788D22A}"/>
          </ac:grpSpMkLst>
        </pc:grpChg>
        <pc:grpChg chg="del">
          <ac:chgData name="Adrian Kisliuk" userId="81f189f0-3ed9-4f29-a7b1-770f7af93676" providerId="ADAL" clId="{B279C86E-D63F-45C2-ADD0-745373E4BD67}" dt="2021-02-07T13:20:16.170" v="98" actId="478"/>
          <ac:grpSpMkLst>
            <pc:docMk/>
            <pc:sldMk cId="1177755287" sldId="801"/>
            <ac:grpSpMk id="27" creationId="{7E882705-D33A-4E08-8844-45C9666567A2}"/>
          </ac:grpSpMkLst>
        </pc:grpChg>
        <pc:grpChg chg="del">
          <ac:chgData name="Adrian Kisliuk" userId="81f189f0-3ed9-4f29-a7b1-770f7af93676" providerId="ADAL" clId="{B279C86E-D63F-45C2-ADD0-745373E4BD67}" dt="2021-02-07T13:20:16.170" v="98" actId="478"/>
          <ac:grpSpMkLst>
            <pc:docMk/>
            <pc:sldMk cId="1177755287" sldId="801"/>
            <ac:grpSpMk id="31" creationId="{6011A2E9-AE64-42D5-AD85-C665FF32E4B6}"/>
          </ac:grpSpMkLst>
        </pc:grpChg>
        <pc:picChg chg="add del mod ord">
          <ac:chgData name="Adrian Kisliuk" userId="81f189f0-3ed9-4f29-a7b1-770f7af93676" providerId="ADAL" clId="{B279C86E-D63F-45C2-ADD0-745373E4BD67}" dt="2021-02-07T13:30:07.444" v="223" actId="478"/>
          <ac:picMkLst>
            <pc:docMk/>
            <pc:sldMk cId="1177755287" sldId="801"/>
            <ac:picMk id="5" creationId="{1DA45A19-F109-49EF-9FA1-1997A74D4EC5}"/>
          </ac:picMkLst>
        </pc:picChg>
        <pc:picChg chg="add del mod ord">
          <ac:chgData name="Adrian Kisliuk" userId="81f189f0-3ed9-4f29-a7b1-770f7af93676" providerId="ADAL" clId="{B279C86E-D63F-45C2-ADD0-745373E4BD67}" dt="2021-02-07T13:32:46.612" v="283" actId="478"/>
          <ac:picMkLst>
            <pc:docMk/>
            <pc:sldMk cId="1177755287" sldId="801"/>
            <ac:picMk id="9" creationId="{DD8D59AE-0872-4FFA-8FA1-0820B3F18426}"/>
          </ac:picMkLst>
        </pc:picChg>
      </pc:sldChg>
      <pc:sldChg chg="delSp add del mod">
        <pc:chgData name="Adrian Kisliuk" userId="81f189f0-3ed9-4f29-a7b1-770f7af93676" providerId="ADAL" clId="{B279C86E-D63F-45C2-ADD0-745373E4BD67}" dt="2021-02-07T13:33:42.598" v="294" actId="47"/>
        <pc:sldMkLst>
          <pc:docMk/>
          <pc:sldMk cId="9289140" sldId="802"/>
        </pc:sldMkLst>
        <pc:picChg chg="del">
          <ac:chgData name="Adrian Kisliuk" userId="81f189f0-3ed9-4f29-a7b1-770f7af93676" providerId="ADAL" clId="{B279C86E-D63F-45C2-ADD0-745373E4BD67}" dt="2021-02-07T13:29:34.625" v="216" actId="478"/>
          <ac:picMkLst>
            <pc:docMk/>
            <pc:sldMk cId="9289140" sldId="802"/>
            <ac:picMk id="5" creationId="{1DA45A19-F109-49EF-9FA1-1997A74D4EC5}"/>
          </ac:picMkLst>
        </pc:picChg>
      </pc:sldChg>
      <pc:sldChg chg="modSp add mod">
        <pc:chgData name="Adrian Kisliuk" userId="81f189f0-3ed9-4f29-a7b1-770f7af93676" providerId="ADAL" clId="{B279C86E-D63F-45C2-ADD0-745373E4BD67}" dt="2021-02-07T13:55:26.895" v="420" actId="20577"/>
        <pc:sldMkLst>
          <pc:docMk/>
          <pc:sldMk cId="1849252516" sldId="802"/>
        </pc:sldMkLst>
        <pc:spChg chg="mod">
          <ac:chgData name="Adrian Kisliuk" userId="81f189f0-3ed9-4f29-a7b1-770f7af93676" providerId="ADAL" clId="{B279C86E-D63F-45C2-ADD0-745373E4BD67}" dt="2021-02-07T13:55:26.895" v="420" actId="20577"/>
          <ac:spMkLst>
            <pc:docMk/>
            <pc:sldMk cId="1849252516" sldId="802"/>
            <ac:spMk id="3" creationId="{00000000-0000-0000-0000-000000000000}"/>
          </ac:spMkLst>
        </pc:spChg>
        <pc:spChg chg="mod">
          <ac:chgData name="Adrian Kisliuk" userId="81f189f0-3ed9-4f29-a7b1-770f7af93676" providerId="ADAL" clId="{B279C86E-D63F-45C2-ADD0-745373E4BD67}" dt="2021-02-07T13:53:39.731" v="366" actId="14100"/>
          <ac:spMkLst>
            <pc:docMk/>
            <pc:sldMk cId="1849252516" sldId="802"/>
            <ac:spMk id="8" creationId="{00000000-0000-0000-0000-000000000000}"/>
          </ac:spMkLst>
        </pc:spChg>
        <pc:picChg chg="mod modCrop">
          <ac:chgData name="Adrian Kisliuk" userId="81f189f0-3ed9-4f29-a7b1-770f7af93676" providerId="ADAL" clId="{B279C86E-D63F-45C2-ADD0-745373E4BD67}" dt="2021-02-07T13:53:42.835" v="367" actId="1076"/>
          <ac:picMkLst>
            <pc:docMk/>
            <pc:sldMk cId="1849252516" sldId="802"/>
            <ac:picMk id="5" creationId="{A94D4FDF-198C-4262-8CEE-A0E6A017997D}"/>
          </ac:picMkLst>
        </pc:picChg>
      </pc:sldChg>
      <pc:sldChg chg="addSp delSp modSp add mod ord">
        <pc:chgData name="Adrian Kisliuk" userId="81f189f0-3ed9-4f29-a7b1-770f7af93676" providerId="ADAL" clId="{B279C86E-D63F-45C2-ADD0-745373E4BD67}" dt="2021-02-07T14:22:37.146" v="703"/>
        <pc:sldMkLst>
          <pc:docMk/>
          <pc:sldMk cId="2631980978" sldId="803"/>
        </pc:sldMkLst>
        <pc:spChg chg="mod">
          <ac:chgData name="Adrian Kisliuk" userId="81f189f0-3ed9-4f29-a7b1-770f7af93676" providerId="ADAL" clId="{B279C86E-D63F-45C2-ADD0-745373E4BD67}" dt="2021-02-07T14:20:30.605" v="659" actId="207"/>
          <ac:spMkLst>
            <pc:docMk/>
            <pc:sldMk cId="2631980978" sldId="803"/>
            <ac:spMk id="3" creationId="{00000000-0000-0000-0000-000000000000}"/>
          </ac:spMkLst>
        </pc:spChg>
        <pc:spChg chg="mod">
          <ac:chgData name="Adrian Kisliuk" userId="81f189f0-3ed9-4f29-a7b1-770f7af93676" providerId="ADAL" clId="{B279C86E-D63F-45C2-ADD0-745373E4BD67}" dt="2021-02-07T14:20:30.605" v="659" actId="207"/>
          <ac:spMkLst>
            <pc:docMk/>
            <pc:sldMk cId="2631980978" sldId="803"/>
            <ac:spMk id="6" creationId="{00000000-0000-0000-0000-000000000000}"/>
          </ac:spMkLst>
        </pc:spChg>
        <pc:spChg chg="mod">
          <ac:chgData name="Adrian Kisliuk" userId="81f189f0-3ed9-4f29-a7b1-770f7af93676" providerId="ADAL" clId="{B279C86E-D63F-45C2-ADD0-745373E4BD67}" dt="2021-02-07T14:22:25.764" v="701" actId="20577"/>
          <ac:spMkLst>
            <pc:docMk/>
            <pc:sldMk cId="2631980978" sldId="803"/>
            <ac:spMk id="8" creationId="{00000000-0000-0000-0000-000000000000}"/>
          </ac:spMkLst>
        </pc:spChg>
        <pc:picChg chg="add mod ord">
          <ac:chgData name="Adrian Kisliuk" userId="81f189f0-3ed9-4f29-a7b1-770f7af93676" providerId="ADAL" clId="{B279C86E-D63F-45C2-ADD0-745373E4BD67}" dt="2021-02-07T14:20:48.631" v="660" actId="1076"/>
          <ac:picMkLst>
            <pc:docMk/>
            <pc:sldMk cId="2631980978" sldId="803"/>
            <ac:picMk id="4" creationId="{CF7F4B12-26BB-488D-AFB8-5E2236052546}"/>
          </ac:picMkLst>
        </pc:picChg>
        <pc:picChg chg="del">
          <ac:chgData name="Adrian Kisliuk" userId="81f189f0-3ed9-4f29-a7b1-770f7af93676" providerId="ADAL" clId="{B279C86E-D63F-45C2-ADD0-745373E4BD67}" dt="2021-02-07T14:19:22.766" v="651" actId="478"/>
          <ac:picMkLst>
            <pc:docMk/>
            <pc:sldMk cId="2631980978" sldId="803"/>
            <ac:picMk id="7" creationId="{AE3BA756-F49A-4408-A693-59481EDBBDDD}"/>
          </ac:picMkLst>
        </pc:picChg>
      </pc:sldChg>
      <pc:sldChg chg="modSp add del mod">
        <pc:chgData name="Adrian Kisliuk" userId="81f189f0-3ed9-4f29-a7b1-770f7af93676" providerId="ADAL" clId="{B279C86E-D63F-45C2-ADD0-745373E4BD67}" dt="2021-02-07T14:19:04.561" v="648" actId="47"/>
        <pc:sldMkLst>
          <pc:docMk/>
          <pc:sldMk cId="3114335481" sldId="803"/>
        </pc:sldMkLst>
        <pc:spChg chg="mod">
          <ac:chgData name="Adrian Kisliuk" userId="81f189f0-3ed9-4f29-a7b1-770f7af93676" providerId="ADAL" clId="{B279C86E-D63F-45C2-ADD0-745373E4BD67}" dt="2021-02-07T14:17:34.649" v="642" actId="2085"/>
          <ac:spMkLst>
            <pc:docMk/>
            <pc:sldMk cId="3114335481" sldId="803"/>
            <ac:spMk id="8" creationId="{00000000-0000-0000-0000-000000000000}"/>
          </ac:spMkLst>
        </pc:spChg>
        <pc:picChg chg="mod">
          <ac:chgData name="Adrian Kisliuk" userId="81f189f0-3ed9-4f29-a7b1-770f7af93676" providerId="ADAL" clId="{B279C86E-D63F-45C2-ADD0-745373E4BD67}" dt="2021-02-07T14:17:28.169" v="641" actId="14100"/>
          <ac:picMkLst>
            <pc:docMk/>
            <pc:sldMk cId="3114335481" sldId="803"/>
            <ac:picMk id="4" creationId="{687DB3C7-9728-4C96-9D68-C07BDB9C315E}"/>
          </ac:picMkLst>
        </pc:picChg>
      </pc:sldChg>
    </pc:docChg>
  </pc:docChgLst>
  <pc:docChgLst>
    <pc:chgData name="Adrian" userId="6e619ce3-2643-4cdf-9a13-b4c269650021" providerId="ADAL" clId="{91AF5212-C8E2-42DE-91E2-8A4BFAC3C0CB}"/>
    <pc:docChg chg="custSel modSld">
      <pc:chgData name="Adrian" userId="6e619ce3-2643-4cdf-9a13-b4c269650021" providerId="ADAL" clId="{91AF5212-C8E2-42DE-91E2-8A4BFAC3C0CB}" dt="2021-04-14T17:18:31.755" v="18" actId="1589"/>
      <pc:docMkLst>
        <pc:docMk/>
      </pc:docMkLst>
      <pc:sldChg chg="addCm">
        <pc:chgData name="Adrian" userId="6e619ce3-2643-4cdf-9a13-b4c269650021" providerId="ADAL" clId="{91AF5212-C8E2-42DE-91E2-8A4BFAC3C0CB}" dt="2021-04-14T17:11:51.833" v="10" actId="1589"/>
        <pc:sldMkLst>
          <pc:docMk/>
          <pc:sldMk cId="1627132099" sldId="849"/>
        </pc:sldMkLst>
      </pc:sldChg>
      <pc:sldChg chg="addCm modCm">
        <pc:chgData name="Adrian" userId="6e619ce3-2643-4cdf-9a13-b4c269650021" providerId="ADAL" clId="{91AF5212-C8E2-42DE-91E2-8A4BFAC3C0CB}" dt="2021-04-14T17:12:12.560" v="12"/>
        <pc:sldMkLst>
          <pc:docMk/>
          <pc:sldMk cId="2552030312" sldId="854"/>
        </pc:sldMkLst>
      </pc:sldChg>
      <pc:sldChg chg="addCm modCm">
        <pc:chgData name="Adrian" userId="6e619ce3-2643-4cdf-9a13-b4c269650021" providerId="ADAL" clId="{91AF5212-C8E2-42DE-91E2-8A4BFAC3C0CB}" dt="2021-04-14T17:18:11.354" v="17"/>
        <pc:sldMkLst>
          <pc:docMk/>
          <pc:sldMk cId="1291646818" sldId="867"/>
        </pc:sldMkLst>
      </pc:sldChg>
      <pc:sldChg chg="addCm">
        <pc:chgData name="Adrian" userId="6e619ce3-2643-4cdf-9a13-b4c269650021" providerId="ADAL" clId="{91AF5212-C8E2-42DE-91E2-8A4BFAC3C0CB}" dt="2021-04-14T17:18:31.755" v="18" actId="1589"/>
        <pc:sldMkLst>
          <pc:docMk/>
          <pc:sldMk cId="1584059014" sldId="869"/>
        </pc:sldMkLst>
      </pc:sldChg>
      <pc:sldChg chg="addCm">
        <pc:chgData name="Adrian" userId="6e619ce3-2643-4cdf-9a13-b4c269650021" providerId="ADAL" clId="{91AF5212-C8E2-42DE-91E2-8A4BFAC3C0CB}" dt="2021-04-14T17:13:02.126" v="13" actId="1589"/>
        <pc:sldMkLst>
          <pc:docMk/>
          <pc:sldMk cId="809706117" sldId="870"/>
        </pc:sldMkLst>
      </pc:sldChg>
      <pc:sldChg chg="addSp modSp mod">
        <pc:chgData name="Adrian" userId="6e619ce3-2643-4cdf-9a13-b4c269650021" providerId="ADAL" clId="{91AF5212-C8E2-42DE-91E2-8A4BFAC3C0CB}" dt="2021-04-14T17:11:03.605" v="8" actId="1036"/>
        <pc:sldMkLst>
          <pc:docMk/>
          <pc:sldMk cId="1758910654" sldId="872"/>
        </pc:sldMkLst>
        <pc:spChg chg="mod">
          <ac:chgData name="Adrian" userId="6e619ce3-2643-4cdf-9a13-b4c269650021" providerId="ADAL" clId="{91AF5212-C8E2-42DE-91E2-8A4BFAC3C0CB}" dt="2021-04-14T17:10:03.854" v="4" actId="12788"/>
          <ac:spMkLst>
            <pc:docMk/>
            <pc:sldMk cId="1758910654" sldId="872"/>
            <ac:spMk id="36" creationId="{12D829DC-FB4B-431C-B657-DE96D45F67BB}"/>
          </ac:spMkLst>
        </pc:spChg>
        <pc:spChg chg="mod">
          <ac:chgData name="Adrian" userId="6e619ce3-2643-4cdf-9a13-b4c269650021" providerId="ADAL" clId="{91AF5212-C8E2-42DE-91E2-8A4BFAC3C0CB}" dt="2021-04-14T17:10:03.854" v="4" actId="12788"/>
          <ac:spMkLst>
            <pc:docMk/>
            <pc:sldMk cId="1758910654" sldId="872"/>
            <ac:spMk id="37" creationId="{5DFEC39C-CE07-4ECC-94CF-97BC683ABE78}"/>
          </ac:spMkLst>
        </pc:spChg>
        <pc:spChg chg="mod">
          <ac:chgData name="Adrian" userId="6e619ce3-2643-4cdf-9a13-b4c269650021" providerId="ADAL" clId="{91AF5212-C8E2-42DE-91E2-8A4BFAC3C0CB}" dt="2021-04-14T17:11:03.605" v="8" actId="1036"/>
          <ac:spMkLst>
            <pc:docMk/>
            <pc:sldMk cId="1758910654" sldId="872"/>
            <ac:spMk id="38" creationId="{1CB22556-81D2-46B6-9C81-19EF13EA88F4}"/>
          </ac:spMkLst>
        </pc:spChg>
        <pc:spChg chg="mod">
          <ac:chgData name="Adrian" userId="6e619ce3-2643-4cdf-9a13-b4c269650021" providerId="ADAL" clId="{91AF5212-C8E2-42DE-91E2-8A4BFAC3C0CB}" dt="2021-04-14T17:09:52.698" v="3" actId="12788"/>
          <ac:spMkLst>
            <pc:docMk/>
            <pc:sldMk cId="1758910654" sldId="872"/>
            <ac:spMk id="81" creationId="{552775DB-5997-454C-9151-C8164EC41734}"/>
          </ac:spMkLst>
        </pc:spChg>
        <pc:spChg chg="mod">
          <ac:chgData name="Adrian" userId="6e619ce3-2643-4cdf-9a13-b4c269650021" providerId="ADAL" clId="{91AF5212-C8E2-42DE-91E2-8A4BFAC3C0CB}" dt="2021-04-14T17:09:52.698" v="3" actId="12788"/>
          <ac:spMkLst>
            <pc:docMk/>
            <pc:sldMk cId="1758910654" sldId="872"/>
            <ac:spMk id="82" creationId="{BFFE17F6-4064-4957-86F3-32341E45A770}"/>
          </ac:spMkLst>
        </pc:spChg>
        <pc:spChg chg="mod">
          <ac:chgData name="Adrian" userId="6e619ce3-2643-4cdf-9a13-b4c269650021" providerId="ADAL" clId="{91AF5212-C8E2-42DE-91E2-8A4BFAC3C0CB}" dt="2021-04-14T17:09:52.698" v="3" actId="12788"/>
          <ac:spMkLst>
            <pc:docMk/>
            <pc:sldMk cId="1758910654" sldId="872"/>
            <ac:spMk id="83" creationId="{A7F4A503-1623-463F-B66A-90F98586D750}"/>
          </ac:spMkLst>
        </pc:spChg>
        <pc:cxnChg chg="add mod">
          <ac:chgData name="Adrian" userId="6e619ce3-2643-4cdf-9a13-b4c269650021" providerId="ADAL" clId="{91AF5212-C8E2-42DE-91E2-8A4BFAC3C0CB}" dt="2021-04-14T17:10:03.854" v="4" actId="12788"/>
          <ac:cxnSpMkLst>
            <pc:docMk/>
            <pc:sldMk cId="1758910654" sldId="872"/>
            <ac:cxnSpMk id="42" creationId="{676C73C1-54DC-4F4E-9EFE-41B1016206C2}"/>
          </ac:cxnSpMkLst>
        </pc:cxnChg>
        <pc:cxnChg chg="mod">
          <ac:chgData name="Adrian" userId="6e619ce3-2643-4cdf-9a13-b4c269650021" providerId="ADAL" clId="{91AF5212-C8E2-42DE-91E2-8A4BFAC3C0CB}" dt="2021-04-14T17:09:52.698" v="3" actId="12788"/>
          <ac:cxnSpMkLst>
            <pc:docMk/>
            <pc:sldMk cId="1758910654" sldId="872"/>
            <ac:cxnSpMk id="53" creationId="{AD39E464-4ACC-414D-B567-513C379969E3}"/>
          </ac:cxnSpMkLst>
        </pc:cxnChg>
        <pc:cxnChg chg="mod">
          <ac:chgData name="Adrian" userId="6e619ce3-2643-4cdf-9a13-b4c269650021" providerId="ADAL" clId="{91AF5212-C8E2-42DE-91E2-8A4BFAC3C0CB}" dt="2021-04-14T17:09:52.698" v="3" actId="12788"/>
          <ac:cxnSpMkLst>
            <pc:docMk/>
            <pc:sldMk cId="1758910654" sldId="872"/>
            <ac:cxnSpMk id="56" creationId="{08E8E5E4-67B7-4DAF-A6CC-D2743D94A973}"/>
          </ac:cxnSpMkLst>
        </pc:cxnChg>
        <pc:cxnChg chg="mod">
          <ac:chgData name="Adrian" userId="6e619ce3-2643-4cdf-9a13-b4c269650021" providerId="ADAL" clId="{91AF5212-C8E2-42DE-91E2-8A4BFAC3C0CB}" dt="2021-04-14T17:10:03.854" v="4" actId="12788"/>
          <ac:cxnSpMkLst>
            <pc:docMk/>
            <pc:sldMk cId="1758910654" sldId="872"/>
            <ac:cxnSpMk id="90" creationId="{170F4735-1CEB-462F-AFD3-E7AF1B99D737}"/>
          </ac:cxnSpMkLst>
        </pc:cxnChg>
        <pc:cxnChg chg="mod">
          <ac:chgData name="Adrian" userId="6e619ce3-2643-4cdf-9a13-b4c269650021" providerId="ADAL" clId="{91AF5212-C8E2-42DE-91E2-8A4BFAC3C0CB}" dt="2021-04-14T17:09:52.698" v="3" actId="12788"/>
          <ac:cxnSpMkLst>
            <pc:docMk/>
            <pc:sldMk cId="1758910654" sldId="872"/>
            <ac:cxnSpMk id="93" creationId="{1416EC65-93AC-4B21-8796-1D3552EEE3AA}"/>
          </ac:cxnSpMkLst>
        </pc:cxnChg>
        <pc:cxnChg chg="mod">
          <ac:chgData name="Adrian" userId="6e619ce3-2643-4cdf-9a13-b4c269650021" providerId="ADAL" clId="{91AF5212-C8E2-42DE-91E2-8A4BFAC3C0CB}" dt="2021-04-14T17:11:03.605" v="8" actId="1036"/>
          <ac:cxnSpMkLst>
            <pc:docMk/>
            <pc:sldMk cId="1758910654" sldId="872"/>
            <ac:cxnSpMk id="96" creationId="{CFEFBC2F-A57B-4D23-9AD8-0177BFBAF3B8}"/>
          </ac:cxnSpMkLst>
        </pc:cxnChg>
      </pc:sldChg>
    </pc:docChg>
  </pc:docChgLst>
  <pc:docChgLst>
    <pc:chgData name="Wesolowski, Piotr" userId="S::piotr.wesolowski@telekom.de::a149bbb4-9f48-4908-a8ea-011f725f241c" providerId="AD" clId="Web-{634B52A0-4A53-4D60-9004-F237BCE0D492}"/>
    <pc:docChg chg="modSld">
      <pc:chgData name="Wesolowski, Piotr" userId="S::piotr.wesolowski@telekom.de::a149bbb4-9f48-4908-a8ea-011f725f241c" providerId="AD" clId="Web-{634B52A0-4A53-4D60-9004-F237BCE0D492}" dt="2021-04-23T11:34:43.253" v="0" actId="1076"/>
      <pc:docMkLst>
        <pc:docMk/>
      </pc:docMkLst>
      <pc:sldChg chg="modSp">
        <pc:chgData name="Wesolowski, Piotr" userId="S::piotr.wesolowski@telekom.de::a149bbb4-9f48-4908-a8ea-011f725f241c" providerId="AD" clId="Web-{634B52A0-4A53-4D60-9004-F237BCE0D492}" dt="2021-04-23T11:34:43.253" v="0" actId="1076"/>
        <pc:sldMkLst>
          <pc:docMk/>
          <pc:sldMk cId="1076232009" sldId="913"/>
        </pc:sldMkLst>
        <pc:spChg chg="mod">
          <ac:chgData name="Wesolowski, Piotr" userId="S::piotr.wesolowski@telekom.de::a149bbb4-9f48-4908-a8ea-011f725f241c" providerId="AD" clId="Web-{634B52A0-4A53-4D60-9004-F237BCE0D492}" dt="2021-04-23T11:34:43.253" v="0" actId="1076"/>
          <ac:spMkLst>
            <pc:docMk/>
            <pc:sldMk cId="1076232009" sldId="913"/>
            <ac:spMk id="59" creationId="{3AA90A09-86AF-4C36-94A7-BF45987A6FE9}"/>
          </ac:spMkLst>
        </pc:spChg>
      </pc:sldChg>
    </pc:docChg>
  </pc:docChgLst>
  <pc:docChgLst>
    <pc:chgData name="Adrian Kisliuk" userId="81f189f0-3ed9-4f29-a7b1-770f7af93676" providerId="ADAL" clId="{FA69E9C5-915B-4600-B99F-86EBD8D664EB}"/>
    <pc:docChg chg="undo redo custSel addSld delSld modSld sldOrd">
      <pc:chgData name="Adrian Kisliuk" userId="81f189f0-3ed9-4f29-a7b1-770f7af93676" providerId="ADAL" clId="{FA69E9C5-915B-4600-B99F-86EBD8D664EB}" dt="2021-03-02T08:33:24.784" v="286" actId="2711"/>
      <pc:docMkLst>
        <pc:docMk/>
      </pc:docMkLst>
      <pc:sldChg chg="modSp mod setBg">
        <pc:chgData name="Adrian Kisliuk" userId="81f189f0-3ed9-4f29-a7b1-770f7af93676" providerId="ADAL" clId="{FA69E9C5-915B-4600-B99F-86EBD8D664EB}" dt="2021-03-02T08:31:49.643" v="284" actId="2711"/>
        <pc:sldMkLst>
          <pc:docMk/>
          <pc:sldMk cId="3888384040" sldId="474"/>
        </pc:sldMkLst>
        <pc:spChg chg="mod">
          <ac:chgData name="Adrian Kisliuk" userId="81f189f0-3ed9-4f29-a7b1-770f7af93676" providerId="ADAL" clId="{FA69E9C5-915B-4600-B99F-86EBD8D664EB}" dt="2021-03-02T08:31:49.643" v="284" actId="2711"/>
          <ac:spMkLst>
            <pc:docMk/>
            <pc:sldMk cId="3888384040" sldId="474"/>
            <ac:spMk id="10" creationId="{00000000-0000-0000-0000-000000000000}"/>
          </ac:spMkLst>
        </pc:spChg>
      </pc:sldChg>
      <pc:sldChg chg="modSp mod ord setBg">
        <pc:chgData name="Adrian Kisliuk" userId="81f189f0-3ed9-4f29-a7b1-770f7af93676" providerId="ADAL" clId="{FA69E9C5-915B-4600-B99F-86EBD8D664EB}" dt="2021-03-02T07:45:30.901" v="222"/>
        <pc:sldMkLst>
          <pc:docMk/>
          <pc:sldMk cId="3603600991" sldId="759"/>
        </pc:sldMkLst>
        <pc:spChg chg="mod">
          <ac:chgData name="Adrian Kisliuk" userId="81f189f0-3ed9-4f29-a7b1-770f7af93676" providerId="ADAL" clId="{FA69E9C5-915B-4600-B99F-86EBD8D664EB}" dt="2021-03-02T07:45:26.450" v="220" actId="20577"/>
          <ac:spMkLst>
            <pc:docMk/>
            <pc:sldMk cId="3603600991" sldId="759"/>
            <ac:spMk id="2" creationId="{848724A1-8D9B-4E48-BEA8-7DD98666F28D}"/>
          </ac:spMkLst>
        </pc:spChg>
      </pc:sldChg>
      <pc:sldChg chg="del">
        <pc:chgData name="Adrian Kisliuk" userId="81f189f0-3ed9-4f29-a7b1-770f7af93676" providerId="ADAL" clId="{FA69E9C5-915B-4600-B99F-86EBD8D664EB}" dt="2021-03-01T16:29:15.952" v="0" actId="47"/>
        <pc:sldMkLst>
          <pc:docMk/>
          <pc:sldMk cId="3936041182" sldId="814"/>
        </pc:sldMkLst>
      </pc:sldChg>
      <pc:sldChg chg="del">
        <pc:chgData name="Adrian Kisliuk" userId="81f189f0-3ed9-4f29-a7b1-770f7af93676" providerId="ADAL" clId="{FA69E9C5-915B-4600-B99F-86EBD8D664EB}" dt="2021-03-01T16:29:17.601" v="1" actId="47"/>
        <pc:sldMkLst>
          <pc:docMk/>
          <pc:sldMk cId="2281607591" sldId="815"/>
        </pc:sldMkLst>
      </pc:sldChg>
      <pc:sldChg chg="addSp modSp del mod">
        <pc:chgData name="Adrian Kisliuk" userId="81f189f0-3ed9-4f29-a7b1-770f7af93676" providerId="ADAL" clId="{FA69E9C5-915B-4600-B99F-86EBD8D664EB}" dt="2021-03-02T07:37:30.602" v="182" actId="47"/>
        <pc:sldMkLst>
          <pc:docMk/>
          <pc:sldMk cId="1677739735" sldId="818"/>
        </pc:sldMkLst>
        <pc:spChg chg="add mod">
          <ac:chgData name="Adrian Kisliuk" userId="81f189f0-3ed9-4f29-a7b1-770f7af93676" providerId="ADAL" clId="{FA69E9C5-915B-4600-B99F-86EBD8D664EB}" dt="2021-03-01T16:38:53.788" v="128" actId="20577"/>
          <ac:spMkLst>
            <pc:docMk/>
            <pc:sldMk cId="1677739735" sldId="818"/>
            <ac:spMk id="4" creationId="{1D0F5FBF-1250-4670-89EF-E71751BC3F6C}"/>
          </ac:spMkLst>
        </pc:spChg>
        <pc:spChg chg="add mod">
          <ac:chgData name="Adrian Kisliuk" userId="81f189f0-3ed9-4f29-a7b1-770f7af93676" providerId="ADAL" clId="{FA69E9C5-915B-4600-B99F-86EBD8D664EB}" dt="2021-03-01T16:38:48.747" v="127" actId="20577"/>
          <ac:spMkLst>
            <pc:docMk/>
            <pc:sldMk cId="1677739735" sldId="818"/>
            <ac:spMk id="5" creationId="{625EECA8-58CB-411D-805C-9D21EBF6C749}"/>
          </ac:spMkLst>
        </pc:spChg>
      </pc:sldChg>
      <pc:sldChg chg="modSp mod ord">
        <pc:chgData name="Adrian Kisliuk" userId="81f189f0-3ed9-4f29-a7b1-770f7af93676" providerId="ADAL" clId="{FA69E9C5-915B-4600-B99F-86EBD8D664EB}" dt="2021-03-02T07:51:28.839" v="236" actId="207"/>
        <pc:sldMkLst>
          <pc:docMk/>
          <pc:sldMk cId="967380677" sldId="819"/>
        </pc:sldMkLst>
        <pc:spChg chg="mod">
          <ac:chgData name="Adrian Kisliuk" userId="81f189f0-3ed9-4f29-a7b1-770f7af93676" providerId="ADAL" clId="{FA69E9C5-915B-4600-B99F-86EBD8D664EB}" dt="2021-03-02T07:51:28.839" v="236" actId="207"/>
          <ac:spMkLst>
            <pc:docMk/>
            <pc:sldMk cId="967380677" sldId="819"/>
            <ac:spMk id="2" creationId="{848724A1-8D9B-4E48-BEA8-7DD98666F28D}"/>
          </ac:spMkLst>
        </pc:spChg>
      </pc:sldChg>
      <pc:sldChg chg="modSp mod">
        <pc:chgData name="Adrian Kisliuk" userId="81f189f0-3ed9-4f29-a7b1-770f7af93676" providerId="ADAL" clId="{FA69E9C5-915B-4600-B99F-86EBD8D664EB}" dt="2021-03-01T18:52:38.854" v="179" actId="404"/>
        <pc:sldMkLst>
          <pc:docMk/>
          <pc:sldMk cId="1161844579" sldId="821"/>
        </pc:sldMkLst>
        <pc:spChg chg="mod">
          <ac:chgData name="Adrian Kisliuk" userId="81f189f0-3ed9-4f29-a7b1-770f7af93676" providerId="ADAL" clId="{FA69E9C5-915B-4600-B99F-86EBD8D664EB}" dt="2021-03-01T18:46:30.540" v="135" actId="20577"/>
          <ac:spMkLst>
            <pc:docMk/>
            <pc:sldMk cId="1161844579" sldId="821"/>
            <ac:spMk id="3" creationId="{00000000-0000-0000-0000-000000000000}"/>
          </ac:spMkLst>
        </pc:spChg>
        <pc:spChg chg="mod">
          <ac:chgData name="Adrian Kisliuk" userId="81f189f0-3ed9-4f29-a7b1-770f7af93676" providerId="ADAL" clId="{FA69E9C5-915B-4600-B99F-86EBD8D664EB}" dt="2021-03-01T18:52:38.854" v="179" actId="404"/>
          <ac:spMkLst>
            <pc:docMk/>
            <pc:sldMk cId="1161844579" sldId="821"/>
            <ac:spMk id="17" creationId="{28DC8D71-92A3-47AA-97BB-5BCFF31B461A}"/>
          </ac:spMkLst>
        </pc:spChg>
        <pc:spChg chg="mod">
          <ac:chgData name="Adrian Kisliuk" userId="81f189f0-3ed9-4f29-a7b1-770f7af93676" providerId="ADAL" clId="{FA69E9C5-915B-4600-B99F-86EBD8D664EB}" dt="2021-03-01T18:52:09.955" v="178" actId="20577"/>
          <ac:spMkLst>
            <pc:docMk/>
            <pc:sldMk cId="1161844579" sldId="821"/>
            <ac:spMk id="18" creationId="{A4FA0F6C-1044-40F3-A415-376719684F27}"/>
          </ac:spMkLst>
        </pc:spChg>
      </pc:sldChg>
      <pc:sldChg chg="modSp mod">
        <pc:chgData name="Adrian Kisliuk" userId="81f189f0-3ed9-4f29-a7b1-770f7af93676" providerId="ADAL" clId="{FA69E9C5-915B-4600-B99F-86EBD8D664EB}" dt="2021-03-02T07:48:38.626" v="229" actId="1035"/>
        <pc:sldMkLst>
          <pc:docMk/>
          <pc:sldMk cId="259345786" sldId="822"/>
        </pc:sldMkLst>
        <pc:spChg chg="mod">
          <ac:chgData name="Adrian Kisliuk" userId="81f189f0-3ed9-4f29-a7b1-770f7af93676" providerId="ADAL" clId="{FA69E9C5-915B-4600-B99F-86EBD8D664EB}" dt="2021-03-02T07:48:35.818" v="223" actId="1076"/>
          <ac:spMkLst>
            <pc:docMk/>
            <pc:sldMk cId="259345786" sldId="822"/>
            <ac:spMk id="5" creationId="{FC298125-D680-4F92-8081-A588B2F8C85A}"/>
          </ac:spMkLst>
        </pc:spChg>
        <pc:spChg chg="mod">
          <ac:chgData name="Adrian Kisliuk" userId="81f189f0-3ed9-4f29-a7b1-770f7af93676" providerId="ADAL" clId="{FA69E9C5-915B-4600-B99F-86EBD8D664EB}" dt="2021-03-02T07:48:38.626" v="229" actId="1035"/>
          <ac:spMkLst>
            <pc:docMk/>
            <pc:sldMk cId="259345786" sldId="822"/>
            <ac:spMk id="6" creationId="{3A6602AB-52F5-4AA7-B758-5250A46B431C}"/>
          </ac:spMkLst>
        </pc:spChg>
        <pc:picChg chg="mod">
          <ac:chgData name="Adrian Kisliuk" userId="81f189f0-3ed9-4f29-a7b1-770f7af93676" providerId="ADAL" clId="{FA69E9C5-915B-4600-B99F-86EBD8D664EB}" dt="2021-03-02T07:48:35.818" v="223" actId="1076"/>
          <ac:picMkLst>
            <pc:docMk/>
            <pc:sldMk cId="259345786" sldId="822"/>
            <ac:picMk id="4" creationId="{B38C7461-3E12-4A25-836A-5CD4C410ADFA}"/>
          </ac:picMkLst>
        </pc:picChg>
      </pc:sldChg>
      <pc:sldChg chg="ord">
        <pc:chgData name="Adrian Kisliuk" userId="81f189f0-3ed9-4f29-a7b1-770f7af93676" providerId="ADAL" clId="{FA69E9C5-915B-4600-B99F-86EBD8D664EB}" dt="2021-03-02T07:37:23.647" v="181"/>
        <pc:sldMkLst>
          <pc:docMk/>
          <pc:sldMk cId="3175708426" sldId="823"/>
        </pc:sldMkLst>
      </pc:sldChg>
      <pc:sldChg chg="modSp mod">
        <pc:chgData name="Adrian Kisliuk" userId="81f189f0-3ed9-4f29-a7b1-770f7af93676" providerId="ADAL" clId="{FA69E9C5-915B-4600-B99F-86EBD8D664EB}" dt="2021-03-02T08:33:24.784" v="286" actId="2711"/>
        <pc:sldMkLst>
          <pc:docMk/>
          <pc:sldMk cId="2969731555" sldId="824"/>
        </pc:sldMkLst>
        <pc:spChg chg="mod">
          <ac:chgData name="Adrian Kisliuk" userId="81f189f0-3ed9-4f29-a7b1-770f7af93676" providerId="ADAL" clId="{FA69E9C5-915B-4600-B99F-86EBD8D664EB}" dt="2021-03-02T08:33:24.784" v="286" actId="2711"/>
          <ac:spMkLst>
            <pc:docMk/>
            <pc:sldMk cId="2969731555" sldId="824"/>
            <ac:spMk id="3" creationId="{5CD78C9C-FC67-400A-AB19-9FAF630ADB32}"/>
          </ac:spMkLst>
        </pc:spChg>
      </pc:sldChg>
      <pc:sldChg chg="add del setBg">
        <pc:chgData name="Adrian Kisliuk" userId="81f189f0-3ed9-4f29-a7b1-770f7af93676" providerId="ADAL" clId="{FA69E9C5-915B-4600-B99F-86EBD8D664EB}" dt="2021-03-02T07:50:26.056" v="231"/>
        <pc:sldMkLst>
          <pc:docMk/>
          <pc:sldMk cId="687511885" sldId="825"/>
        </pc:sldMkLst>
      </pc:sldChg>
    </pc:docChg>
  </pc:docChgLst>
  <pc:docChgLst>
    <pc:chgData name="Adrian Kisliuk" userId="81f189f0-3ed9-4f29-a7b1-770f7af93676" providerId="ADAL" clId="{E0DC2C09-EEDF-4B0C-ABE5-5BFC4FB651FA}"/>
    <pc:docChg chg="undo redo custSel addSld delSld modSld addMainMaster delMainMaster modMainMaster modNotesMaster">
      <pc:chgData name="Adrian Kisliuk" userId="81f189f0-3ed9-4f29-a7b1-770f7af93676" providerId="ADAL" clId="{E0DC2C09-EEDF-4B0C-ABE5-5BFC4FB651FA}" dt="2021-03-03T13:58:08.139" v="4201" actId="20577"/>
      <pc:docMkLst>
        <pc:docMk/>
      </pc:docMkLst>
      <pc:sldChg chg="modSp mod">
        <pc:chgData name="Adrian Kisliuk" userId="81f189f0-3ed9-4f29-a7b1-770f7af93676" providerId="ADAL" clId="{E0DC2C09-EEDF-4B0C-ABE5-5BFC4FB651FA}" dt="2021-03-03T07:04:30.922" v="1111"/>
        <pc:sldMkLst>
          <pc:docMk/>
          <pc:sldMk cId="3888384040" sldId="474"/>
        </pc:sldMkLst>
        <pc:spChg chg="mod">
          <ac:chgData name="Adrian Kisliuk" userId="81f189f0-3ed9-4f29-a7b1-770f7af93676" providerId="ADAL" clId="{E0DC2C09-EEDF-4B0C-ABE5-5BFC4FB651FA}" dt="2021-03-02T16:38:26.464" v="174" actId="2711"/>
          <ac:spMkLst>
            <pc:docMk/>
            <pc:sldMk cId="3888384040" sldId="474"/>
            <ac:spMk id="10" creationId="{00000000-0000-0000-0000-000000000000}"/>
          </ac:spMkLst>
        </pc:spChg>
        <pc:graphicFrameChg chg="mod">
          <ac:chgData name="Adrian Kisliuk" userId="81f189f0-3ed9-4f29-a7b1-770f7af93676" providerId="ADAL" clId="{E0DC2C09-EEDF-4B0C-ABE5-5BFC4FB651FA}" dt="2021-03-03T07:04:30.922" v="1111"/>
          <ac:graphicFrameMkLst>
            <pc:docMk/>
            <pc:sldMk cId="3888384040" sldId="474"/>
            <ac:graphicFrameMk id="9" creationId="{00000000-0000-0000-0000-000000000000}"/>
          </ac:graphicFrameMkLst>
        </pc:graphicFrameChg>
      </pc:sldChg>
      <pc:sldChg chg="addSp delSp modSp mod">
        <pc:chgData name="Adrian Kisliuk" userId="81f189f0-3ed9-4f29-a7b1-770f7af93676" providerId="ADAL" clId="{E0DC2C09-EEDF-4B0C-ABE5-5BFC4FB651FA}" dt="2021-03-03T07:04:30.846" v="1089"/>
        <pc:sldMkLst>
          <pc:docMk/>
          <pc:sldMk cId="967380677" sldId="819"/>
        </pc:sldMkLst>
        <pc:spChg chg="mod">
          <ac:chgData name="Adrian Kisliuk" userId="81f189f0-3ed9-4f29-a7b1-770f7af93676" providerId="ADAL" clId="{E0DC2C09-EEDF-4B0C-ABE5-5BFC4FB651FA}" dt="2021-03-03T07:04:30.846" v="1089"/>
          <ac:spMkLst>
            <pc:docMk/>
            <pc:sldMk cId="967380677" sldId="819"/>
            <ac:spMk id="2" creationId="{848724A1-8D9B-4E48-BEA8-7DD98666F28D}"/>
          </ac:spMkLst>
        </pc:spChg>
        <pc:graphicFrameChg chg="add del mod ord modVis">
          <ac:chgData name="Adrian Kisliuk" userId="81f189f0-3ed9-4f29-a7b1-770f7af93676" providerId="ADAL" clId="{E0DC2C09-EEDF-4B0C-ABE5-5BFC4FB651FA}" dt="2021-03-03T07:04:30.846" v="1089"/>
          <ac:graphicFrameMkLst>
            <pc:docMk/>
            <pc:sldMk cId="967380677" sldId="819"/>
            <ac:graphicFrameMk id="3" creationId="{33D60848-2FF0-4FAE-A5C2-EFA3DB3FB31B}"/>
          </ac:graphicFrameMkLst>
        </pc:graphicFrameChg>
      </pc:sldChg>
      <pc:sldChg chg="addSp delSp modSp mod">
        <pc:chgData name="Adrian Kisliuk" userId="81f189f0-3ed9-4f29-a7b1-770f7af93676" providerId="ADAL" clId="{E0DC2C09-EEDF-4B0C-ABE5-5BFC4FB651FA}" dt="2021-03-03T07:04:30.918" v="1109"/>
        <pc:sldMkLst>
          <pc:docMk/>
          <pc:sldMk cId="2509517720" sldId="820"/>
        </pc:sldMkLst>
        <pc:spChg chg="mod">
          <ac:chgData name="Adrian Kisliuk" userId="81f189f0-3ed9-4f29-a7b1-770f7af93676" providerId="ADAL" clId="{E0DC2C09-EEDF-4B0C-ABE5-5BFC4FB651FA}" dt="2021-03-03T07:04:30.846" v="1089"/>
          <ac:spMkLst>
            <pc:docMk/>
            <pc:sldMk cId="2509517720" sldId="820"/>
            <ac:spMk id="2" creationId="{C11920DB-DB27-4D35-BC7B-E98157E38E05}"/>
          </ac:spMkLst>
        </pc:spChg>
        <pc:spChg chg="add del mod modVis">
          <ac:chgData name="Adrian Kisliuk" userId="81f189f0-3ed9-4f29-a7b1-770f7af93676" providerId="ADAL" clId="{E0DC2C09-EEDF-4B0C-ABE5-5BFC4FB651FA}" dt="2021-03-03T07:04:30.846" v="1089"/>
          <ac:spMkLst>
            <pc:docMk/>
            <pc:sldMk cId="2509517720" sldId="820"/>
            <ac:spMk id="3" creationId="{67606E9F-A7C8-49C1-98A6-8B1683B0AAD4}"/>
          </ac:spMkLst>
        </pc:spChg>
        <pc:spChg chg="mod">
          <ac:chgData name="Adrian Kisliuk" userId="81f189f0-3ed9-4f29-a7b1-770f7af93676" providerId="ADAL" clId="{E0DC2C09-EEDF-4B0C-ABE5-5BFC4FB651FA}" dt="2021-03-03T07:04:30.846" v="1089"/>
          <ac:spMkLst>
            <pc:docMk/>
            <pc:sldMk cId="2509517720" sldId="820"/>
            <ac:spMk id="11" creationId="{4F40012B-730E-4563-9DD9-41229AD9971E}"/>
          </ac:spMkLst>
        </pc:spChg>
        <pc:spChg chg="mod">
          <ac:chgData name="Adrian Kisliuk" userId="81f189f0-3ed9-4f29-a7b1-770f7af93676" providerId="ADAL" clId="{E0DC2C09-EEDF-4B0C-ABE5-5BFC4FB651FA}" dt="2021-03-03T07:04:30.846" v="1089"/>
          <ac:spMkLst>
            <pc:docMk/>
            <pc:sldMk cId="2509517720" sldId="820"/>
            <ac:spMk id="26" creationId="{CE1C3E13-AF8F-4301-B411-986CE84A3DD5}"/>
          </ac:spMkLst>
        </pc:spChg>
        <pc:spChg chg="mod">
          <ac:chgData name="Adrian Kisliuk" userId="81f189f0-3ed9-4f29-a7b1-770f7af93676" providerId="ADAL" clId="{E0DC2C09-EEDF-4B0C-ABE5-5BFC4FB651FA}" dt="2021-03-03T07:04:30.846" v="1089"/>
          <ac:spMkLst>
            <pc:docMk/>
            <pc:sldMk cId="2509517720" sldId="820"/>
            <ac:spMk id="28" creationId="{EBCF4F41-59E1-4F76-BE07-8DD6A2304129}"/>
          </ac:spMkLst>
        </pc:spChg>
        <pc:spChg chg="mod">
          <ac:chgData name="Adrian Kisliuk" userId="81f189f0-3ed9-4f29-a7b1-770f7af93676" providerId="ADAL" clId="{E0DC2C09-EEDF-4B0C-ABE5-5BFC4FB651FA}" dt="2021-03-03T07:04:30.846" v="1089"/>
          <ac:spMkLst>
            <pc:docMk/>
            <pc:sldMk cId="2509517720" sldId="820"/>
            <ac:spMk id="29" creationId="{17760F75-D6E9-4BB1-BA35-50F4ACDBFC19}"/>
          </ac:spMkLst>
        </pc:spChg>
        <pc:graphicFrameChg chg="mod">
          <ac:chgData name="Adrian Kisliuk" userId="81f189f0-3ed9-4f29-a7b1-770f7af93676" providerId="ADAL" clId="{E0DC2C09-EEDF-4B0C-ABE5-5BFC4FB651FA}" dt="2021-03-03T07:04:30.918" v="1109"/>
          <ac:graphicFrameMkLst>
            <pc:docMk/>
            <pc:sldMk cId="2509517720" sldId="820"/>
            <ac:graphicFrameMk id="6" creationId="{4828E88A-D5C2-4929-A058-2CC608F5A67D}"/>
          </ac:graphicFrameMkLst>
        </pc:graphicFrameChg>
        <pc:cxnChg chg="mod">
          <ac:chgData name="Adrian Kisliuk" userId="81f189f0-3ed9-4f29-a7b1-770f7af93676" providerId="ADAL" clId="{E0DC2C09-EEDF-4B0C-ABE5-5BFC4FB651FA}" dt="2021-03-03T07:04:30.846" v="1089"/>
          <ac:cxnSpMkLst>
            <pc:docMk/>
            <pc:sldMk cId="2509517720" sldId="820"/>
            <ac:cxnSpMk id="27" creationId="{F23228C4-B5F4-4412-B4C7-E4B06BBF02CA}"/>
          </ac:cxnSpMkLst>
        </pc:cxnChg>
      </pc:sldChg>
      <pc:sldChg chg="addSp delSp modSp mod">
        <pc:chgData name="Adrian Kisliuk" userId="81f189f0-3ed9-4f29-a7b1-770f7af93676" providerId="ADAL" clId="{E0DC2C09-EEDF-4B0C-ABE5-5BFC4FB651FA}" dt="2021-03-03T13:58:08.139" v="4201" actId="20577"/>
        <pc:sldMkLst>
          <pc:docMk/>
          <pc:sldMk cId="1161844579" sldId="821"/>
        </pc:sldMkLst>
        <pc:spChg chg="mod">
          <ac:chgData name="Adrian Kisliuk" userId="81f189f0-3ed9-4f29-a7b1-770f7af93676" providerId="ADAL" clId="{E0DC2C09-EEDF-4B0C-ABE5-5BFC4FB651FA}" dt="2021-03-03T07:04:30.846" v="1089"/>
          <ac:spMkLst>
            <pc:docMk/>
            <pc:sldMk cId="1161844579" sldId="821"/>
            <ac:spMk id="2" creationId="{DE936FAF-2E76-49E3-A26B-EE542092B6EF}"/>
          </ac:spMkLst>
        </pc:spChg>
        <pc:spChg chg="add del mod modVis">
          <ac:chgData name="Adrian Kisliuk" userId="81f189f0-3ed9-4f29-a7b1-770f7af93676" providerId="ADAL" clId="{E0DC2C09-EEDF-4B0C-ABE5-5BFC4FB651FA}" dt="2021-03-03T07:04:30.846" v="1089"/>
          <ac:spMkLst>
            <pc:docMk/>
            <pc:sldMk cId="1161844579" sldId="821"/>
            <ac:spMk id="3" creationId="{F3E90583-D113-4512-8B65-F1A5309B3D04}"/>
          </ac:spMkLst>
        </pc:spChg>
        <pc:spChg chg="mod">
          <ac:chgData name="Adrian Kisliuk" userId="81f189f0-3ed9-4f29-a7b1-770f7af93676" providerId="ADAL" clId="{E0DC2C09-EEDF-4B0C-ABE5-5BFC4FB651FA}" dt="2021-03-03T13:58:08.139" v="4201" actId="20577"/>
          <ac:spMkLst>
            <pc:docMk/>
            <pc:sldMk cId="1161844579" sldId="821"/>
            <ac:spMk id="9" creationId="{D6E18E4B-4E9B-4CFD-AF88-29C3A515D1B4}"/>
          </ac:spMkLst>
        </pc:spChg>
        <pc:spChg chg="mod">
          <ac:chgData name="Adrian Kisliuk" userId="81f189f0-3ed9-4f29-a7b1-770f7af93676" providerId="ADAL" clId="{E0DC2C09-EEDF-4B0C-ABE5-5BFC4FB651FA}" dt="2021-03-03T07:04:30.846" v="1089"/>
          <ac:spMkLst>
            <pc:docMk/>
            <pc:sldMk cId="1161844579" sldId="821"/>
            <ac:spMk id="15" creationId="{438E61C8-3310-417E-857B-5FE9009B583C}"/>
          </ac:spMkLst>
        </pc:spChg>
        <pc:spChg chg="mod">
          <ac:chgData name="Adrian Kisliuk" userId="81f189f0-3ed9-4f29-a7b1-770f7af93676" providerId="ADAL" clId="{E0DC2C09-EEDF-4B0C-ABE5-5BFC4FB651FA}" dt="2021-03-03T07:04:30.846" v="1089"/>
          <ac:spMkLst>
            <pc:docMk/>
            <pc:sldMk cId="1161844579" sldId="821"/>
            <ac:spMk id="17" creationId="{28DC8D71-92A3-47AA-97BB-5BCFF31B461A}"/>
          </ac:spMkLst>
        </pc:spChg>
        <pc:spChg chg="mod">
          <ac:chgData name="Adrian Kisliuk" userId="81f189f0-3ed9-4f29-a7b1-770f7af93676" providerId="ADAL" clId="{E0DC2C09-EEDF-4B0C-ABE5-5BFC4FB651FA}" dt="2021-03-03T07:04:30.846" v="1089"/>
          <ac:spMkLst>
            <pc:docMk/>
            <pc:sldMk cId="1161844579" sldId="821"/>
            <ac:spMk id="18" creationId="{A4FA0F6C-1044-40F3-A415-376719684F27}"/>
          </ac:spMkLst>
        </pc:spChg>
        <pc:graphicFrameChg chg="mod">
          <ac:chgData name="Adrian Kisliuk" userId="81f189f0-3ed9-4f29-a7b1-770f7af93676" providerId="ADAL" clId="{E0DC2C09-EEDF-4B0C-ABE5-5BFC4FB651FA}" dt="2021-03-03T07:04:30.911" v="1105"/>
          <ac:graphicFrameMkLst>
            <pc:docMk/>
            <pc:sldMk cId="1161844579" sldId="821"/>
            <ac:graphicFrameMk id="6" creationId="{580DFCAE-76C4-413B-B499-F7B76F1E13AF}"/>
          </ac:graphicFrameMkLst>
        </pc:graphicFrameChg>
        <pc:cxnChg chg="mod">
          <ac:chgData name="Adrian Kisliuk" userId="81f189f0-3ed9-4f29-a7b1-770f7af93676" providerId="ADAL" clId="{E0DC2C09-EEDF-4B0C-ABE5-5BFC4FB651FA}" dt="2021-03-03T07:04:30.846" v="1089"/>
          <ac:cxnSpMkLst>
            <pc:docMk/>
            <pc:sldMk cId="1161844579" sldId="821"/>
            <ac:cxnSpMk id="10" creationId="{358A171D-C672-4196-9360-80C5160B1063}"/>
          </ac:cxnSpMkLst>
        </pc:cxnChg>
        <pc:cxnChg chg="mod">
          <ac:chgData name="Adrian Kisliuk" userId="81f189f0-3ed9-4f29-a7b1-770f7af93676" providerId="ADAL" clId="{E0DC2C09-EEDF-4B0C-ABE5-5BFC4FB651FA}" dt="2021-03-03T07:04:30.846" v="1089"/>
          <ac:cxnSpMkLst>
            <pc:docMk/>
            <pc:sldMk cId="1161844579" sldId="821"/>
            <ac:cxnSpMk id="19" creationId="{FDD861AD-2623-4DFE-BE15-0320BD4DED87}"/>
          </ac:cxnSpMkLst>
        </pc:cxnChg>
      </pc:sldChg>
      <pc:sldChg chg="addSp delSp modSp mod">
        <pc:chgData name="Adrian Kisliuk" userId="81f189f0-3ed9-4f29-a7b1-770f7af93676" providerId="ADAL" clId="{E0DC2C09-EEDF-4B0C-ABE5-5BFC4FB651FA}" dt="2021-03-03T12:48:06.450" v="2612" actId="12"/>
        <pc:sldMkLst>
          <pc:docMk/>
          <pc:sldMk cId="3742493326" sldId="830"/>
        </pc:sldMkLst>
        <pc:spChg chg="add del mod modVis">
          <ac:chgData name="Adrian Kisliuk" userId="81f189f0-3ed9-4f29-a7b1-770f7af93676" providerId="ADAL" clId="{E0DC2C09-EEDF-4B0C-ABE5-5BFC4FB651FA}" dt="2021-03-03T07:04:30.846" v="1089"/>
          <ac:spMkLst>
            <pc:docMk/>
            <pc:sldMk cId="3742493326" sldId="830"/>
            <ac:spMk id="2" creationId="{5B7DCE82-8186-4A9C-92F8-DAE0297AA99B}"/>
          </ac:spMkLst>
        </pc:spChg>
        <pc:spChg chg="mod">
          <ac:chgData name="Adrian Kisliuk" userId="81f189f0-3ed9-4f29-a7b1-770f7af93676" providerId="ADAL" clId="{E0DC2C09-EEDF-4B0C-ABE5-5BFC4FB651FA}" dt="2021-03-03T07:04:30.846" v="1089"/>
          <ac:spMkLst>
            <pc:docMk/>
            <pc:sldMk cId="3742493326" sldId="830"/>
            <ac:spMk id="9" creationId="{D6E18E4B-4E9B-4CFD-AF88-29C3A515D1B4}"/>
          </ac:spMkLst>
        </pc:spChg>
        <pc:spChg chg="mod">
          <ac:chgData name="Adrian Kisliuk" userId="81f189f0-3ed9-4f29-a7b1-770f7af93676" providerId="ADAL" clId="{E0DC2C09-EEDF-4B0C-ABE5-5BFC4FB651FA}" dt="2021-03-03T07:04:30.846" v="1089"/>
          <ac:spMkLst>
            <pc:docMk/>
            <pc:sldMk cId="3742493326" sldId="830"/>
            <ac:spMk id="13" creationId="{EF1007E3-6D8E-4D3B-A5C7-29F239CAFC32}"/>
          </ac:spMkLst>
        </pc:spChg>
        <pc:spChg chg="mod">
          <ac:chgData name="Adrian Kisliuk" userId="81f189f0-3ed9-4f29-a7b1-770f7af93676" providerId="ADAL" clId="{E0DC2C09-EEDF-4B0C-ABE5-5BFC4FB651FA}" dt="2021-03-03T12:48:06.450" v="2612" actId="12"/>
          <ac:spMkLst>
            <pc:docMk/>
            <pc:sldMk cId="3742493326" sldId="830"/>
            <ac:spMk id="17" creationId="{28DC8D71-92A3-47AA-97BB-5BCFF31B461A}"/>
          </ac:spMkLst>
        </pc:spChg>
        <pc:graphicFrameChg chg="mod">
          <ac:chgData name="Adrian Kisliuk" userId="81f189f0-3ed9-4f29-a7b1-770f7af93676" providerId="ADAL" clId="{E0DC2C09-EEDF-4B0C-ABE5-5BFC4FB651FA}" dt="2021-03-03T07:04:30.903" v="1101"/>
          <ac:graphicFrameMkLst>
            <pc:docMk/>
            <pc:sldMk cId="3742493326" sldId="830"/>
            <ac:graphicFrameMk id="15" creationId="{CA59FC19-9615-42DF-AB71-78FBABA72D2E}"/>
          </ac:graphicFrameMkLst>
        </pc:graphicFrameChg>
        <pc:cxnChg chg="mod">
          <ac:chgData name="Adrian Kisliuk" userId="81f189f0-3ed9-4f29-a7b1-770f7af93676" providerId="ADAL" clId="{E0DC2C09-EEDF-4B0C-ABE5-5BFC4FB651FA}" dt="2021-03-03T07:04:30.846" v="1089"/>
          <ac:cxnSpMkLst>
            <pc:docMk/>
            <pc:sldMk cId="3742493326" sldId="830"/>
            <ac:cxnSpMk id="10" creationId="{358A171D-C672-4196-9360-80C5160B1063}"/>
          </ac:cxnSpMkLst>
        </pc:cxnChg>
      </pc:sldChg>
      <pc:sldChg chg="addSp delSp modSp mod">
        <pc:chgData name="Adrian Kisliuk" userId="81f189f0-3ed9-4f29-a7b1-770f7af93676" providerId="ADAL" clId="{E0DC2C09-EEDF-4B0C-ABE5-5BFC4FB651FA}" dt="2021-03-03T07:04:30.893" v="1097"/>
        <pc:sldMkLst>
          <pc:docMk/>
          <pc:sldMk cId="3217164513" sldId="833"/>
        </pc:sldMkLst>
        <pc:spChg chg="add del mod modVis">
          <ac:chgData name="Adrian Kisliuk" userId="81f189f0-3ed9-4f29-a7b1-770f7af93676" providerId="ADAL" clId="{E0DC2C09-EEDF-4B0C-ABE5-5BFC4FB651FA}" dt="2021-03-03T07:04:30.846" v="1089"/>
          <ac:spMkLst>
            <pc:docMk/>
            <pc:sldMk cId="3217164513" sldId="833"/>
            <ac:spMk id="3" creationId="{FA2CF0E7-2342-478D-9AAB-D82A67C2C7B3}"/>
          </ac:spMkLst>
        </pc:spChg>
        <pc:spChg chg="mod">
          <ac:chgData name="Adrian Kisliuk" userId="81f189f0-3ed9-4f29-a7b1-770f7af93676" providerId="ADAL" clId="{E0DC2C09-EEDF-4B0C-ABE5-5BFC4FB651FA}" dt="2021-03-03T07:04:30.846" v="1089"/>
          <ac:spMkLst>
            <pc:docMk/>
            <pc:sldMk cId="3217164513" sldId="833"/>
            <ac:spMk id="29" creationId="{B5AFC59E-6F27-43BE-80D9-FDF9FDFFB87F}"/>
          </ac:spMkLst>
        </pc:spChg>
        <pc:spChg chg="mod">
          <ac:chgData name="Adrian Kisliuk" userId="81f189f0-3ed9-4f29-a7b1-770f7af93676" providerId="ADAL" clId="{E0DC2C09-EEDF-4B0C-ABE5-5BFC4FB651FA}" dt="2021-03-03T07:04:30.846" v="1089"/>
          <ac:spMkLst>
            <pc:docMk/>
            <pc:sldMk cId="3217164513" sldId="833"/>
            <ac:spMk id="30" creationId="{199D8EFB-88FC-472F-BE8F-341B4A80D369}"/>
          </ac:spMkLst>
        </pc:spChg>
        <pc:spChg chg="mod">
          <ac:chgData name="Adrian Kisliuk" userId="81f189f0-3ed9-4f29-a7b1-770f7af93676" providerId="ADAL" clId="{E0DC2C09-EEDF-4B0C-ABE5-5BFC4FB651FA}" dt="2021-03-03T07:04:30.846" v="1089"/>
          <ac:spMkLst>
            <pc:docMk/>
            <pc:sldMk cId="3217164513" sldId="833"/>
            <ac:spMk id="31" creationId="{1BB83D65-74FF-4A94-8BE0-D5B4D19D7974}"/>
          </ac:spMkLst>
        </pc:spChg>
        <pc:spChg chg="mod">
          <ac:chgData name="Adrian Kisliuk" userId="81f189f0-3ed9-4f29-a7b1-770f7af93676" providerId="ADAL" clId="{E0DC2C09-EEDF-4B0C-ABE5-5BFC4FB651FA}" dt="2021-03-03T07:04:30.846" v="1089"/>
          <ac:spMkLst>
            <pc:docMk/>
            <pc:sldMk cId="3217164513" sldId="833"/>
            <ac:spMk id="32" creationId="{DA99D21D-0AD7-4A7E-9602-DCBC860847F1}"/>
          </ac:spMkLst>
        </pc:spChg>
        <pc:spChg chg="mod">
          <ac:chgData name="Adrian Kisliuk" userId="81f189f0-3ed9-4f29-a7b1-770f7af93676" providerId="ADAL" clId="{E0DC2C09-EEDF-4B0C-ABE5-5BFC4FB651FA}" dt="2021-03-03T07:04:30.846" v="1089"/>
          <ac:spMkLst>
            <pc:docMk/>
            <pc:sldMk cId="3217164513" sldId="833"/>
            <ac:spMk id="33" creationId="{992D1074-C583-484C-85C4-37F8D5D59A8C}"/>
          </ac:spMkLst>
        </pc:spChg>
        <pc:spChg chg="mod">
          <ac:chgData name="Adrian Kisliuk" userId="81f189f0-3ed9-4f29-a7b1-770f7af93676" providerId="ADAL" clId="{E0DC2C09-EEDF-4B0C-ABE5-5BFC4FB651FA}" dt="2021-03-03T07:04:30.846" v="1089"/>
          <ac:spMkLst>
            <pc:docMk/>
            <pc:sldMk cId="3217164513" sldId="833"/>
            <ac:spMk id="34" creationId="{EC228732-8A0E-43E7-B7C7-82EF3A584AFB}"/>
          </ac:spMkLst>
        </pc:spChg>
        <pc:spChg chg="mod">
          <ac:chgData name="Adrian Kisliuk" userId="81f189f0-3ed9-4f29-a7b1-770f7af93676" providerId="ADAL" clId="{E0DC2C09-EEDF-4B0C-ABE5-5BFC4FB651FA}" dt="2021-03-03T07:04:30.846" v="1089"/>
          <ac:spMkLst>
            <pc:docMk/>
            <pc:sldMk cId="3217164513" sldId="833"/>
            <ac:spMk id="35" creationId="{78A17BAE-8640-4431-A76D-EC0926C0323F}"/>
          </ac:spMkLst>
        </pc:spChg>
        <pc:spChg chg="mod">
          <ac:chgData name="Adrian Kisliuk" userId="81f189f0-3ed9-4f29-a7b1-770f7af93676" providerId="ADAL" clId="{E0DC2C09-EEDF-4B0C-ABE5-5BFC4FB651FA}" dt="2021-03-03T07:04:30.846" v="1089"/>
          <ac:spMkLst>
            <pc:docMk/>
            <pc:sldMk cId="3217164513" sldId="833"/>
            <ac:spMk id="36" creationId="{44E53A76-1FF2-4561-AB4A-3F6C08A2FDD4}"/>
          </ac:spMkLst>
        </pc:spChg>
        <pc:spChg chg="mod">
          <ac:chgData name="Adrian Kisliuk" userId="81f189f0-3ed9-4f29-a7b1-770f7af93676" providerId="ADAL" clId="{E0DC2C09-EEDF-4B0C-ABE5-5BFC4FB651FA}" dt="2021-03-03T07:04:30.846" v="1089"/>
          <ac:spMkLst>
            <pc:docMk/>
            <pc:sldMk cId="3217164513" sldId="833"/>
            <ac:spMk id="39" creationId="{130F0DB6-CE93-4039-A548-8355E4DBEE7C}"/>
          </ac:spMkLst>
        </pc:spChg>
        <pc:spChg chg="mod">
          <ac:chgData name="Adrian Kisliuk" userId="81f189f0-3ed9-4f29-a7b1-770f7af93676" providerId="ADAL" clId="{E0DC2C09-EEDF-4B0C-ABE5-5BFC4FB651FA}" dt="2021-03-03T07:04:30.846" v="1089"/>
          <ac:spMkLst>
            <pc:docMk/>
            <pc:sldMk cId="3217164513" sldId="833"/>
            <ac:spMk id="40" creationId="{4A8C49D1-E95B-458C-806E-968AC60A73CC}"/>
          </ac:spMkLst>
        </pc:spChg>
        <pc:spChg chg="mod">
          <ac:chgData name="Adrian Kisliuk" userId="81f189f0-3ed9-4f29-a7b1-770f7af93676" providerId="ADAL" clId="{E0DC2C09-EEDF-4B0C-ABE5-5BFC4FB651FA}" dt="2021-03-03T07:04:30.846" v="1089"/>
          <ac:spMkLst>
            <pc:docMk/>
            <pc:sldMk cId="3217164513" sldId="833"/>
            <ac:spMk id="41" creationId="{BEB3AAEA-7608-4765-955F-30B8C0640185}"/>
          </ac:spMkLst>
        </pc:spChg>
        <pc:spChg chg="mod">
          <ac:chgData name="Adrian Kisliuk" userId="81f189f0-3ed9-4f29-a7b1-770f7af93676" providerId="ADAL" clId="{E0DC2C09-EEDF-4B0C-ABE5-5BFC4FB651FA}" dt="2021-03-03T07:04:30.846" v="1089"/>
          <ac:spMkLst>
            <pc:docMk/>
            <pc:sldMk cId="3217164513" sldId="833"/>
            <ac:spMk id="42" creationId="{91A23A11-CF4F-4C12-89D8-F3200E1AEBAF}"/>
          </ac:spMkLst>
        </pc:spChg>
        <pc:spChg chg="mod">
          <ac:chgData name="Adrian Kisliuk" userId="81f189f0-3ed9-4f29-a7b1-770f7af93676" providerId="ADAL" clId="{E0DC2C09-EEDF-4B0C-ABE5-5BFC4FB651FA}" dt="2021-03-03T07:04:30.846" v="1089"/>
          <ac:spMkLst>
            <pc:docMk/>
            <pc:sldMk cId="3217164513" sldId="833"/>
            <ac:spMk id="43" creationId="{B9067C4C-21AB-49D4-BD59-3CD7826D0B1F}"/>
          </ac:spMkLst>
        </pc:spChg>
        <pc:spChg chg="mod">
          <ac:chgData name="Adrian Kisliuk" userId="81f189f0-3ed9-4f29-a7b1-770f7af93676" providerId="ADAL" clId="{E0DC2C09-EEDF-4B0C-ABE5-5BFC4FB651FA}" dt="2021-03-03T07:04:30.846" v="1089"/>
          <ac:spMkLst>
            <pc:docMk/>
            <pc:sldMk cId="3217164513" sldId="833"/>
            <ac:spMk id="44" creationId="{6C0F3FDB-9047-4906-9E63-DCEE0779FD77}"/>
          </ac:spMkLst>
        </pc:spChg>
        <pc:spChg chg="mod">
          <ac:chgData name="Adrian Kisliuk" userId="81f189f0-3ed9-4f29-a7b1-770f7af93676" providerId="ADAL" clId="{E0DC2C09-EEDF-4B0C-ABE5-5BFC4FB651FA}" dt="2021-03-03T07:04:30.846" v="1089"/>
          <ac:spMkLst>
            <pc:docMk/>
            <pc:sldMk cId="3217164513" sldId="833"/>
            <ac:spMk id="45" creationId="{DDFF6376-166C-4D27-8D6A-16635BB15179}"/>
          </ac:spMkLst>
        </pc:spChg>
        <pc:spChg chg="mod">
          <ac:chgData name="Adrian Kisliuk" userId="81f189f0-3ed9-4f29-a7b1-770f7af93676" providerId="ADAL" clId="{E0DC2C09-EEDF-4B0C-ABE5-5BFC4FB651FA}" dt="2021-03-03T07:04:30.846" v="1089"/>
          <ac:spMkLst>
            <pc:docMk/>
            <pc:sldMk cId="3217164513" sldId="833"/>
            <ac:spMk id="50" creationId="{B5934D37-F96D-4A98-9241-13260DD67447}"/>
          </ac:spMkLst>
        </pc:spChg>
        <pc:spChg chg="mod">
          <ac:chgData name="Adrian Kisliuk" userId="81f189f0-3ed9-4f29-a7b1-770f7af93676" providerId="ADAL" clId="{E0DC2C09-EEDF-4B0C-ABE5-5BFC4FB651FA}" dt="2021-03-03T07:04:30.846" v="1089"/>
          <ac:spMkLst>
            <pc:docMk/>
            <pc:sldMk cId="3217164513" sldId="833"/>
            <ac:spMk id="51" creationId="{C22B3DB2-2CBE-4627-96CF-D654369CBE05}"/>
          </ac:spMkLst>
        </pc:spChg>
        <pc:spChg chg="mod">
          <ac:chgData name="Adrian Kisliuk" userId="81f189f0-3ed9-4f29-a7b1-770f7af93676" providerId="ADAL" clId="{E0DC2C09-EEDF-4B0C-ABE5-5BFC4FB651FA}" dt="2021-03-03T07:04:30.846" v="1089"/>
          <ac:spMkLst>
            <pc:docMk/>
            <pc:sldMk cId="3217164513" sldId="833"/>
            <ac:spMk id="52" creationId="{DC0AD07F-1761-42B1-9EA8-8540CD91CC2D}"/>
          </ac:spMkLst>
        </pc:spChg>
        <pc:spChg chg="mod">
          <ac:chgData name="Adrian Kisliuk" userId="81f189f0-3ed9-4f29-a7b1-770f7af93676" providerId="ADAL" clId="{E0DC2C09-EEDF-4B0C-ABE5-5BFC4FB651FA}" dt="2021-03-03T07:04:30.846" v="1089"/>
          <ac:spMkLst>
            <pc:docMk/>
            <pc:sldMk cId="3217164513" sldId="833"/>
            <ac:spMk id="53" creationId="{710668EB-84E6-477B-B999-CBE96F3B621C}"/>
          </ac:spMkLst>
        </pc:spChg>
        <pc:spChg chg="mod">
          <ac:chgData name="Adrian Kisliuk" userId="81f189f0-3ed9-4f29-a7b1-770f7af93676" providerId="ADAL" clId="{E0DC2C09-EEDF-4B0C-ABE5-5BFC4FB651FA}" dt="2021-03-03T07:04:30.846" v="1089"/>
          <ac:spMkLst>
            <pc:docMk/>
            <pc:sldMk cId="3217164513" sldId="833"/>
            <ac:spMk id="54" creationId="{990F7519-4871-489D-B558-E1EB43F5B6B2}"/>
          </ac:spMkLst>
        </pc:spChg>
        <pc:spChg chg="mod">
          <ac:chgData name="Adrian Kisliuk" userId="81f189f0-3ed9-4f29-a7b1-770f7af93676" providerId="ADAL" clId="{E0DC2C09-EEDF-4B0C-ABE5-5BFC4FB651FA}" dt="2021-03-03T07:04:30.846" v="1089"/>
          <ac:spMkLst>
            <pc:docMk/>
            <pc:sldMk cId="3217164513" sldId="833"/>
            <ac:spMk id="55" creationId="{A83F9FBA-340A-47F2-9FC4-05E3FC35F52F}"/>
          </ac:spMkLst>
        </pc:spChg>
        <pc:spChg chg="mod">
          <ac:chgData name="Adrian Kisliuk" userId="81f189f0-3ed9-4f29-a7b1-770f7af93676" providerId="ADAL" clId="{E0DC2C09-EEDF-4B0C-ABE5-5BFC4FB651FA}" dt="2021-03-03T07:04:30.846" v="1089"/>
          <ac:spMkLst>
            <pc:docMk/>
            <pc:sldMk cId="3217164513" sldId="833"/>
            <ac:spMk id="59" creationId="{C4ED78C6-0F2E-476B-9A02-F42B53222EA6}"/>
          </ac:spMkLst>
        </pc:spChg>
        <pc:spChg chg="mod">
          <ac:chgData name="Adrian Kisliuk" userId="81f189f0-3ed9-4f29-a7b1-770f7af93676" providerId="ADAL" clId="{E0DC2C09-EEDF-4B0C-ABE5-5BFC4FB651FA}" dt="2021-03-03T07:04:30.846" v="1089"/>
          <ac:spMkLst>
            <pc:docMk/>
            <pc:sldMk cId="3217164513" sldId="833"/>
            <ac:spMk id="66" creationId="{8DB15C6C-26B2-4E0E-8012-91AC0D578236}"/>
          </ac:spMkLst>
        </pc:spChg>
        <pc:spChg chg="mod">
          <ac:chgData name="Adrian Kisliuk" userId="81f189f0-3ed9-4f29-a7b1-770f7af93676" providerId="ADAL" clId="{E0DC2C09-EEDF-4B0C-ABE5-5BFC4FB651FA}" dt="2021-03-03T07:04:30.846" v="1089"/>
          <ac:spMkLst>
            <pc:docMk/>
            <pc:sldMk cId="3217164513" sldId="833"/>
            <ac:spMk id="67" creationId="{69BD7A21-5246-48E7-8971-EE89AF43B7FB}"/>
          </ac:spMkLst>
        </pc:spChg>
        <pc:spChg chg="mod">
          <ac:chgData name="Adrian Kisliuk" userId="81f189f0-3ed9-4f29-a7b1-770f7af93676" providerId="ADAL" clId="{E0DC2C09-EEDF-4B0C-ABE5-5BFC4FB651FA}" dt="2021-03-03T07:04:30.846" v="1089"/>
          <ac:spMkLst>
            <pc:docMk/>
            <pc:sldMk cId="3217164513" sldId="833"/>
            <ac:spMk id="69" creationId="{0B5DCB8A-087B-4670-9212-F2E3FEC89102}"/>
          </ac:spMkLst>
        </pc:spChg>
        <pc:spChg chg="mod">
          <ac:chgData name="Adrian Kisliuk" userId="81f189f0-3ed9-4f29-a7b1-770f7af93676" providerId="ADAL" clId="{E0DC2C09-EEDF-4B0C-ABE5-5BFC4FB651FA}" dt="2021-03-03T07:04:30.846" v="1089"/>
          <ac:spMkLst>
            <pc:docMk/>
            <pc:sldMk cId="3217164513" sldId="833"/>
            <ac:spMk id="70" creationId="{A6E85F34-F3FF-45FB-8F43-6E829CE9DD65}"/>
          </ac:spMkLst>
        </pc:spChg>
        <pc:spChg chg="mod">
          <ac:chgData name="Adrian Kisliuk" userId="81f189f0-3ed9-4f29-a7b1-770f7af93676" providerId="ADAL" clId="{E0DC2C09-EEDF-4B0C-ABE5-5BFC4FB651FA}" dt="2021-03-03T07:04:30.846" v="1089"/>
          <ac:spMkLst>
            <pc:docMk/>
            <pc:sldMk cId="3217164513" sldId="833"/>
            <ac:spMk id="71" creationId="{4B62EC6E-0E3B-4D8A-A332-428F7C77471E}"/>
          </ac:spMkLst>
        </pc:spChg>
        <pc:spChg chg="mod">
          <ac:chgData name="Adrian Kisliuk" userId="81f189f0-3ed9-4f29-a7b1-770f7af93676" providerId="ADAL" clId="{E0DC2C09-EEDF-4B0C-ABE5-5BFC4FB651FA}" dt="2021-03-03T07:04:30.846" v="1089"/>
          <ac:spMkLst>
            <pc:docMk/>
            <pc:sldMk cId="3217164513" sldId="833"/>
            <ac:spMk id="72" creationId="{F387C8CF-50CE-4F74-8615-0F336D3BC11D}"/>
          </ac:spMkLst>
        </pc:spChg>
        <pc:spChg chg="mod">
          <ac:chgData name="Adrian Kisliuk" userId="81f189f0-3ed9-4f29-a7b1-770f7af93676" providerId="ADAL" clId="{E0DC2C09-EEDF-4B0C-ABE5-5BFC4FB651FA}" dt="2021-03-03T07:04:30.846" v="1089"/>
          <ac:spMkLst>
            <pc:docMk/>
            <pc:sldMk cId="3217164513" sldId="833"/>
            <ac:spMk id="73" creationId="{E078C03A-75D8-40C1-BCF7-FDEEABC87E83}"/>
          </ac:spMkLst>
        </pc:spChg>
        <pc:spChg chg="mod">
          <ac:chgData name="Adrian Kisliuk" userId="81f189f0-3ed9-4f29-a7b1-770f7af93676" providerId="ADAL" clId="{E0DC2C09-EEDF-4B0C-ABE5-5BFC4FB651FA}" dt="2021-03-03T07:04:30.846" v="1089"/>
          <ac:spMkLst>
            <pc:docMk/>
            <pc:sldMk cId="3217164513" sldId="833"/>
            <ac:spMk id="76" creationId="{8060BAA4-321B-4EE7-9C2C-C1859C14637C}"/>
          </ac:spMkLst>
        </pc:spChg>
        <pc:spChg chg="mod">
          <ac:chgData name="Adrian Kisliuk" userId="81f189f0-3ed9-4f29-a7b1-770f7af93676" providerId="ADAL" clId="{E0DC2C09-EEDF-4B0C-ABE5-5BFC4FB651FA}" dt="2021-03-03T07:04:30.846" v="1089"/>
          <ac:spMkLst>
            <pc:docMk/>
            <pc:sldMk cId="3217164513" sldId="833"/>
            <ac:spMk id="77" creationId="{11DCE4A2-056D-42ED-8D6F-D3406FF41A32}"/>
          </ac:spMkLst>
        </pc:spChg>
        <pc:spChg chg="mod">
          <ac:chgData name="Adrian Kisliuk" userId="81f189f0-3ed9-4f29-a7b1-770f7af93676" providerId="ADAL" clId="{E0DC2C09-EEDF-4B0C-ABE5-5BFC4FB651FA}" dt="2021-03-03T07:04:30.846" v="1089"/>
          <ac:spMkLst>
            <pc:docMk/>
            <pc:sldMk cId="3217164513" sldId="833"/>
            <ac:spMk id="78" creationId="{9DD98053-CA53-4F68-9322-5B080897B0CC}"/>
          </ac:spMkLst>
        </pc:spChg>
        <pc:spChg chg="mod">
          <ac:chgData name="Adrian Kisliuk" userId="81f189f0-3ed9-4f29-a7b1-770f7af93676" providerId="ADAL" clId="{E0DC2C09-EEDF-4B0C-ABE5-5BFC4FB651FA}" dt="2021-03-03T07:04:30.846" v="1089"/>
          <ac:spMkLst>
            <pc:docMk/>
            <pc:sldMk cId="3217164513" sldId="833"/>
            <ac:spMk id="79" creationId="{0757E8F6-ABE3-4F1A-9E69-E647C802B8EE}"/>
          </ac:spMkLst>
        </pc:spChg>
        <pc:spChg chg="mod">
          <ac:chgData name="Adrian Kisliuk" userId="81f189f0-3ed9-4f29-a7b1-770f7af93676" providerId="ADAL" clId="{E0DC2C09-EEDF-4B0C-ABE5-5BFC4FB651FA}" dt="2021-03-03T07:04:30.846" v="1089"/>
          <ac:spMkLst>
            <pc:docMk/>
            <pc:sldMk cId="3217164513" sldId="833"/>
            <ac:spMk id="80" creationId="{F7C31C21-A9CE-4A5C-BE0D-C82F7ABAB293}"/>
          </ac:spMkLst>
        </pc:spChg>
        <pc:spChg chg="mod">
          <ac:chgData name="Adrian Kisliuk" userId="81f189f0-3ed9-4f29-a7b1-770f7af93676" providerId="ADAL" clId="{E0DC2C09-EEDF-4B0C-ABE5-5BFC4FB651FA}" dt="2021-03-03T07:04:30.846" v="1089"/>
          <ac:spMkLst>
            <pc:docMk/>
            <pc:sldMk cId="3217164513" sldId="833"/>
            <ac:spMk id="81" creationId="{5F4D3579-ADF4-42A4-A94F-8E1F8B62510B}"/>
          </ac:spMkLst>
        </pc:spChg>
        <pc:spChg chg="mod">
          <ac:chgData name="Adrian Kisliuk" userId="81f189f0-3ed9-4f29-a7b1-770f7af93676" providerId="ADAL" clId="{E0DC2C09-EEDF-4B0C-ABE5-5BFC4FB651FA}" dt="2021-03-03T07:04:30.846" v="1089"/>
          <ac:spMkLst>
            <pc:docMk/>
            <pc:sldMk cId="3217164513" sldId="833"/>
            <ac:spMk id="82" creationId="{7DFB7BB8-4991-4C5C-87B1-4C1FC01A2439}"/>
          </ac:spMkLst>
        </pc:spChg>
        <pc:spChg chg="mod">
          <ac:chgData name="Adrian Kisliuk" userId="81f189f0-3ed9-4f29-a7b1-770f7af93676" providerId="ADAL" clId="{E0DC2C09-EEDF-4B0C-ABE5-5BFC4FB651FA}" dt="2021-03-03T07:04:30.846" v="1089"/>
          <ac:spMkLst>
            <pc:docMk/>
            <pc:sldMk cId="3217164513" sldId="833"/>
            <ac:spMk id="87" creationId="{03738768-CBAA-4EF4-8DE9-4EE45AE55D4E}"/>
          </ac:spMkLst>
        </pc:spChg>
        <pc:spChg chg="mod">
          <ac:chgData name="Adrian Kisliuk" userId="81f189f0-3ed9-4f29-a7b1-770f7af93676" providerId="ADAL" clId="{E0DC2C09-EEDF-4B0C-ABE5-5BFC4FB651FA}" dt="2021-03-03T07:04:30.846" v="1089"/>
          <ac:spMkLst>
            <pc:docMk/>
            <pc:sldMk cId="3217164513" sldId="833"/>
            <ac:spMk id="88" creationId="{F509201B-54F6-45D9-9B53-469684E516C5}"/>
          </ac:spMkLst>
        </pc:spChg>
        <pc:spChg chg="mod">
          <ac:chgData name="Adrian Kisliuk" userId="81f189f0-3ed9-4f29-a7b1-770f7af93676" providerId="ADAL" clId="{E0DC2C09-EEDF-4B0C-ABE5-5BFC4FB651FA}" dt="2021-03-03T07:04:30.846" v="1089"/>
          <ac:spMkLst>
            <pc:docMk/>
            <pc:sldMk cId="3217164513" sldId="833"/>
            <ac:spMk id="89" creationId="{B989BEF5-64C4-410D-B3EF-B3FF04AEADE7}"/>
          </ac:spMkLst>
        </pc:spChg>
        <pc:spChg chg="mod">
          <ac:chgData name="Adrian Kisliuk" userId="81f189f0-3ed9-4f29-a7b1-770f7af93676" providerId="ADAL" clId="{E0DC2C09-EEDF-4B0C-ABE5-5BFC4FB651FA}" dt="2021-03-03T07:04:30.846" v="1089"/>
          <ac:spMkLst>
            <pc:docMk/>
            <pc:sldMk cId="3217164513" sldId="833"/>
            <ac:spMk id="90" creationId="{3030FB26-5D29-4D7A-B8F1-B81F4F0B157A}"/>
          </ac:spMkLst>
        </pc:spChg>
        <pc:spChg chg="mod">
          <ac:chgData name="Adrian Kisliuk" userId="81f189f0-3ed9-4f29-a7b1-770f7af93676" providerId="ADAL" clId="{E0DC2C09-EEDF-4B0C-ABE5-5BFC4FB651FA}" dt="2021-03-03T07:04:30.846" v="1089"/>
          <ac:spMkLst>
            <pc:docMk/>
            <pc:sldMk cId="3217164513" sldId="833"/>
            <ac:spMk id="91" creationId="{8CF78AAB-4AA0-4DA2-811B-319688ABE337}"/>
          </ac:spMkLst>
        </pc:spChg>
        <pc:spChg chg="mod">
          <ac:chgData name="Adrian Kisliuk" userId="81f189f0-3ed9-4f29-a7b1-770f7af93676" providerId="ADAL" clId="{E0DC2C09-EEDF-4B0C-ABE5-5BFC4FB651FA}" dt="2021-03-03T07:04:30.846" v="1089"/>
          <ac:spMkLst>
            <pc:docMk/>
            <pc:sldMk cId="3217164513" sldId="833"/>
            <ac:spMk id="100" creationId="{718CCEBD-1311-4DB9-8277-4828BEE859F1}"/>
          </ac:spMkLst>
        </pc:spChg>
        <pc:grpChg chg="mod">
          <ac:chgData name="Adrian Kisliuk" userId="81f189f0-3ed9-4f29-a7b1-770f7af93676" providerId="ADAL" clId="{E0DC2C09-EEDF-4B0C-ABE5-5BFC4FB651FA}" dt="2021-03-03T07:04:30.846" v="1089"/>
          <ac:grpSpMkLst>
            <pc:docMk/>
            <pc:sldMk cId="3217164513" sldId="833"/>
            <ac:grpSpMk id="46" creationId="{043DA60E-CB19-4FA9-B03C-EB2A50C2C3B6}"/>
          </ac:grpSpMkLst>
        </pc:grpChg>
        <pc:grpChg chg="mod">
          <ac:chgData name="Adrian Kisliuk" userId="81f189f0-3ed9-4f29-a7b1-770f7af93676" providerId="ADAL" clId="{E0DC2C09-EEDF-4B0C-ABE5-5BFC4FB651FA}" dt="2021-03-03T07:04:30.846" v="1089"/>
          <ac:grpSpMkLst>
            <pc:docMk/>
            <pc:sldMk cId="3217164513" sldId="833"/>
            <ac:grpSpMk id="83" creationId="{6860AE6F-F0B1-4B83-8256-38B5428B2AA2}"/>
          </ac:grpSpMkLst>
        </pc:grpChg>
        <pc:graphicFrameChg chg="mod">
          <ac:chgData name="Adrian Kisliuk" userId="81f189f0-3ed9-4f29-a7b1-770f7af93676" providerId="ADAL" clId="{E0DC2C09-EEDF-4B0C-ABE5-5BFC4FB651FA}" dt="2021-03-03T07:04:30.893" v="1097"/>
          <ac:graphicFrameMkLst>
            <pc:docMk/>
            <pc:sldMk cId="3217164513" sldId="833"/>
            <ac:graphicFrameMk id="7" creationId="{5863A9E7-2E2A-4B1C-90C1-EF823E551718}"/>
          </ac:graphicFrameMkLst>
        </pc:graphicFrameChg>
        <pc:cxnChg chg="mod">
          <ac:chgData name="Adrian Kisliuk" userId="81f189f0-3ed9-4f29-a7b1-770f7af93676" providerId="ADAL" clId="{E0DC2C09-EEDF-4B0C-ABE5-5BFC4FB651FA}" dt="2021-03-03T07:04:30.846" v="1089"/>
          <ac:cxnSpMkLst>
            <pc:docMk/>
            <pc:sldMk cId="3217164513" sldId="833"/>
            <ac:cxnSpMk id="37" creationId="{FC49E1FF-C860-40E7-9714-387C2D0EC39C}"/>
          </ac:cxnSpMkLst>
        </pc:cxnChg>
        <pc:cxnChg chg="mod">
          <ac:chgData name="Adrian Kisliuk" userId="81f189f0-3ed9-4f29-a7b1-770f7af93676" providerId="ADAL" clId="{E0DC2C09-EEDF-4B0C-ABE5-5BFC4FB651FA}" dt="2021-03-03T07:04:30.846" v="1089"/>
          <ac:cxnSpMkLst>
            <pc:docMk/>
            <pc:sldMk cId="3217164513" sldId="833"/>
            <ac:cxnSpMk id="38" creationId="{64696C07-7371-4BAC-BB42-582A3150FA89}"/>
          </ac:cxnSpMkLst>
        </pc:cxnChg>
        <pc:cxnChg chg="mod">
          <ac:chgData name="Adrian Kisliuk" userId="81f189f0-3ed9-4f29-a7b1-770f7af93676" providerId="ADAL" clId="{E0DC2C09-EEDF-4B0C-ABE5-5BFC4FB651FA}" dt="2021-03-03T07:04:30.846" v="1089"/>
          <ac:cxnSpMkLst>
            <pc:docMk/>
            <pc:sldMk cId="3217164513" sldId="833"/>
            <ac:cxnSpMk id="47" creationId="{794E4109-6492-4929-8B8C-5EB2754DC59A}"/>
          </ac:cxnSpMkLst>
        </pc:cxnChg>
        <pc:cxnChg chg="mod">
          <ac:chgData name="Adrian Kisliuk" userId="81f189f0-3ed9-4f29-a7b1-770f7af93676" providerId="ADAL" clId="{E0DC2C09-EEDF-4B0C-ABE5-5BFC4FB651FA}" dt="2021-03-03T07:04:30.846" v="1089"/>
          <ac:cxnSpMkLst>
            <pc:docMk/>
            <pc:sldMk cId="3217164513" sldId="833"/>
            <ac:cxnSpMk id="48" creationId="{D7A1B328-A333-43B8-AF17-F2D05DE7FF3C}"/>
          </ac:cxnSpMkLst>
        </pc:cxnChg>
        <pc:cxnChg chg="mod">
          <ac:chgData name="Adrian Kisliuk" userId="81f189f0-3ed9-4f29-a7b1-770f7af93676" providerId="ADAL" clId="{E0DC2C09-EEDF-4B0C-ABE5-5BFC4FB651FA}" dt="2021-03-03T07:04:30.846" v="1089"/>
          <ac:cxnSpMkLst>
            <pc:docMk/>
            <pc:sldMk cId="3217164513" sldId="833"/>
            <ac:cxnSpMk id="49" creationId="{8F00F6BD-CD41-4D07-B6A1-055C87EBE061}"/>
          </ac:cxnSpMkLst>
        </pc:cxnChg>
        <pc:cxnChg chg="mod">
          <ac:chgData name="Adrian Kisliuk" userId="81f189f0-3ed9-4f29-a7b1-770f7af93676" providerId="ADAL" clId="{E0DC2C09-EEDF-4B0C-ABE5-5BFC4FB651FA}" dt="2021-03-03T07:04:30.846" v="1089"/>
          <ac:cxnSpMkLst>
            <pc:docMk/>
            <pc:sldMk cId="3217164513" sldId="833"/>
            <ac:cxnSpMk id="56" creationId="{724D7170-5963-4A05-B9A0-32603886D9AF}"/>
          </ac:cxnSpMkLst>
        </pc:cxnChg>
        <pc:cxnChg chg="mod">
          <ac:chgData name="Adrian Kisliuk" userId="81f189f0-3ed9-4f29-a7b1-770f7af93676" providerId="ADAL" clId="{E0DC2C09-EEDF-4B0C-ABE5-5BFC4FB651FA}" dt="2021-03-03T07:04:30.846" v="1089"/>
          <ac:cxnSpMkLst>
            <pc:docMk/>
            <pc:sldMk cId="3217164513" sldId="833"/>
            <ac:cxnSpMk id="57" creationId="{6114C79A-C88F-4D4E-B54D-47640F616621}"/>
          </ac:cxnSpMkLst>
        </pc:cxnChg>
        <pc:cxnChg chg="mod">
          <ac:chgData name="Adrian Kisliuk" userId="81f189f0-3ed9-4f29-a7b1-770f7af93676" providerId="ADAL" clId="{E0DC2C09-EEDF-4B0C-ABE5-5BFC4FB651FA}" dt="2021-03-03T07:04:30.846" v="1089"/>
          <ac:cxnSpMkLst>
            <pc:docMk/>
            <pc:sldMk cId="3217164513" sldId="833"/>
            <ac:cxnSpMk id="61" creationId="{6B00E9D6-ABF8-4DBB-A008-1A5B147F2E51}"/>
          </ac:cxnSpMkLst>
        </pc:cxnChg>
        <pc:cxnChg chg="mod">
          <ac:chgData name="Adrian Kisliuk" userId="81f189f0-3ed9-4f29-a7b1-770f7af93676" providerId="ADAL" clId="{E0DC2C09-EEDF-4B0C-ABE5-5BFC4FB651FA}" dt="2021-03-03T07:04:30.846" v="1089"/>
          <ac:cxnSpMkLst>
            <pc:docMk/>
            <pc:sldMk cId="3217164513" sldId="833"/>
            <ac:cxnSpMk id="62" creationId="{A7F613DE-CF25-4659-BEB5-A6293800A85C}"/>
          </ac:cxnSpMkLst>
        </pc:cxnChg>
        <pc:cxnChg chg="mod">
          <ac:chgData name="Adrian Kisliuk" userId="81f189f0-3ed9-4f29-a7b1-770f7af93676" providerId="ADAL" clId="{E0DC2C09-EEDF-4B0C-ABE5-5BFC4FB651FA}" dt="2021-03-03T07:04:30.846" v="1089"/>
          <ac:cxnSpMkLst>
            <pc:docMk/>
            <pc:sldMk cId="3217164513" sldId="833"/>
            <ac:cxnSpMk id="63" creationId="{A063E153-814D-406B-9A67-EF20F840AEF5}"/>
          </ac:cxnSpMkLst>
        </pc:cxnChg>
        <pc:cxnChg chg="mod">
          <ac:chgData name="Adrian Kisliuk" userId="81f189f0-3ed9-4f29-a7b1-770f7af93676" providerId="ADAL" clId="{E0DC2C09-EEDF-4B0C-ABE5-5BFC4FB651FA}" dt="2021-03-03T07:04:30.846" v="1089"/>
          <ac:cxnSpMkLst>
            <pc:docMk/>
            <pc:sldMk cId="3217164513" sldId="833"/>
            <ac:cxnSpMk id="64" creationId="{A05BC7AB-C665-46D6-941B-032814E263E2}"/>
          </ac:cxnSpMkLst>
        </pc:cxnChg>
        <pc:cxnChg chg="mod">
          <ac:chgData name="Adrian Kisliuk" userId="81f189f0-3ed9-4f29-a7b1-770f7af93676" providerId="ADAL" clId="{E0DC2C09-EEDF-4B0C-ABE5-5BFC4FB651FA}" dt="2021-03-03T07:04:30.846" v="1089"/>
          <ac:cxnSpMkLst>
            <pc:docMk/>
            <pc:sldMk cId="3217164513" sldId="833"/>
            <ac:cxnSpMk id="65" creationId="{40756E93-0A45-4810-B9FA-45CBBAFB32CF}"/>
          </ac:cxnSpMkLst>
        </pc:cxnChg>
        <pc:cxnChg chg="mod">
          <ac:chgData name="Adrian Kisliuk" userId="81f189f0-3ed9-4f29-a7b1-770f7af93676" providerId="ADAL" clId="{E0DC2C09-EEDF-4B0C-ABE5-5BFC4FB651FA}" dt="2021-03-03T07:04:30.846" v="1089"/>
          <ac:cxnSpMkLst>
            <pc:docMk/>
            <pc:sldMk cId="3217164513" sldId="833"/>
            <ac:cxnSpMk id="74" creationId="{D48310DD-88B9-4E61-A83F-D09F5D6FE185}"/>
          </ac:cxnSpMkLst>
        </pc:cxnChg>
        <pc:cxnChg chg="mod">
          <ac:chgData name="Adrian Kisliuk" userId="81f189f0-3ed9-4f29-a7b1-770f7af93676" providerId="ADAL" clId="{E0DC2C09-EEDF-4B0C-ABE5-5BFC4FB651FA}" dt="2021-03-03T07:04:30.846" v="1089"/>
          <ac:cxnSpMkLst>
            <pc:docMk/>
            <pc:sldMk cId="3217164513" sldId="833"/>
            <ac:cxnSpMk id="75" creationId="{AEE5C39C-F329-4F6D-BCA3-0E73DD030CE6}"/>
          </ac:cxnSpMkLst>
        </pc:cxnChg>
        <pc:cxnChg chg="mod">
          <ac:chgData name="Adrian Kisliuk" userId="81f189f0-3ed9-4f29-a7b1-770f7af93676" providerId="ADAL" clId="{E0DC2C09-EEDF-4B0C-ABE5-5BFC4FB651FA}" dt="2021-03-03T07:04:30.846" v="1089"/>
          <ac:cxnSpMkLst>
            <pc:docMk/>
            <pc:sldMk cId="3217164513" sldId="833"/>
            <ac:cxnSpMk id="84" creationId="{F6A53F0C-CD09-4E4F-9EA8-7917244E3968}"/>
          </ac:cxnSpMkLst>
        </pc:cxnChg>
        <pc:cxnChg chg="mod">
          <ac:chgData name="Adrian Kisliuk" userId="81f189f0-3ed9-4f29-a7b1-770f7af93676" providerId="ADAL" clId="{E0DC2C09-EEDF-4B0C-ABE5-5BFC4FB651FA}" dt="2021-03-03T07:04:30.846" v="1089"/>
          <ac:cxnSpMkLst>
            <pc:docMk/>
            <pc:sldMk cId="3217164513" sldId="833"/>
            <ac:cxnSpMk id="85" creationId="{A4AF2D6A-32DA-41E3-B5AC-A818E4E876FD}"/>
          </ac:cxnSpMkLst>
        </pc:cxnChg>
        <pc:cxnChg chg="mod">
          <ac:chgData name="Adrian Kisliuk" userId="81f189f0-3ed9-4f29-a7b1-770f7af93676" providerId="ADAL" clId="{E0DC2C09-EEDF-4B0C-ABE5-5BFC4FB651FA}" dt="2021-03-03T07:04:30.846" v="1089"/>
          <ac:cxnSpMkLst>
            <pc:docMk/>
            <pc:sldMk cId="3217164513" sldId="833"/>
            <ac:cxnSpMk id="86" creationId="{BBD1563E-0863-47D5-A1FB-5C12756AC565}"/>
          </ac:cxnSpMkLst>
        </pc:cxnChg>
      </pc:sldChg>
      <pc:sldChg chg="addSp delSp modSp mod">
        <pc:chgData name="Adrian Kisliuk" userId="81f189f0-3ed9-4f29-a7b1-770f7af93676" providerId="ADAL" clId="{E0DC2C09-EEDF-4B0C-ABE5-5BFC4FB651FA}" dt="2021-03-03T07:04:30.900" v="1099"/>
        <pc:sldMkLst>
          <pc:docMk/>
          <pc:sldMk cId="2759709542" sldId="834"/>
        </pc:sldMkLst>
        <pc:spChg chg="add del mod modVis">
          <ac:chgData name="Adrian Kisliuk" userId="81f189f0-3ed9-4f29-a7b1-770f7af93676" providerId="ADAL" clId="{E0DC2C09-EEDF-4B0C-ABE5-5BFC4FB651FA}" dt="2021-03-03T07:04:30.846" v="1089"/>
          <ac:spMkLst>
            <pc:docMk/>
            <pc:sldMk cId="2759709542" sldId="834"/>
            <ac:spMk id="3" creationId="{017B6DA3-94BD-4065-A462-F32E9A1EA354}"/>
          </ac:spMkLst>
        </pc:spChg>
        <pc:spChg chg="mod">
          <ac:chgData name="Adrian Kisliuk" userId="81f189f0-3ed9-4f29-a7b1-770f7af93676" providerId="ADAL" clId="{E0DC2C09-EEDF-4B0C-ABE5-5BFC4FB651FA}" dt="2021-03-03T07:04:30.846" v="1089"/>
          <ac:spMkLst>
            <pc:docMk/>
            <pc:sldMk cId="2759709542" sldId="834"/>
            <ac:spMk id="4" creationId="{1AB009D3-A2D1-4E5A-A61C-EDC234F589DB}"/>
          </ac:spMkLst>
        </pc:spChg>
        <pc:spChg chg="mod">
          <ac:chgData name="Adrian Kisliuk" userId="81f189f0-3ed9-4f29-a7b1-770f7af93676" providerId="ADAL" clId="{E0DC2C09-EEDF-4B0C-ABE5-5BFC4FB651FA}" dt="2021-03-03T07:04:30.846" v="1089"/>
          <ac:spMkLst>
            <pc:docMk/>
            <pc:sldMk cId="2759709542" sldId="834"/>
            <ac:spMk id="5" creationId="{FC298125-D680-4F92-8081-A588B2F8C85A}"/>
          </ac:spMkLst>
        </pc:spChg>
        <pc:graphicFrameChg chg="mod">
          <ac:chgData name="Adrian Kisliuk" userId="81f189f0-3ed9-4f29-a7b1-770f7af93676" providerId="ADAL" clId="{E0DC2C09-EEDF-4B0C-ABE5-5BFC4FB651FA}" dt="2021-03-03T07:04:30.900" v="1099"/>
          <ac:graphicFrameMkLst>
            <pc:docMk/>
            <pc:sldMk cId="2759709542" sldId="834"/>
            <ac:graphicFrameMk id="8" creationId="{695D08A0-894A-4CFF-8236-815C8A4DAC20}"/>
          </ac:graphicFrameMkLst>
        </pc:graphicFrameChg>
      </pc:sldChg>
      <pc:sldChg chg="addSp delSp modSp mod">
        <pc:chgData name="Adrian Kisliuk" userId="81f189f0-3ed9-4f29-a7b1-770f7af93676" providerId="ADAL" clId="{E0DC2C09-EEDF-4B0C-ABE5-5BFC4FB651FA}" dt="2021-03-03T07:04:30.915" v="1107"/>
        <pc:sldMkLst>
          <pc:docMk/>
          <pc:sldMk cId="2386691843" sldId="835"/>
        </pc:sldMkLst>
        <pc:spChg chg="add del mod modVis">
          <ac:chgData name="Adrian Kisliuk" userId="81f189f0-3ed9-4f29-a7b1-770f7af93676" providerId="ADAL" clId="{E0DC2C09-EEDF-4B0C-ABE5-5BFC4FB651FA}" dt="2021-03-03T07:04:30.846" v="1089"/>
          <ac:spMkLst>
            <pc:docMk/>
            <pc:sldMk cId="2386691843" sldId="835"/>
            <ac:spMk id="3" creationId="{B991C419-9A1F-40D3-B203-3B8A72B586A2}"/>
          </ac:spMkLst>
        </pc:spChg>
        <pc:spChg chg="mod">
          <ac:chgData name="Adrian Kisliuk" userId="81f189f0-3ed9-4f29-a7b1-770f7af93676" providerId="ADAL" clId="{E0DC2C09-EEDF-4B0C-ABE5-5BFC4FB651FA}" dt="2021-03-03T07:04:30.846" v="1089"/>
          <ac:spMkLst>
            <pc:docMk/>
            <pc:sldMk cId="2386691843" sldId="835"/>
            <ac:spMk id="4" creationId="{50DED182-7066-4B8D-A81D-55D65D6AE684}"/>
          </ac:spMkLst>
        </pc:spChg>
        <pc:spChg chg="mod">
          <ac:chgData name="Adrian Kisliuk" userId="81f189f0-3ed9-4f29-a7b1-770f7af93676" providerId="ADAL" clId="{E0DC2C09-EEDF-4B0C-ABE5-5BFC4FB651FA}" dt="2021-03-03T07:04:30.846" v="1089"/>
          <ac:spMkLst>
            <pc:docMk/>
            <pc:sldMk cId="2386691843" sldId="835"/>
            <ac:spMk id="7" creationId="{E9012687-F2EB-4588-B09C-6A095CE9CAD4}"/>
          </ac:spMkLst>
        </pc:spChg>
        <pc:spChg chg="mod">
          <ac:chgData name="Adrian Kisliuk" userId="81f189f0-3ed9-4f29-a7b1-770f7af93676" providerId="ADAL" clId="{E0DC2C09-EEDF-4B0C-ABE5-5BFC4FB651FA}" dt="2021-03-03T07:04:30.846" v="1089"/>
          <ac:spMkLst>
            <pc:docMk/>
            <pc:sldMk cId="2386691843" sldId="835"/>
            <ac:spMk id="8" creationId="{B4C0E1C1-EE06-4550-8D30-EC13C78F6970}"/>
          </ac:spMkLst>
        </pc:spChg>
        <pc:graphicFrameChg chg="mod">
          <ac:chgData name="Adrian Kisliuk" userId="81f189f0-3ed9-4f29-a7b1-770f7af93676" providerId="ADAL" clId="{E0DC2C09-EEDF-4B0C-ABE5-5BFC4FB651FA}" dt="2021-03-03T07:04:30.915" v="1107"/>
          <ac:graphicFrameMkLst>
            <pc:docMk/>
            <pc:sldMk cId="2386691843" sldId="835"/>
            <ac:graphicFrameMk id="9" creationId="{60E1546A-1D2C-45C1-9A4E-8FE1B9D335B1}"/>
          </ac:graphicFrameMkLst>
        </pc:graphicFrameChg>
        <pc:picChg chg="mod">
          <ac:chgData name="Adrian Kisliuk" userId="81f189f0-3ed9-4f29-a7b1-770f7af93676" providerId="ADAL" clId="{E0DC2C09-EEDF-4B0C-ABE5-5BFC4FB651FA}" dt="2021-03-03T07:04:30.846" v="1089"/>
          <ac:picMkLst>
            <pc:docMk/>
            <pc:sldMk cId="2386691843" sldId="835"/>
            <ac:picMk id="5" creationId="{35221591-890D-4F73-BB5F-33BA3CCAC55A}"/>
          </ac:picMkLst>
        </pc:picChg>
      </pc:sldChg>
      <pc:sldChg chg="modSp add del mod">
        <pc:chgData name="Adrian Kisliuk" userId="81f189f0-3ed9-4f29-a7b1-770f7af93676" providerId="ADAL" clId="{E0DC2C09-EEDF-4B0C-ABE5-5BFC4FB651FA}" dt="2021-03-02T14:01:59.813" v="22" actId="47"/>
        <pc:sldMkLst>
          <pc:docMk/>
          <pc:sldMk cId="776972156" sldId="838"/>
        </pc:sldMkLst>
        <pc:graphicFrameChg chg="mod">
          <ac:chgData name="Adrian Kisliuk" userId="81f189f0-3ed9-4f29-a7b1-770f7af93676" providerId="ADAL" clId="{E0DC2C09-EEDF-4B0C-ABE5-5BFC4FB651FA}" dt="2021-03-02T14:01:06.384" v="17"/>
          <ac:graphicFrameMkLst>
            <pc:docMk/>
            <pc:sldMk cId="776972156" sldId="838"/>
            <ac:graphicFrameMk id="7" creationId="{5660D7B9-2AFE-459A-88CF-B12E9607ECF2}"/>
          </ac:graphicFrameMkLst>
        </pc:graphicFrameChg>
      </pc:sldChg>
      <pc:sldChg chg="addSp delSp modSp mod">
        <pc:chgData name="Adrian Kisliuk" userId="81f189f0-3ed9-4f29-a7b1-770f7af93676" providerId="ADAL" clId="{E0DC2C09-EEDF-4B0C-ABE5-5BFC4FB651FA}" dt="2021-03-03T07:04:30.907" v="1103"/>
        <pc:sldMkLst>
          <pc:docMk/>
          <pc:sldMk cId="692313280" sldId="839"/>
        </pc:sldMkLst>
        <pc:spChg chg="mod">
          <ac:chgData name="Adrian Kisliuk" userId="81f189f0-3ed9-4f29-a7b1-770f7af93676" providerId="ADAL" clId="{E0DC2C09-EEDF-4B0C-ABE5-5BFC4FB651FA}" dt="2021-03-02T14:00:25.643" v="12" actId="108"/>
          <ac:spMkLst>
            <pc:docMk/>
            <pc:sldMk cId="692313280" sldId="839"/>
            <ac:spMk id="2" creationId="{50E68478-280C-4B71-A2DA-1A37303CE9F7}"/>
          </ac:spMkLst>
        </pc:spChg>
        <pc:spChg chg="mod">
          <ac:chgData name="Adrian Kisliuk" userId="81f189f0-3ed9-4f29-a7b1-770f7af93676" providerId="ADAL" clId="{E0DC2C09-EEDF-4B0C-ABE5-5BFC4FB651FA}" dt="2021-03-03T07:04:30.846" v="1089"/>
          <ac:spMkLst>
            <pc:docMk/>
            <pc:sldMk cId="692313280" sldId="839"/>
            <ac:spMk id="4" creationId="{C32F903F-A4E8-491F-8C7C-2288947BD34E}"/>
          </ac:spMkLst>
        </pc:spChg>
        <pc:spChg chg="add del mod modVis">
          <ac:chgData name="Adrian Kisliuk" userId="81f189f0-3ed9-4f29-a7b1-770f7af93676" providerId="ADAL" clId="{E0DC2C09-EEDF-4B0C-ABE5-5BFC4FB651FA}" dt="2021-03-03T07:04:30.846" v="1089"/>
          <ac:spMkLst>
            <pc:docMk/>
            <pc:sldMk cId="692313280" sldId="839"/>
            <ac:spMk id="5" creationId="{FA84087B-21AB-4295-BF08-D22AEB9359EB}"/>
          </ac:spMkLst>
        </pc:spChg>
        <pc:grpChg chg="mod">
          <ac:chgData name="Adrian Kisliuk" userId="81f189f0-3ed9-4f29-a7b1-770f7af93676" providerId="ADAL" clId="{E0DC2C09-EEDF-4B0C-ABE5-5BFC4FB651FA}" dt="2021-03-03T07:04:30.846" v="1089"/>
          <ac:grpSpMkLst>
            <pc:docMk/>
            <pc:sldMk cId="692313280" sldId="839"/>
            <ac:grpSpMk id="3" creationId="{11092CEC-7A21-4452-8CD0-7B70EE1E4CCF}"/>
          </ac:grpSpMkLst>
        </pc:grpChg>
        <pc:graphicFrameChg chg="mod">
          <ac:chgData name="Adrian Kisliuk" userId="81f189f0-3ed9-4f29-a7b1-770f7af93676" providerId="ADAL" clId="{E0DC2C09-EEDF-4B0C-ABE5-5BFC4FB651FA}" dt="2021-03-03T07:04:30.907" v="1103"/>
          <ac:graphicFrameMkLst>
            <pc:docMk/>
            <pc:sldMk cId="692313280" sldId="839"/>
            <ac:graphicFrameMk id="7" creationId="{5660D7B9-2AFE-459A-88CF-B12E9607ECF2}"/>
          </ac:graphicFrameMkLst>
        </pc:graphicFrameChg>
        <pc:picChg chg="mod">
          <ac:chgData name="Adrian Kisliuk" userId="81f189f0-3ed9-4f29-a7b1-770f7af93676" providerId="ADAL" clId="{E0DC2C09-EEDF-4B0C-ABE5-5BFC4FB651FA}" dt="2021-03-03T07:04:30.846" v="1089"/>
          <ac:picMkLst>
            <pc:docMk/>
            <pc:sldMk cId="692313280" sldId="839"/>
            <ac:picMk id="8" creationId="{9C9F2122-5CC7-44AB-8F0D-AC9A9827247F}"/>
          </ac:picMkLst>
        </pc:picChg>
        <pc:picChg chg="mod">
          <ac:chgData name="Adrian Kisliuk" userId="81f189f0-3ed9-4f29-a7b1-770f7af93676" providerId="ADAL" clId="{E0DC2C09-EEDF-4B0C-ABE5-5BFC4FB651FA}" dt="2021-03-03T07:04:30.846" v="1089"/>
          <ac:picMkLst>
            <pc:docMk/>
            <pc:sldMk cId="692313280" sldId="839"/>
            <ac:picMk id="18" creationId="{523D6BC8-98D8-4406-B8C8-2C6D88A74250}"/>
          </ac:picMkLst>
        </pc:picChg>
        <pc:picChg chg="mod">
          <ac:chgData name="Adrian Kisliuk" userId="81f189f0-3ed9-4f29-a7b1-770f7af93676" providerId="ADAL" clId="{E0DC2C09-EEDF-4B0C-ABE5-5BFC4FB651FA}" dt="2021-03-03T07:04:30.846" v="1089"/>
          <ac:picMkLst>
            <pc:docMk/>
            <pc:sldMk cId="692313280" sldId="839"/>
            <ac:picMk id="42" creationId="{8F54FA18-F3AA-4896-97FB-6A546D07F66B}"/>
          </ac:picMkLst>
        </pc:picChg>
        <pc:picChg chg="mod">
          <ac:chgData name="Adrian Kisliuk" userId="81f189f0-3ed9-4f29-a7b1-770f7af93676" providerId="ADAL" clId="{E0DC2C09-EEDF-4B0C-ABE5-5BFC4FB651FA}" dt="2021-03-03T07:04:30.846" v="1089"/>
          <ac:picMkLst>
            <pc:docMk/>
            <pc:sldMk cId="692313280" sldId="839"/>
            <ac:picMk id="44" creationId="{DB9F128A-6D74-4F75-893C-B3BF5B105867}"/>
          </ac:picMkLst>
        </pc:picChg>
        <pc:picChg chg="mod">
          <ac:chgData name="Adrian Kisliuk" userId="81f189f0-3ed9-4f29-a7b1-770f7af93676" providerId="ADAL" clId="{E0DC2C09-EEDF-4B0C-ABE5-5BFC4FB651FA}" dt="2021-03-03T07:04:30.846" v="1089"/>
          <ac:picMkLst>
            <pc:docMk/>
            <pc:sldMk cId="692313280" sldId="839"/>
            <ac:picMk id="45" creationId="{672C33D2-2650-49B1-91F1-B4DBA7534918}"/>
          </ac:picMkLst>
        </pc:picChg>
        <pc:picChg chg="mod">
          <ac:chgData name="Adrian Kisliuk" userId="81f189f0-3ed9-4f29-a7b1-770f7af93676" providerId="ADAL" clId="{E0DC2C09-EEDF-4B0C-ABE5-5BFC4FB651FA}" dt="2021-03-03T07:04:30.846" v="1089"/>
          <ac:picMkLst>
            <pc:docMk/>
            <pc:sldMk cId="692313280" sldId="839"/>
            <ac:picMk id="1030" creationId="{0A5F62C3-583A-40FB-AA1F-3468436B4CCD}"/>
          </ac:picMkLst>
        </pc:picChg>
        <pc:picChg chg="mod">
          <ac:chgData name="Adrian Kisliuk" userId="81f189f0-3ed9-4f29-a7b1-770f7af93676" providerId="ADAL" clId="{E0DC2C09-EEDF-4B0C-ABE5-5BFC4FB651FA}" dt="2021-03-03T07:04:30.846" v="1089"/>
          <ac:picMkLst>
            <pc:docMk/>
            <pc:sldMk cId="692313280" sldId="839"/>
            <ac:picMk id="1032" creationId="{BA4B8B89-8E9F-4563-AE14-F739DFC91141}"/>
          </ac:picMkLst>
        </pc:picChg>
        <pc:picChg chg="add del mod">
          <ac:chgData name="Adrian Kisliuk" userId="81f189f0-3ed9-4f29-a7b1-770f7af93676" providerId="ADAL" clId="{E0DC2C09-EEDF-4B0C-ABE5-5BFC4FB651FA}" dt="2021-03-03T07:04:30.846" v="1089"/>
          <ac:picMkLst>
            <pc:docMk/>
            <pc:sldMk cId="692313280" sldId="839"/>
            <ac:picMk id="1034" creationId="{50EF20B7-8695-4E5B-948E-38D1B122706B}"/>
          </ac:picMkLst>
        </pc:picChg>
        <pc:picChg chg="mod">
          <ac:chgData name="Adrian Kisliuk" userId="81f189f0-3ed9-4f29-a7b1-770f7af93676" providerId="ADAL" clId="{E0DC2C09-EEDF-4B0C-ABE5-5BFC4FB651FA}" dt="2021-03-03T07:04:30.846" v="1089"/>
          <ac:picMkLst>
            <pc:docMk/>
            <pc:sldMk cId="692313280" sldId="839"/>
            <ac:picMk id="1042" creationId="{2A0DC546-AED0-46B1-854D-938E7BD3C3B3}"/>
          </ac:picMkLst>
        </pc:picChg>
        <pc:picChg chg="mod">
          <ac:chgData name="Adrian Kisliuk" userId="81f189f0-3ed9-4f29-a7b1-770f7af93676" providerId="ADAL" clId="{E0DC2C09-EEDF-4B0C-ABE5-5BFC4FB651FA}" dt="2021-03-03T07:04:30.846" v="1089"/>
          <ac:picMkLst>
            <pc:docMk/>
            <pc:sldMk cId="692313280" sldId="839"/>
            <ac:picMk id="1046" creationId="{7D3A7E12-AB1A-45DD-90BC-D678CD48CDCD}"/>
          </ac:picMkLst>
        </pc:picChg>
        <pc:picChg chg="mod">
          <ac:chgData name="Adrian Kisliuk" userId="81f189f0-3ed9-4f29-a7b1-770f7af93676" providerId="ADAL" clId="{E0DC2C09-EEDF-4B0C-ABE5-5BFC4FB651FA}" dt="2021-03-03T07:04:30.846" v="1089"/>
          <ac:picMkLst>
            <pc:docMk/>
            <pc:sldMk cId="692313280" sldId="839"/>
            <ac:picMk id="1052" creationId="{19045790-0F4D-43E7-B0F6-8FE45BA47774}"/>
          </ac:picMkLst>
        </pc:picChg>
        <pc:picChg chg="mod">
          <ac:chgData name="Adrian Kisliuk" userId="81f189f0-3ed9-4f29-a7b1-770f7af93676" providerId="ADAL" clId="{E0DC2C09-EEDF-4B0C-ABE5-5BFC4FB651FA}" dt="2021-03-03T07:04:30.846" v="1089"/>
          <ac:picMkLst>
            <pc:docMk/>
            <pc:sldMk cId="692313280" sldId="839"/>
            <ac:picMk id="1054" creationId="{36829114-B8D9-4B38-B264-7C2910AC4DA0}"/>
          </ac:picMkLst>
        </pc:picChg>
        <pc:picChg chg="mod">
          <ac:chgData name="Adrian Kisliuk" userId="81f189f0-3ed9-4f29-a7b1-770f7af93676" providerId="ADAL" clId="{E0DC2C09-EEDF-4B0C-ABE5-5BFC4FB651FA}" dt="2021-03-03T07:04:30.846" v="1089"/>
          <ac:picMkLst>
            <pc:docMk/>
            <pc:sldMk cId="692313280" sldId="839"/>
            <ac:picMk id="1056" creationId="{668A3436-EE15-44C9-B132-39B2C7A9BBF1}"/>
          </ac:picMkLst>
        </pc:picChg>
        <pc:picChg chg="mod">
          <ac:chgData name="Adrian Kisliuk" userId="81f189f0-3ed9-4f29-a7b1-770f7af93676" providerId="ADAL" clId="{E0DC2C09-EEDF-4B0C-ABE5-5BFC4FB651FA}" dt="2021-03-03T07:04:30.846" v="1089"/>
          <ac:picMkLst>
            <pc:docMk/>
            <pc:sldMk cId="692313280" sldId="839"/>
            <ac:picMk id="1058" creationId="{D389B605-C9DB-4911-9840-437122FF3102}"/>
          </ac:picMkLst>
        </pc:picChg>
        <pc:picChg chg="mod">
          <ac:chgData name="Adrian Kisliuk" userId="81f189f0-3ed9-4f29-a7b1-770f7af93676" providerId="ADAL" clId="{E0DC2C09-EEDF-4B0C-ABE5-5BFC4FB651FA}" dt="2021-03-03T07:04:30.846" v="1089"/>
          <ac:picMkLst>
            <pc:docMk/>
            <pc:sldMk cId="692313280" sldId="839"/>
            <ac:picMk id="1062" creationId="{97FD82EF-A3AD-4695-81B2-806E7DCF15D5}"/>
          </ac:picMkLst>
        </pc:picChg>
        <pc:cxnChg chg="mod">
          <ac:chgData name="Adrian Kisliuk" userId="81f189f0-3ed9-4f29-a7b1-770f7af93676" providerId="ADAL" clId="{E0DC2C09-EEDF-4B0C-ABE5-5BFC4FB651FA}" dt="2021-03-03T07:04:30.846" v="1089"/>
          <ac:cxnSpMkLst>
            <pc:docMk/>
            <pc:sldMk cId="692313280" sldId="839"/>
            <ac:cxnSpMk id="21" creationId="{E5329AD0-99A3-4F07-A61A-DD5FE645C322}"/>
          </ac:cxnSpMkLst>
        </pc:cxnChg>
        <pc:cxnChg chg="mod">
          <ac:chgData name="Adrian Kisliuk" userId="81f189f0-3ed9-4f29-a7b1-770f7af93676" providerId="ADAL" clId="{E0DC2C09-EEDF-4B0C-ABE5-5BFC4FB651FA}" dt="2021-03-03T07:04:30.846" v="1089"/>
          <ac:cxnSpMkLst>
            <pc:docMk/>
            <pc:sldMk cId="692313280" sldId="839"/>
            <ac:cxnSpMk id="23" creationId="{A3A096D8-361A-4512-B535-14CA3884D7F8}"/>
          </ac:cxnSpMkLst>
        </pc:cxnChg>
        <pc:cxnChg chg="mod">
          <ac:chgData name="Adrian Kisliuk" userId="81f189f0-3ed9-4f29-a7b1-770f7af93676" providerId="ADAL" clId="{E0DC2C09-EEDF-4B0C-ABE5-5BFC4FB651FA}" dt="2021-03-03T07:04:30.846" v="1089"/>
          <ac:cxnSpMkLst>
            <pc:docMk/>
            <pc:sldMk cId="692313280" sldId="839"/>
            <ac:cxnSpMk id="24" creationId="{8086520B-3DFF-486C-B943-3B1902316036}"/>
          </ac:cxnSpMkLst>
        </pc:cxnChg>
        <pc:cxnChg chg="mod">
          <ac:chgData name="Adrian Kisliuk" userId="81f189f0-3ed9-4f29-a7b1-770f7af93676" providerId="ADAL" clId="{E0DC2C09-EEDF-4B0C-ABE5-5BFC4FB651FA}" dt="2021-03-03T07:04:30.846" v="1089"/>
          <ac:cxnSpMkLst>
            <pc:docMk/>
            <pc:sldMk cId="692313280" sldId="839"/>
            <ac:cxnSpMk id="25" creationId="{6E9340A6-AB1A-4CB0-8EC4-484C4EFAA0A4}"/>
          </ac:cxnSpMkLst>
        </pc:cxnChg>
        <pc:cxnChg chg="mod">
          <ac:chgData name="Adrian Kisliuk" userId="81f189f0-3ed9-4f29-a7b1-770f7af93676" providerId="ADAL" clId="{E0DC2C09-EEDF-4B0C-ABE5-5BFC4FB651FA}" dt="2021-03-03T07:04:30.846" v="1089"/>
          <ac:cxnSpMkLst>
            <pc:docMk/>
            <pc:sldMk cId="692313280" sldId="839"/>
            <ac:cxnSpMk id="26" creationId="{7FA93021-1146-4168-ABBD-0A2EDBB527B7}"/>
          </ac:cxnSpMkLst>
        </pc:cxnChg>
        <pc:cxnChg chg="mod">
          <ac:chgData name="Adrian Kisliuk" userId="81f189f0-3ed9-4f29-a7b1-770f7af93676" providerId="ADAL" clId="{E0DC2C09-EEDF-4B0C-ABE5-5BFC4FB651FA}" dt="2021-03-03T07:04:30.846" v="1089"/>
          <ac:cxnSpMkLst>
            <pc:docMk/>
            <pc:sldMk cId="692313280" sldId="839"/>
            <ac:cxnSpMk id="43" creationId="{A1229295-9CAE-4663-B32A-850B6550B509}"/>
          </ac:cxnSpMkLst>
        </pc:cxnChg>
        <pc:cxnChg chg="mod">
          <ac:chgData name="Adrian Kisliuk" userId="81f189f0-3ed9-4f29-a7b1-770f7af93676" providerId="ADAL" clId="{E0DC2C09-EEDF-4B0C-ABE5-5BFC4FB651FA}" dt="2021-03-03T07:04:30.846" v="1089"/>
          <ac:cxnSpMkLst>
            <pc:docMk/>
            <pc:sldMk cId="692313280" sldId="839"/>
            <ac:cxnSpMk id="47" creationId="{5BDE6D65-D8E7-4B9C-9507-10B04E77726A}"/>
          </ac:cxnSpMkLst>
        </pc:cxnChg>
        <pc:cxnChg chg="mod">
          <ac:chgData name="Adrian Kisliuk" userId="81f189f0-3ed9-4f29-a7b1-770f7af93676" providerId="ADAL" clId="{E0DC2C09-EEDF-4B0C-ABE5-5BFC4FB651FA}" dt="2021-03-03T07:04:30.846" v="1089"/>
          <ac:cxnSpMkLst>
            <pc:docMk/>
            <pc:sldMk cId="692313280" sldId="839"/>
            <ac:cxnSpMk id="48" creationId="{C9A4D7FE-9AF0-41C4-A611-084F11CC2A44}"/>
          </ac:cxnSpMkLst>
        </pc:cxnChg>
        <pc:cxnChg chg="mod">
          <ac:chgData name="Adrian Kisliuk" userId="81f189f0-3ed9-4f29-a7b1-770f7af93676" providerId="ADAL" clId="{E0DC2C09-EEDF-4B0C-ABE5-5BFC4FB651FA}" dt="2021-03-03T07:04:30.846" v="1089"/>
          <ac:cxnSpMkLst>
            <pc:docMk/>
            <pc:sldMk cId="692313280" sldId="839"/>
            <ac:cxnSpMk id="49" creationId="{295745D9-C307-4160-8EED-F48F414BE19A}"/>
          </ac:cxnSpMkLst>
        </pc:cxnChg>
        <pc:cxnChg chg="mod">
          <ac:chgData name="Adrian Kisliuk" userId="81f189f0-3ed9-4f29-a7b1-770f7af93676" providerId="ADAL" clId="{E0DC2C09-EEDF-4B0C-ABE5-5BFC4FB651FA}" dt="2021-03-03T07:04:30.846" v="1089"/>
          <ac:cxnSpMkLst>
            <pc:docMk/>
            <pc:sldMk cId="692313280" sldId="839"/>
            <ac:cxnSpMk id="50" creationId="{890F4A53-163F-4D71-81C9-F3E3624E3FED}"/>
          </ac:cxnSpMkLst>
        </pc:cxnChg>
        <pc:cxnChg chg="mod">
          <ac:chgData name="Adrian Kisliuk" userId="81f189f0-3ed9-4f29-a7b1-770f7af93676" providerId="ADAL" clId="{E0DC2C09-EEDF-4B0C-ABE5-5BFC4FB651FA}" dt="2021-03-03T07:04:30.846" v="1089"/>
          <ac:cxnSpMkLst>
            <pc:docMk/>
            <pc:sldMk cId="692313280" sldId="839"/>
            <ac:cxnSpMk id="51" creationId="{0015EE14-FDDB-4C64-B119-2BF4CBFDE454}"/>
          </ac:cxnSpMkLst>
        </pc:cxnChg>
        <pc:cxnChg chg="mod">
          <ac:chgData name="Adrian Kisliuk" userId="81f189f0-3ed9-4f29-a7b1-770f7af93676" providerId="ADAL" clId="{E0DC2C09-EEDF-4B0C-ABE5-5BFC4FB651FA}" dt="2021-03-03T07:04:30.846" v="1089"/>
          <ac:cxnSpMkLst>
            <pc:docMk/>
            <pc:sldMk cId="692313280" sldId="839"/>
            <ac:cxnSpMk id="52" creationId="{DDC96732-8B3E-4F30-A4DC-16F0DD61A881}"/>
          </ac:cxnSpMkLst>
        </pc:cxnChg>
        <pc:cxnChg chg="mod">
          <ac:chgData name="Adrian Kisliuk" userId="81f189f0-3ed9-4f29-a7b1-770f7af93676" providerId="ADAL" clId="{E0DC2C09-EEDF-4B0C-ABE5-5BFC4FB651FA}" dt="2021-03-03T07:04:30.846" v="1089"/>
          <ac:cxnSpMkLst>
            <pc:docMk/>
            <pc:sldMk cId="692313280" sldId="839"/>
            <ac:cxnSpMk id="53" creationId="{ED69DA54-4EC8-40A0-8693-170E36294ED2}"/>
          </ac:cxnSpMkLst>
        </pc:cxnChg>
        <pc:cxnChg chg="mod">
          <ac:chgData name="Adrian Kisliuk" userId="81f189f0-3ed9-4f29-a7b1-770f7af93676" providerId="ADAL" clId="{E0DC2C09-EEDF-4B0C-ABE5-5BFC4FB651FA}" dt="2021-03-03T07:04:30.846" v="1089"/>
          <ac:cxnSpMkLst>
            <pc:docMk/>
            <pc:sldMk cId="692313280" sldId="839"/>
            <ac:cxnSpMk id="54" creationId="{1400E37C-3A2F-4711-A72E-2F7BB3E7CB30}"/>
          </ac:cxnSpMkLst>
        </pc:cxnChg>
        <pc:cxnChg chg="mod">
          <ac:chgData name="Adrian Kisliuk" userId="81f189f0-3ed9-4f29-a7b1-770f7af93676" providerId="ADAL" clId="{E0DC2C09-EEDF-4B0C-ABE5-5BFC4FB651FA}" dt="2021-03-03T07:04:30.846" v="1089"/>
          <ac:cxnSpMkLst>
            <pc:docMk/>
            <pc:sldMk cId="692313280" sldId="839"/>
            <ac:cxnSpMk id="55" creationId="{56FAD14C-B5EF-4B74-97DC-C09014089A49}"/>
          </ac:cxnSpMkLst>
        </pc:cxnChg>
        <pc:cxnChg chg="mod">
          <ac:chgData name="Adrian Kisliuk" userId="81f189f0-3ed9-4f29-a7b1-770f7af93676" providerId="ADAL" clId="{E0DC2C09-EEDF-4B0C-ABE5-5BFC4FB651FA}" dt="2021-03-03T07:04:30.846" v="1089"/>
          <ac:cxnSpMkLst>
            <pc:docMk/>
            <pc:sldMk cId="692313280" sldId="839"/>
            <ac:cxnSpMk id="56" creationId="{44956EA0-AF06-4891-BF9C-F79B46C76A91}"/>
          </ac:cxnSpMkLst>
        </pc:cxnChg>
        <pc:cxnChg chg="mod">
          <ac:chgData name="Adrian Kisliuk" userId="81f189f0-3ed9-4f29-a7b1-770f7af93676" providerId="ADAL" clId="{E0DC2C09-EEDF-4B0C-ABE5-5BFC4FB651FA}" dt="2021-03-03T07:04:30.846" v="1089"/>
          <ac:cxnSpMkLst>
            <pc:docMk/>
            <pc:sldMk cId="692313280" sldId="839"/>
            <ac:cxnSpMk id="57" creationId="{85332DB1-BEB6-481A-9DE2-4CA55950E806}"/>
          </ac:cxnSpMkLst>
        </pc:cxnChg>
        <pc:cxnChg chg="mod">
          <ac:chgData name="Adrian Kisliuk" userId="81f189f0-3ed9-4f29-a7b1-770f7af93676" providerId="ADAL" clId="{E0DC2C09-EEDF-4B0C-ABE5-5BFC4FB651FA}" dt="2021-03-03T07:04:30.846" v="1089"/>
          <ac:cxnSpMkLst>
            <pc:docMk/>
            <pc:sldMk cId="692313280" sldId="839"/>
            <ac:cxnSpMk id="58" creationId="{C2599DCA-484E-4626-8213-57B651C4B131}"/>
          </ac:cxnSpMkLst>
        </pc:cxnChg>
      </pc:sldChg>
      <pc:sldChg chg="addSp delSp modSp new add mod">
        <pc:chgData name="Adrian Kisliuk" userId="81f189f0-3ed9-4f29-a7b1-770f7af93676" providerId="ADAL" clId="{E0DC2C09-EEDF-4B0C-ABE5-5BFC4FB651FA}" dt="2021-03-03T07:04:30.846" v="1089"/>
        <pc:sldMkLst>
          <pc:docMk/>
          <pc:sldMk cId="3717664771" sldId="840"/>
        </pc:sldMkLst>
        <pc:graphicFrameChg chg="add del mod ord modVis">
          <ac:chgData name="Adrian Kisliuk" userId="81f189f0-3ed9-4f29-a7b1-770f7af93676" providerId="ADAL" clId="{E0DC2C09-EEDF-4B0C-ABE5-5BFC4FB651FA}" dt="2021-03-03T07:04:30.846" v="1089"/>
          <ac:graphicFrameMkLst>
            <pc:docMk/>
            <pc:sldMk cId="3717664771" sldId="840"/>
            <ac:graphicFrameMk id="4" creationId="{11B083A6-6FD3-4EFD-832D-1E0B81EF005F}"/>
          </ac:graphicFrameMkLst>
        </pc:graphicFrameChg>
      </pc:sldChg>
      <pc:sldChg chg="addSp delSp modSp add mod">
        <pc:chgData name="Adrian Kisliuk" userId="81f189f0-3ed9-4f29-a7b1-770f7af93676" providerId="ADAL" clId="{E0DC2C09-EEDF-4B0C-ABE5-5BFC4FB651FA}" dt="2021-03-03T12:46:08.866" v="2601" actId="164"/>
        <pc:sldMkLst>
          <pc:docMk/>
          <pc:sldMk cId="752474259" sldId="841"/>
        </pc:sldMkLst>
        <pc:spChg chg="mod ord">
          <ac:chgData name="Adrian Kisliuk" userId="81f189f0-3ed9-4f29-a7b1-770f7af93676" providerId="ADAL" clId="{E0DC2C09-EEDF-4B0C-ABE5-5BFC4FB651FA}" dt="2021-03-03T12:34:56.332" v="2465"/>
          <ac:spMkLst>
            <pc:docMk/>
            <pc:sldMk cId="752474259" sldId="841"/>
            <ac:spMk id="4" creationId="{00000000-0000-0000-0000-000000000000}"/>
          </ac:spMkLst>
        </pc:spChg>
        <pc:spChg chg="mod ord">
          <ac:chgData name="Adrian Kisliuk" userId="81f189f0-3ed9-4f29-a7b1-770f7af93676" providerId="ADAL" clId="{E0DC2C09-EEDF-4B0C-ABE5-5BFC4FB651FA}" dt="2021-03-03T12:34:56.333" v="2467"/>
          <ac:spMkLst>
            <pc:docMk/>
            <pc:sldMk cId="752474259" sldId="841"/>
            <ac:spMk id="9" creationId="{D6E18E4B-4E9B-4CFD-AF88-29C3A515D1B4}"/>
          </ac:spMkLst>
        </pc:spChg>
        <pc:spChg chg="add mod ord">
          <ac:chgData name="Adrian Kisliuk" userId="81f189f0-3ed9-4f29-a7b1-770f7af93676" providerId="ADAL" clId="{E0DC2C09-EEDF-4B0C-ABE5-5BFC4FB651FA}" dt="2021-03-03T12:34:56.334" v="2473"/>
          <ac:spMkLst>
            <pc:docMk/>
            <pc:sldMk cId="752474259" sldId="841"/>
            <ac:spMk id="12" creationId="{9ED371CC-3D45-43A6-A77C-FC1719CAE6B2}"/>
          </ac:spMkLst>
        </pc:spChg>
        <pc:spChg chg="mod ord">
          <ac:chgData name="Adrian Kisliuk" userId="81f189f0-3ed9-4f29-a7b1-770f7af93676" providerId="ADAL" clId="{E0DC2C09-EEDF-4B0C-ABE5-5BFC4FB651FA}" dt="2021-03-03T12:34:56.332" v="2463"/>
          <ac:spMkLst>
            <pc:docMk/>
            <pc:sldMk cId="752474259" sldId="841"/>
            <ac:spMk id="13" creationId="{EF1007E3-6D8E-4D3B-A5C7-29F239CAFC32}"/>
          </ac:spMkLst>
        </pc:spChg>
        <pc:spChg chg="mod ord">
          <ac:chgData name="Adrian Kisliuk" userId="81f189f0-3ed9-4f29-a7b1-770f7af93676" providerId="ADAL" clId="{E0DC2C09-EEDF-4B0C-ABE5-5BFC4FB651FA}" dt="2021-03-03T12:34:56.331" v="2461"/>
          <ac:spMkLst>
            <pc:docMk/>
            <pc:sldMk cId="752474259" sldId="841"/>
            <ac:spMk id="17" creationId="{28DC8D71-92A3-47AA-97BB-5BCFF31B461A}"/>
          </ac:spMkLst>
        </pc:spChg>
        <pc:spChg chg="add mod ord">
          <ac:chgData name="Adrian Kisliuk" userId="81f189f0-3ed9-4f29-a7b1-770f7af93676" providerId="ADAL" clId="{E0DC2C09-EEDF-4B0C-ABE5-5BFC4FB651FA}" dt="2021-03-03T12:34:56.335" v="2477"/>
          <ac:spMkLst>
            <pc:docMk/>
            <pc:sldMk cId="752474259" sldId="841"/>
            <ac:spMk id="20" creationId="{F76BF31E-2D8B-45C7-B16F-47D816708146}"/>
          </ac:spMkLst>
        </pc:spChg>
        <pc:spChg chg="add mod ord">
          <ac:chgData name="Adrian Kisliuk" userId="81f189f0-3ed9-4f29-a7b1-770f7af93676" providerId="ADAL" clId="{E0DC2C09-EEDF-4B0C-ABE5-5BFC4FB651FA}" dt="2021-03-03T12:34:56.336" v="2481"/>
          <ac:spMkLst>
            <pc:docMk/>
            <pc:sldMk cId="752474259" sldId="841"/>
            <ac:spMk id="23" creationId="{06B77003-2CB4-4D95-B146-0C1A6E5B708B}"/>
          </ac:spMkLst>
        </pc:spChg>
        <pc:spChg chg="add mod ord">
          <ac:chgData name="Adrian Kisliuk" userId="81f189f0-3ed9-4f29-a7b1-770f7af93676" providerId="ADAL" clId="{E0DC2C09-EEDF-4B0C-ABE5-5BFC4FB651FA}" dt="2021-03-03T12:34:56.337" v="2483"/>
          <ac:spMkLst>
            <pc:docMk/>
            <pc:sldMk cId="752474259" sldId="841"/>
            <ac:spMk id="24" creationId="{F9F47E3D-D98F-4DFF-9274-4CC033A067E2}"/>
          </ac:spMkLst>
        </pc:spChg>
        <pc:spChg chg="add del mod ord">
          <ac:chgData name="Adrian Kisliuk" userId="81f189f0-3ed9-4f29-a7b1-770f7af93676" providerId="ADAL" clId="{E0DC2C09-EEDF-4B0C-ABE5-5BFC4FB651FA}" dt="2021-03-03T12:38:29.721" v="2532" actId="478"/>
          <ac:spMkLst>
            <pc:docMk/>
            <pc:sldMk cId="752474259" sldId="841"/>
            <ac:spMk id="26" creationId="{6C783D9E-440D-483D-BAA0-AADDEB4BDDAB}"/>
          </ac:spMkLst>
        </pc:spChg>
        <pc:spChg chg="add del mod ord modVis">
          <ac:chgData name="Adrian Kisliuk" userId="81f189f0-3ed9-4f29-a7b1-770f7af93676" providerId="ADAL" clId="{E0DC2C09-EEDF-4B0C-ABE5-5BFC4FB651FA}" dt="2021-03-03T12:33:18.042" v="2387"/>
          <ac:spMkLst>
            <pc:docMk/>
            <pc:sldMk cId="752474259" sldId="841"/>
            <ac:spMk id="27" creationId="{E48EC2FD-EF47-460A-9D52-AEB27054166D}"/>
          </ac:spMkLst>
        </pc:spChg>
        <pc:spChg chg="add del mod">
          <ac:chgData name="Adrian Kisliuk" userId="81f189f0-3ed9-4f29-a7b1-770f7af93676" providerId="ADAL" clId="{E0DC2C09-EEDF-4B0C-ABE5-5BFC4FB651FA}" dt="2021-03-03T12:37:40.426" v="2516"/>
          <ac:spMkLst>
            <pc:docMk/>
            <pc:sldMk cId="752474259" sldId="841"/>
            <ac:spMk id="35" creationId="{5C10DCA6-9D6E-4AC6-AA53-5A40EC89FF46}"/>
          </ac:spMkLst>
        </pc:spChg>
        <pc:spChg chg="add mod topLvl">
          <ac:chgData name="Adrian Kisliuk" userId="81f189f0-3ed9-4f29-a7b1-770f7af93676" providerId="ADAL" clId="{E0DC2C09-EEDF-4B0C-ABE5-5BFC4FB651FA}" dt="2021-03-03T12:40:56.382" v="2559" actId="2085"/>
          <ac:spMkLst>
            <pc:docMk/>
            <pc:sldMk cId="752474259" sldId="841"/>
            <ac:spMk id="36" creationId="{E6785730-651A-49FE-BB79-9DCE8DBE1586}"/>
          </ac:spMkLst>
        </pc:spChg>
        <pc:grpChg chg="add del mod">
          <ac:chgData name="Adrian Kisliuk" userId="81f189f0-3ed9-4f29-a7b1-770f7af93676" providerId="ADAL" clId="{E0DC2C09-EEDF-4B0C-ABE5-5BFC4FB651FA}" dt="2021-03-03T12:40:51.052" v="2558" actId="21"/>
          <ac:grpSpMkLst>
            <pc:docMk/>
            <pc:sldMk cId="752474259" sldId="841"/>
            <ac:grpSpMk id="41" creationId="{4FF9E9DE-5FE1-4942-B224-D1FFC834A3E6}"/>
          </ac:grpSpMkLst>
        </pc:grpChg>
        <pc:grpChg chg="add del mod">
          <ac:chgData name="Adrian Kisliuk" userId="81f189f0-3ed9-4f29-a7b1-770f7af93676" providerId="ADAL" clId="{E0DC2C09-EEDF-4B0C-ABE5-5BFC4FB651FA}" dt="2021-03-03T12:45:32.349" v="2599" actId="165"/>
          <ac:grpSpMkLst>
            <pc:docMk/>
            <pc:sldMk cId="752474259" sldId="841"/>
            <ac:grpSpMk id="47" creationId="{C57C64E3-143A-4ADB-95BA-1D15B670AB5F}"/>
          </ac:grpSpMkLst>
        </pc:grpChg>
        <pc:grpChg chg="add mod">
          <ac:chgData name="Adrian Kisliuk" userId="81f189f0-3ed9-4f29-a7b1-770f7af93676" providerId="ADAL" clId="{E0DC2C09-EEDF-4B0C-ABE5-5BFC4FB651FA}" dt="2021-03-03T12:46:08.866" v="2601" actId="164"/>
          <ac:grpSpMkLst>
            <pc:docMk/>
            <pc:sldMk cId="752474259" sldId="841"/>
            <ac:grpSpMk id="48" creationId="{71668D75-823B-4F2D-A888-7E68D27F0119}"/>
          </ac:grpSpMkLst>
        </pc:grpChg>
        <pc:graphicFrameChg chg="mod ord">
          <ac:chgData name="Adrian Kisliuk" userId="81f189f0-3ed9-4f29-a7b1-770f7af93676" providerId="ADAL" clId="{E0DC2C09-EEDF-4B0C-ABE5-5BFC4FB651FA}" dt="2021-03-03T12:34:56.340" v="2487"/>
          <ac:graphicFrameMkLst>
            <pc:docMk/>
            <pc:sldMk cId="752474259" sldId="841"/>
            <ac:graphicFrameMk id="15" creationId="{CA59FC19-9615-42DF-AB71-78FBABA72D2E}"/>
          </ac:graphicFrameMkLst>
        </pc:graphicFrameChg>
        <pc:picChg chg="add del mod">
          <ac:chgData name="Adrian Kisliuk" userId="81f189f0-3ed9-4f29-a7b1-770f7af93676" providerId="ADAL" clId="{E0DC2C09-EEDF-4B0C-ABE5-5BFC4FB651FA}" dt="2021-03-03T11:37:11.540" v="1722" actId="478"/>
          <ac:picMkLst>
            <pc:docMk/>
            <pc:sldMk cId="752474259" sldId="841"/>
            <ac:picMk id="3" creationId="{127EB457-2C66-40F6-B266-F725AA30B366}"/>
          </ac:picMkLst>
        </pc:picChg>
        <pc:picChg chg="add mod ord modCrop">
          <ac:chgData name="Adrian Kisliuk" userId="81f189f0-3ed9-4f29-a7b1-770f7af93676" providerId="ADAL" clId="{E0DC2C09-EEDF-4B0C-ABE5-5BFC4FB651FA}" dt="2021-03-03T12:34:56.334" v="2471"/>
          <ac:picMkLst>
            <pc:docMk/>
            <pc:sldMk cId="752474259" sldId="841"/>
            <ac:picMk id="6" creationId="{EC0DED9A-EC57-45E6-A725-A504DCFD32E5}"/>
          </ac:picMkLst>
        </pc:picChg>
        <pc:picChg chg="add mod ord modCrop">
          <ac:chgData name="Adrian Kisliuk" userId="81f189f0-3ed9-4f29-a7b1-770f7af93676" providerId="ADAL" clId="{E0DC2C09-EEDF-4B0C-ABE5-5BFC4FB651FA}" dt="2021-03-03T12:34:56.335" v="2475"/>
          <ac:picMkLst>
            <pc:docMk/>
            <pc:sldMk cId="752474259" sldId="841"/>
            <ac:picMk id="8" creationId="{2E6BE375-B4FA-4E9B-80CA-63F97D192808}"/>
          </ac:picMkLst>
        </pc:picChg>
        <pc:picChg chg="add del mod">
          <ac:chgData name="Adrian Kisliuk" userId="81f189f0-3ed9-4f29-a7b1-770f7af93676" providerId="ADAL" clId="{E0DC2C09-EEDF-4B0C-ABE5-5BFC4FB651FA}" dt="2021-03-03T11:49:39.081" v="1835" actId="478"/>
          <ac:picMkLst>
            <pc:docMk/>
            <pc:sldMk cId="752474259" sldId="841"/>
            <ac:picMk id="14" creationId="{0383E053-E535-443C-8994-E1AEE21D5AEC}"/>
          </ac:picMkLst>
        </pc:picChg>
        <pc:picChg chg="add del mod ord modCrop">
          <ac:chgData name="Adrian Kisliuk" userId="81f189f0-3ed9-4f29-a7b1-770f7af93676" providerId="ADAL" clId="{E0DC2C09-EEDF-4B0C-ABE5-5BFC4FB651FA}" dt="2021-03-03T12:33:49.154" v="2428" actId="21"/>
          <ac:picMkLst>
            <pc:docMk/>
            <pc:sldMk cId="752474259" sldId="841"/>
            <ac:picMk id="18" creationId="{33D5AF77-7C0D-4BF0-A907-560FEC575FB5}"/>
          </ac:picMkLst>
        </pc:picChg>
        <pc:picChg chg="add del mod">
          <ac:chgData name="Adrian Kisliuk" userId="81f189f0-3ed9-4f29-a7b1-770f7af93676" providerId="ADAL" clId="{E0DC2C09-EEDF-4B0C-ABE5-5BFC4FB651FA}" dt="2021-03-03T11:51:09.230" v="1853" actId="478"/>
          <ac:picMkLst>
            <pc:docMk/>
            <pc:sldMk cId="752474259" sldId="841"/>
            <ac:picMk id="19" creationId="{58FCCBF9-CEA6-4B22-8011-F7D106969F8F}"/>
          </ac:picMkLst>
        </pc:picChg>
        <pc:picChg chg="add mod ord modCrop">
          <ac:chgData name="Adrian Kisliuk" userId="81f189f0-3ed9-4f29-a7b1-770f7af93676" providerId="ADAL" clId="{E0DC2C09-EEDF-4B0C-ABE5-5BFC4FB651FA}" dt="2021-03-03T12:34:56.336" v="2479"/>
          <ac:picMkLst>
            <pc:docMk/>
            <pc:sldMk cId="752474259" sldId="841"/>
            <ac:picMk id="22" creationId="{94E286E5-3BF1-4A1B-B44E-252E0110BEFE}"/>
          </ac:picMkLst>
        </pc:picChg>
        <pc:picChg chg="add mod ord">
          <ac:chgData name="Adrian Kisliuk" userId="81f189f0-3ed9-4f29-a7b1-770f7af93676" providerId="ADAL" clId="{E0DC2C09-EEDF-4B0C-ABE5-5BFC4FB651FA}" dt="2021-03-03T12:42:37.559" v="2578" actId="1076"/>
          <ac:picMkLst>
            <pc:docMk/>
            <pc:sldMk cId="752474259" sldId="841"/>
            <ac:picMk id="25" creationId="{DCAE9003-2A42-47C3-AD48-D6BEACA9A0A4}"/>
          </ac:picMkLst>
        </pc:picChg>
        <pc:picChg chg="add del mod">
          <ac:chgData name="Adrian Kisliuk" userId="81f189f0-3ed9-4f29-a7b1-770f7af93676" providerId="ADAL" clId="{E0DC2C09-EEDF-4B0C-ABE5-5BFC4FB651FA}" dt="2021-03-03T12:34:01.718" v="2439" actId="21"/>
          <ac:picMkLst>
            <pc:docMk/>
            <pc:sldMk cId="752474259" sldId="841"/>
            <ac:picMk id="28" creationId="{E25FF18A-5D65-4F8B-98E5-B2E2A1CBAF4A}"/>
          </ac:picMkLst>
        </pc:picChg>
        <pc:picChg chg="add del mod">
          <ac:chgData name="Adrian Kisliuk" userId="81f189f0-3ed9-4f29-a7b1-770f7af93676" providerId="ADAL" clId="{E0DC2C09-EEDF-4B0C-ABE5-5BFC4FB651FA}" dt="2021-03-03T12:34:30.285" v="2446" actId="21"/>
          <ac:picMkLst>
            <pc:docMk/>
            <pc:sldMk cId="752474259" sldId="841"/>
            <ac:picMk id="29" creationId="{E79C2BA1-4339-42D8-AA24-3A175CCDDFBB}"/>
          </ac:picMkLst>
        </pc:picChg>
        <pc:picChg chg="add del mod ord">
          <ac:chgData name="Adrian Kisliuk" userId="81f189f0-3ed9-4f29-a7b1-770f7af93676" providerId="ADAL" clId="{E0DC2C09-EEDF-4B0C-ABE5-5BFC4FB651FA}" dt="2021-03-03T12:34:59.728" v="2488" actId="21"/>
          <ac:picMkLst>
            <pc:docMk/>
            <pc:sldMk cId="752474259" sldId="841"/>
            <ac:picMk id="30" creationId="{9FB7140C-55F1-4C1A-B556-08DC5F81AB16}"/>
          </ac:picMkLst>
        </pc:picChg>
        <pc:picChg chg="add mod ord">
          <ac:chgData name="Adrian Kisliuk" userId="81f189f0-3ed9-4f29-a7b1-770f7af93676" providerId="ADAL" clId="{E0DC2C09-EEDF-4B0C-ABE5-5BFC4FB651FA}" dt="2021-03-03T12:42:33.184" v="2577" actId="1076"/>
          <ac:picMkLst>
            <pc:docMk/>
            <pc:sldMk cId="752474259" sldId="841"/>
            <ac:picMk id="31" creationId="{56311ECC-F1AF-4A97-83D9-6512C3F43761}"/>
          </ac:picMkLst>
        </pc:picChg>
        <pc:picChg chg="add del mod">
          <ac:chgData name="Adrian Kisliuk" userId="81f189f0-3ed9-4f29-a7b1-770f7af93676" providerId="ADAL" clId="{E0DC2C09-EEDF-4B0C-ABE5-5BFC4FB651FA}" dt="2021-03-03T12:35:25.390" v="2493" actId="21"/>
          <ac:picMkLst>
            <pc:docMk/>
            <pc:sldMk cId="752474259" sldId="841"/>
            <ac:picMk id="32" creationId="{A40350D4-C00F-4D03-9567-6C6F00445831}"/>
          </ac:picMkLst>
        </pc:picChg>
        <pc:picChg chg="add del mod">
          <ac:chgData name="Adrian Kisliuk" userId="81f189f0-3ed9-4f29-a7b1-770f7af93676" providerId="ADAL" clId="{E0DC2C09-EEDF-4B0C-ABE5-5BFC4FB651FA}" dt="2021-03-03T12:35:39.900" v="2498" actId="21"/>
          <ac:picMkLst>
            <pc:docMk/>
            <pc:sldMk cId="752474259" sldId="841"/>
            <ac:picMk id="33" creationId="{8006FBBC-E7CF-4A29-AA79-3750BC288D37}"/>
          </ac:picMkLst>
        </pc:picChg>
        <pc:picChg chg="add del mod">
          <ac:chgData name="Adrian Kisliuk" userId="81f189f0-3ed9-4f29-a7b1-770f7af93676" providerId="ADAL" clId="{E0DC2C09-EEDF-4B0C-ABE5-5BFC4FB651FA}" dt="2021-03-03T12:37:57.153" v="2523" actId="21"/>
          <ac:picMkLst>
            <pc:docMk/>
            <pc:sldMk cId="752474259" sldId="841"/>
            <ac:picMk id="34" creationId="{E66AFEFF-4DCC-4EEE-B574-CEF4F35FA440}"/>
          </ac:picMkLst>
        </pc:picChg>
        <pc:picChg chg="add del mod">
          <ac:chgData name="Adrian Kisliuk" userId="81f189f0-3ed9-4f29-a7b1-770f7af93676" providerId="ADAL" clId="{E0DC2C09-EEDF-4B0C-ABE5-5BFC4FB651FA}" dt="2021-03-03T12:38:47.765" v="2536" actId="21"/>
          <ac:picMkLst>
            <pc:docMk/>
            <pc:sldMk cId="752474259" sldId="841"/>
            <ac:picMk id="37" creationId="{078A13F8-3E0A-4927-9607-09484027ADE8}"/>
          </ac:picMkLst>
        </pc:picChg>
        <pc:picChg chg="add del mod">
          <ac:chgData name="Adrian Kisliuk" userId="81f189f0-3ed9-4f29-a7b1-770f7af93676" providerId="ADAL" clId="{E0DC2C09-EEDF-4B0C-ABE5-5BFC4FB651FA}" dt="2021-03-03T12:39:28.083" v="2541" actId="21"/>
          <ac:picMkLst>
            <pc:docMk/>
            <pc:sldMk cId="752474259" sldId="841"/>
            <ac:picMk id="38" creationId="{8FBB4EF4-20FC-4CD3-A368-A576A8F314CF}"/>
          </ac:picMkLst>
        </pc:picChg>
        <pc:picChg chg="add del mod">
          <ac:chgData name="Adrian Kisliuk" userId="81f189f0-3ed9-4f29-a7b1-770f7af93676" providerId="ADAL" clId="{E0DC2C09-EEDF-4B0C-ABE5-5BFC4FB651FA}" dt="2021-03-03T12:39:42.175" v="2544" actId="21"/>
          <ac:picMkLst>
            <pc:docMk/>
            <pc:sldMk cId="752474259" sldId="841"/>
            <ac:picMk id="39" creationId="{7E270BCD-950C-410E-8472-54F02A83A5E1}"/>
          </ac:picMkLst>
        </pc:picChg>
        <pc:picChg chg="add del mod topLvl">
          <ac:chgData name="Adrian Kisliuk" userId="81f189f0-3ed9-4f29-a7b1-770f7af93676" providerId="ADAL" clId="{E0DC2C09-EEDF-4B0C-ABE5-5BFC4FB651FA}" dt="2021-03-03T12:40:51.052" v="2558" actId="21"/>
          <ac:picMkLst>
            <pc:docMk/>
            <pc:sldMk cId="752474259" sldId="841"/>
            <ac:picMk id="40" creationId="{640278F3-CCAA-4EB7-B865-9E8C45543B64}"/>
          </ac:picMkLst>
        </pc:picChg>
        <pc:picChg chg="add mod">
          <ac:chgData name="Adrian Kisliuk" userId="81f189f0-3ed9-4f29-a7b1-770f7af93676" providerId="ADAL" clId="{E0DC2C09-EEDF-4B0C-ABE5-5BFC4FB651FA}" dt="2021-03-03T12:42:24.449" v="2576" actId="1076"/>
          <ac:picMkLst>
            <pc:docMk/>
            <pc:sldMk cId="752474259" sldId="841"/>
            <ac:picMk id="42" creationId="{F6DD1BDB-73D0-4C11-A563-ED8348FD9CA3}"/>
          </ac:picMkLst>
        </pc:picChg>
        <pc:picChg chg="add mod topLvl modCrop">
          <ac:chgData name="Adrian Kisliuk" userId="81f189f0-3ed9-4f29-a7b1-770f7af93676" providerId="ADAL" clId="{E0DC2C09-EEDF-4B0C-ABE5-5BFC4FB651FA}" dt="2021-03-03T12:46:08.866" v="2601" actId="164"/>
          <ac:picMkLst>
            <pc:docMk/>
            <pc:sldMk cId="752474259" sldId="841"/>
            <ac:picMk id="44" creationId="{BAEE5FA1-29AE-4248-BFB9-30E811945D41}"/>
          </ac:picMkLst>
        </pc:picChg>
        <pc:picChg chg="add mod topLvl modCrop">
          <ac:chgData name="Adrian Kisliuk" userId="81f189f0-3ed9-4f29-a7b1-770f7af93676" providerId="ADAL" clId="{E0DC2C09-EEDF-4B0C-ABE5-5BFC4FB651FA}" dt="2021-03-03T12:46:08.866" v="2601" actId="164"/>
          <ac:picMkLst>
            <pc:docMk/>
            <pc:sldMk cId="752474259" sldId="841"/>
            <ac:picMk id="46" creationId="{843DB70B-3B25-401C-A7E6-5EFF40D985B0}"/>
          </ac:picMkLst>
        </pc:picChg>
        <pc:cxnChg chg="mod ord">
          <ac:chgData name="Adrian Kisliuk" userId="81f189f0-3ed9-4f29-a7b1-770f7af93676" providerId="ADAL" clId="{E0DC2C09-EEDF-4B0C-ABE5-5BFC4FB651FA}" dt="2021-03-03T12:34:56.333" v="2469"/>
          <ac:cxnSpMkLst>
            <pc:docMk/>
            <pc:sldMk cId="752474259" sldId="841"/>
            <ac:cxnSpMk id="10" creationId="{358A171D-C672-4196-9360-80C5160B1063}"/>
          </ac:cxnSpMkLst>
        </pc:cxnChg>
      </pc:sldChg>
      <pc:sldChg chg="addSp delSp modSp add mod">
        <pc:chgData name="Adrian Kisliuk" userId="81f189f0-3ed9-4f29-a7b1-770f7af93676" providerId="ADAL" clId="{E0DC2C09-EEDF-4B0C-ABE5-5BFC4FB651FA}" dt="2021-03-03T13:14:12.814" v="4037"/>
        <pc:sldMkLst>
          <pc:docMk/>
          <pc:sldMk cId="3542610643" sldId="842"/>
        </pc:sldMkLst>
        <pc:spChg chg="add del mod modVis">
          <ac:chgData name="Adrian Kisliuk" userId="81f189f0-3ed9-4f29-a7b1-770f7af93676" providerId="ADAL" clId="{E0DC2C09-EEDF-4B0C-ABE5-5BFC4FB651FA}" dt="2021-03-03T12:51:21.165" v="2662"/>
          <ac:spMkLst>
            <pc:docMk/>
            <pc:sldMk cId="3542610643" sldId="842"/>
            <ac:spMk id="2" creationId="{C0092E35-D275-4896-ACF6-E73A4977605C}"/>
          </ac:spMkLst>
        </pc:spChg>
        <pc:spChg chg="add del mod modVis">
          <ac:chgData name="Adrian Kisliuk" userId="81f189f0-3ed9-4f29-a7b1-770f7af93676" providerId="ADAL" clId="{E0DC2C09-EEDF-4B0C-ABE5-5BFC4FB651FA}" dt="2021-03-03T12:51:23.506" v="2704"/>
          <ac:spMkLst>
            <pc:docMk/>
            <pc:sldMk cId="3542610643" sldId="842"/>
            <ac:spMk id="3" creationId="{C2335525-7471-400A-9C3B-65197B7585D1}"/>
          </ac:spMkLst>
        </pc:spChg>
        <pc:spChg chg="add del mod modVis">
          <ac:chgData name="Adrian Kisliuk" userId="81f189f0-3ed9-4f29-a7b1-770f7af93676" providerId="ADAL" clId="{E0DC2C09-EEDF-4B0C-ABE5-5BFC4FB651FA}" dt="2021-03-03T12:51:25.357" v="2753"/>
          <ac:spMkLst>
            <pc:docMk/>
            <pc:sldMk cId="3542610643" sldId="842"/>
            <ac:spMk id="5" creationId="{FAB25771-ADB7-49A9-98E2-808260427DD9}"/>
          </ac:spMkLst>
        </pc:spChg>
        <pc:spChg chg="add del mod modVis">
          <ac:chgData name="Adrian Kisliuk" userId="81f189f0-3ed9-4f29-a7b1-770f7af93676" providerId="ADAL" clId="{E0DC2C09-EEDF-4B0C-ABE5-5BFC4FB651FA}" dt="2021-03-03T12:51:27.283" v="2801"/>
          <ac:spMkLst>
            <pc:docMk/>
            <pc:sldMk cId="3542610643" sldId="842"/>
            <ac:spMk id="7" creationId="{FFEE70B4-657F-40E8-92D9-F436BD879A0B}"/>
          </ac:spMkLst>
        </pc:spChg>
        <pc:spChg chg="del mod">
          <ac:chgData name="Adrian Kisliuk" userId="81f189f0-3ed9-4f29-a7b1-770f7af93676" providerId="ADAL" clId="{E0DC2C09-EEDF-4B0C-ABE5-5BFC4FB651FA}" dt="2021-03-03T13:01:31.933" v="3082" actId="478"/>
          <ac:spMkLst>
            <pc:docMk/>
            <pc:sldMk cId="3542610643" sldId="842"/>
            <ac:spMk id="9" creationId="{D6E18E4B-4E9B-4CFD-AF88-29C3A515D1B4}"/>
          </ac:spMkLst>
        </pc:spChg>
        <pc:spChg chg="add del mod modVis">
          <ac:chgData name="Adrian Kisliuk" userId="81f189f0-3ed9-4f29-a7b1-770f7af93676" providerId="ADAL" clId="{E0DC2C09-EEDF-4B0C-ABE5-5BFC4FB651FA}" dt="2021-03-03T12:51:28.334" v="2844"/>
          <ac:spMkLst>
            <pc:docMk/>
            <pc:sldMk cId="3542610643" sldId="842"/>
            <ac:spMk id="11" creationId="{2617060A-33BB-4516-9D78-6B9C9737C785}"/>
          </ac:spMkLst>
        </pc:spChg>
        <pc:spChg chg="mod">
          <ac:chgData name="Adrian Kisliuk" userId="81f189f0-3ed9-4f29-a7b1-770f7af93676" providerId="ADAL" clId="{E0DC2C09-EEDF-4B0C-ABE5-5BFC4FB651FA}" dt="2021-03-03T12:56:28.438" v="3061" actId="164"/>
          <ac:spMkLst>
            <pc:docMk/>
            <pc:sldMk cId="3542610643" sldId="842"/>
            <ac:spMk id="12" creationId="{9ED371CC-3D45-43A6-A77C-FC1719CAE6B2}"/>
          </ac:spMkLst>
        </pc:spChg>
        <pc:spChg chg="mod">
          <ac:chgData name="Adrian Kisliuk" userId="81f189f0-3ed9-4f29-a7b1-770f7af93676" providerId="ADAL" clId="{E0DC2C09-EEDF-4B0C-ABE5-5BFC4FB651FA}" dt="2021-03-03T13:14:12.776" v="3998" actId="948"/>
          <ac:spMkLst>
            <pc:docMk/>
            <pc:sldMk cId="3542610643" sldId="842"/>
            <ac:spMk id="13" creationId="{EF1007E3-6D8E-4D3B-A5C7-29F239CAFC32}"/>
          </ac:spMkLst>
        </pc:spChg>
        <pc:spChg chg="mod">
          <ac:chgData name="Adrian Kisliuk" userId="81f189f0-3ed9-4f29-a7b1-770f7af93676" providerId="ADAL" clId="{E0DC2C09-EEDF-4B0C-ABE5-5BFC4FB651FA}" dt="2021-03-03T13:01:07.449" v="3079" actId="20577"/>
          <ac:spMkLst>
            <pc:docMk/>
            <pc:sldMk cId="3542610643" sldId="842"/>
            <ac:spMk id="17" creationId="{28DC8D71-92A3-47AA-97BB-5BCFF31B461A}"/>
          </ac:spMkLst>
        </pc:spChg>
        <pc:spChg chg="mod">
          <ac:chgData name="Adrian Kisliuk" userId="81f189f0-3ed9-4f29-a7b1-770f7af93676" providerId="ADAL" clId="{E0DC2C09-EEDF-4B0C-ABE5-5BFC4FB651FA}" dt="2021-03-03T13:03:20.960" v="3100" actId="164"/>
          <ac:spMkLst>
            <pc:docMk/>
            <pc:sldMk cId="3542610643" sldId="842"/>
            <ac:spMk id="20" creationId="{F76BF31E-2D8B-45C7-B16F-47D816708146}"/>
          </ac:spMkLst>
        </pc:spChg>
        <pc:spChg chg="mod">
          <ac:chgData name="Adrian Kisliuk" userId="81f189f0-3ed9-4f29-a7b1-770f7af93676" providerId="ADAL" clId="{E0DC2C09-EEDF-4B0C-ABE5-5BFC4FB651FA}" dt="2021-03-03T13:09:35.261" v="3151" actId="20577"/>
          <ac:spMkLst>
            <pc:docMk/>
            <pc:sldMk cId="3542610643" sldId="842"/>
            <ac:spMk id="23" creationId="{06B77003-2CB4-4D95-B146-0C1A6E5B708B}"/>
          </ac:spMkLst>
        </pc:spChg>
        <pc:spChg chg="del">
          <ac:chgData name="Adrian Kisliuk" userId="81f189f0-3ed9-4f29-a7b1-770f7af93676" providerId="ADAL" clId="{E0DC2C09-EEDF-4B0C-ABE5-5BFC4FB651FA}" dt="2021-03-03T12:50:56.942" v="2616" actId="478"/>
          <ac:spMkLst>
            <pc:docMk/>
            <pc:sldMk cId="3542610643" sldId="842"/>
            <ac:spMk id="24" creationId="{F9F47E3D-D98F-4DFF-9274-4CC033A067E2}"/>
          </ac:spMkLst>
        </pc:spChg>
        <pc:spChg chg="add mod">
          <ac:chgData name="Adrian Kisliuk" userId="81f189f0-3ed9-4f29-a7b1-770f7af93676" providerId="ADAL" clId="{E0DC2C09-EEDF-4B0C-ABE5-5BFC4FB651FA}" dt="2021-03-03T13:01:17.679" v="3080" actId="20577"/>
          <ac:spMkLst>
            <pc:docMk/>
            <pc:sldMk cId="3542610643" sldId="842"/>
            <ac:spMk id="26" creationId="{C3C9063E-7E74-4BE9-913D-4D08594E06FD}"/>
          </ac:spMkLst>
        </pc:spChg>
        <pc:spChg chg="add mod">
          <ac:chgData name="Adrian Kisliuk" userId="81f189f0-3ed9-4f29-a7b1-770f7af93676" providerId="ADAL" clId="{E0DC2C09-EEDF-4B0C-ABE5-5BFC4FB651FA}" dt="2021-03-03T13:09:38.156" v="3153" actId="20577"/>
          <ac:spMkLst>
            <pc:docMk/>
            <pc:sldMk cId="3542610643" sldId="842"/>
            <ac:spMk id="28" creationId="{33E7FBB7-4505-4492-9AC5-6386B4540DD8}"/>
          </ac:spMkLst>
        </pc:spChg>
        <pc:spChg chg="del mod">
          <ac:chgData name="Adrian Kisliuk" userId="81f189f0-3ed9-4f29-a7b1-770f7af93676" providerId="ADAL" clId="{E0DC2C09-EEDF-4B0C-ABE5-5BFC4FB651FA}" dt="2021-03-03T12:46:33.758" v="2605" actId="478"/>
          <ac:spMkLst>
            <pc:docMk/>
            <pc:sldMk cId="3542610643" sldId="842"/>
            <ac:spMk id="36" creationId="{E6785730-651A-49FE-BB79-9DCE8DBE1586}"/>
          </ac:spMkLst>
        </pc:spChg>
        <pc:spChg chg="add del mod modVis">
          <ac:chgData name="Adrian Kisliuk" userId="81f189f0-3ed9-4f29-a7b1-770f7af93676" providerId="ADAL" clId="{E0DC2C09-EEDF-4B0C-ABE5-5BFC4FB651FA}" dt="2021-03-03T13:12:10.867" v="3283"/>
          <ac:spMkLst>
            <pc:docMk/>
            <pc:sldMk cId="3542610643" sldId="842"/>
            <ac:spMk id="37" creationId="{2BA5B1F6-FD35-4155-825A-DF733DFC6BE4}"/>
          </ac:spMkLst>
        </pc:spChg>
        <pc:spChg chg="add del mod modVis">
          <ac:chgData name="Adrian Kisliuk" userId="81f189f0-3ed9-4f29-a7b1-770f7af93676" providerId="ADAL" clId="{E0DC2C09-EEDF-4B0C-ABE5-5BFC4FB651FA}" dt="2021-03-03T13:12:14.071" v="3334"/>
          <ac:spMkLst>
            <pc:docMk/>
            <pc:sldMk cId="3542610643" sldId="842"/>
            <ac:spMk id="38" creationId="{6CDC70E7-9E76-421F-A9CA-811E1F72F09F}"/>
          </ac:spMkLst>
        </pc:spChg>
        <pc:spChg chg="add del mod modVis">
          <ac:chgData name="Adrian Kisliuk" userId="81f189f0-3ed9-4f29-a7b1-770f7af93676" providerId="ADAL" clId="{E0DC2C09-EEDF-4B0C-ABE5-5BFC4FB651FA}" dt="2021-03-03T13:12:14.943" v="3376"/>
          <ac:spMkLst>
            <pc:docMk/>
            <pc:sldMk cId="3542610643" sldId="842"/>
            <ac:spMk id="39" creationId="{70D5737E-B4F5-4411-9A6F-797C5688642A}"/>
          </ac:spMkLst>
        </pc:spChg>
        <pc:spChg chg="add del mod modVis">
          <ac:chgData name="Adrian Kisliuk" userId="81f189f0-3ed9-4f29-a7b1-770f7af93676" providerId="ADAL" clId="{E0DC2C09-EEDF-4B0C-ABE5-5BFC4FB651FA}" dt="2021-03-03T13:12:15.968" v="3417"/>
          <ac:spMkLst>
            <pc:docMk/>
            <pc:sldMk cId="3542610643" sldId="842"/>
            <ac:spMk id="40" creationId="{A86E26D6-1621-439C-BFE0-C4A12C859D31}"/>
          </ac:spMkLst>
        </pc:spChg>
        <pc:spChg chg="add del mod modVis">
          <ac:chgData name="Adrian Kisliuk" userId="81f189f0-3ed9-4f29-a7b1-770f7af93676" providerId="ADAL" clId="{E0DC2C09-EEDF-4B0C-ABE5-5BFC4FB651FA}" dt="2021-03-03T13:12:17.383" v="3465"/>
          <ac:spMkLst>
            <pc:docMk/>
            <pc:sldMk cId="3542610643" sldId="842"/>
            <ac:spMk id="41" creationId="{676924FE-3BD3-4282-9C0E-2536C4E0B91C}"/>
          </ac:spMkLst>
        </pc:spChg>
        <pc:spChg chg="add del mod modVis">
          <ac:chgData name="Adrian Kisliuk" userId="81f189f0-3ed9-4f29-a7b1-770f7af93676" providerId="ADAL" clId="{E0DC2C09-EEDF-4B0C-ABE5-5BFC4FB651FA}" dt="2021-03-03T13:12:18.528" v="3507"/>
          <ac:spMkLst>
            <pc:docMk/>
            <pc:sldMk cId="3542610643" sldId="842"/>
            <ac:spMk id="43" creationId="{21B2A627-8819-45B0-9524-37FAB6AB5D85}"/>
          </ac:spMkLst>
        </pc:spChg>
        <pc:spChg chg="add del mod modVis">
          <ac:chgData name="Adrian Kisliuk" userId="81f189f0-3ed9-4f29-a7b1-770f7af93676" providerId="ADAL" clId="{E0DC2C09-EEDF-4B0C-ABE5-5BFC4FB651FA}" dt="2021-03-03T13:12:19.562" v="3551"/>
          <ac:spMkLst>
            <pc:docMk/>
            <pc:sldMk cId="3542610643" sldId="842"/>
            <ac:spMk id="45" creationId="{7680425E-47BE-4848-89D6-D45B9751C899}"/>
          </ac:spMkLst>
        </pc:spChg>
        <pc:spChg chg="add del mod modVis">
          <ac:chgData name="Adrian Kisliuk" userId="81f189f0-3ed9-4f29-a7b1-770f7af93676" providerId="ADAL" clId="{E0DC2C09-EEDF-4B0C-ABE5-5BFC4FB651FA}" dt="2021-03-03T13:12:28.933" v="3608"/>
          <ac:spMkLst>
            <pc:docMk/>
            <pc:sldMk cId="3542610643" sldId="842"/>
            <ac:spMk id="47" creationId="{502522CD-578F-4E1B-9716-796710F599A3}"/>
          </ac:spMkLst>
        </pc:spChg>
        <pc:spChg chg="add del mod modVis">
          <ac:chgData name="Adrian Kisliuk" userId="81f189f0-3ed9-4f29-a7b1-770f7af93676" providerId="ADAL" clId="{E0DC2C09-EEDF-4B0C-ABE5-5BFC4FB651FA}" dt="2021-03-03T13:12:34.563" v="3659"/>
          <ac:spMkLst>
            <pc:docMk/>
            <pc:sldMk cId="3542610643" sldId="842"/>
            <ac:spMk id="49" creationId="{C751E48C-1E06-43C6-9632-29867318E40D}"/>
          </ac:spMkLst>
        </pc:spChg>
        <pc:spChg chg="add del mod modVis">
          <ac:chgData name="Adrian Kisliuk" userId="81f189f0-3ed9-4f29-a7b1-770f7af93676" providerId="ADAL" clId="{E0DC2C09-EEDF-4B0C-ABE5-5BFC4FB651FA}" dt="2021-03-03T13:12:45.492" v="3703"/>
          <ac:spMkLst>
            <pc:docMk/>
            <pc:sldMk cId="3542610643" sldId="842"/>
            <ac:spMk id="50" creationId="{FF90A017-12D7-43A3-A257-8125A6655145}"/>
          </ac:spMkLst>
        </pc:spChg>
        <pc:spChg chg="add del mod modVis">
          <ac:chgData name="Adrian Kisliuk" userId="81f189f0-3ed9-4f29-a7b1-770f7af93676" providerId="ADAL" clId="{E0DC2C09-EEDF-4B0C-ABE5-5BFC4FB651FA}" dt="2021-03-03T13:12:46.048" v="3744"/>
          <ac:spMkLst>
            <pc:docMk/>
            <pc:sldMk cId="3542610643" sldId="842"/>
            <ac:spMk id="51" creationId="{26254058-0E2B-4195-98FA-513F6D2D8DA5}"/>
          </ac:spMkLst>
        </pc:spChg>
        <pc:spChg chg="add del mod modVis">
          <ac:chgData name="Adrian Kisliuk" userId="81f189f0-3ed9-4f29-a7b1-770f7af93676" providerId="ADAL" clId="{E0DC2C09-EEDF-4B0C-ABE5-5BFC4FB651FA}" dt="2021-03-03T13:12:48.446" v="3795"/>
          <ac:spMkLst>
            <pc:docMk/>
            <pc:sldMk cId="3542610643" sldId="842"/>
            <ac:spMk id="52" creationId="{5C1D0231-2023-4863-A279-916E10335873}"/>
          </ac:spMkLst>
        </pc:spChg>
        <pc:spChg chg="add del mod modVis">
          <ac:chgData name="Adrian Kisliuk" userId="81f189f0-3ed9-4f29-a7b1-770f7af93676" providerId="ADAL" clId="{E0DC2C09-EEDF-4B0C-ABE5-5BFC4FB651FA}" dt="2021-03-03T13:12:52.386" v="3855"/>
          <ac:spMkLst>
            <pc:docMk/>
            <pc:sldMk cId="3542610643" sldId="842"/>
            <ac:spMk id="53" creationId="{C43C8FE2-279E-4F7E-800B-3A4AF37DD304}"/>
          </ac:spMkLst>
        </pc:spChg>
        <pc:spChg chg="add del mod modVis">
          <ac:chgData name="Adrian Kisliuk" userId="81f189f0-3ed9-4f29-a7b1-770f7af93676" providerId="ADAL" clId="{E0DC2C09-EEDF-4B0C-ABE5-5BFC4FB651FA}" dt="2021-03-03T13:12:53.889" v="3899"/>
          <ac:spMkLst>
            <pc:docMk/>
            <pc:sldMk cId="3542610643" sldId="842"/>
            <ac:spMk id="54" creationId="{97E555C3-6FB2-42F5-B6B7-E74F95DA46B4}"/>
          </ac:spMkLst>
        </pc:spChg>
        <pc:spChg chg="add del mod modVis">
          <ac:chgData name="Adrian Kisliuk" userId="81f189f0-3ed9-4f29-a7b1-770f7af93676" providerId="ADAL" clId="{E0DC2C09-EEDF-4B0C-ABE5-5BFC4FB651FA}" dt="2021-03-03T13:13:00.290" v="3946"/>
          <ac:spMkLst>
            <pc:docMk/>
            <pc:sldMk cId="3542610643" sldId="842"/>
            <ac:spMk id="55" creationId="{3D643B70-52D8-4841-AAF6-35D30C55C61C}"/>
          </ac:spMkLst>
        </pc:spChg>
        <pc:spChg chg="add del mod modVis">
          <ac:chgData name="Adrian Kisliuk" userId="81f189f0-3ed9-4f29-a7b1-770f7af93676" providerId="ADAL" clId="{E0DC2C09-EEDF-4B0C-ABE5-5BFC4FB651FA}" dt="2021-03-03T13:14:08.464" v="3988"/>
          <ac:spMkLst>
            <pc:docMk/>
            <pc:sldMk cId="3542610643" sldId="842"/>
            <ac:spMk id="56" creationId="{F5963C88-0301-4D25-A529-056E26135CAB}"/>
          </ac:spMkLst>
        </pc:spChg>
        <pc:spChg chg="add del mod modVis">
          <ac:chgData name="Adrian Kisliuk" userId="81f189f0-3ed9-4f29-a7b1-770f7af93676" providerId="ADAL" clId="{E0DC2C09-EEDF-4B0C-ABE5-5BFC4FB651FA}" dt="2021-03-03T13:14:12.813" v="4035"/>
          <ac:spMkLst>
            <pc:docMk/>
            <pc:sldMk cId="3542610643" sldId="842"/>
            <ac:spMk id="57" creationId="{9429AAF2-9EA3-4121-B95F-776D2F13F68F}"/>
          </ac:spMkLst>
        </pc:spChg>
        <pc:grpChg chg="add mod">
          <ac:chgData name="Adrian Kisliuk" userId="81f189f0-3ed9-4f29-a7b1-770f7af93676" providerId="ADAL" clId="{E0DC2C09-EEDF-4B0C-ABE5-5BFC4FB651FA}" dt="2021-03-03T13:13:21.434" v="3949" actId="1076"/>
          <ac:grpSpMkLst>
            <pc:docMk/>
            <pc:sldMk cId="3542610643" sldId="842"/>
            <ac:grpSpMk id="14" creationId="{CA622D5E-8CD0-4E2C-B665-5709FF9BBC5E}"/>
          </ac:grpSpMkLst>
        </pc:grpChg>
        <pc:grpChg chg="add mod">
          <ac:chgData name="Adrian Kisliuk" userId="81f189f0-3ed9-4f29-a7b1-770f7af93676" providerId="ADAL" clId="{E0DC2C09-EEDF-4B0C-ABE5-5BFC4FB651FA}" dt="2021-03-03T13:13:21.434" v="3949" actId="1076"/>
          <ac:grpSpMkLst>
            <pc:docMk/>
            <pc:sldMk cId="3542610643" sldId="842"/>
            <ac:grpSpMk id="16" creationId="{16D5A718-1246-4B47-91FF-9FCC438ABFDB}"/>
          </ac:grpSpMkLst>
        </pc:grpChg>
        <pc:grpChg chg="add mod">
          <ac:chgData name="Adrian Kisliuk" userId="81f189f0-3ed9-4f29-a7b1-770f7af93676" providerId="ADAL" clId="{E0DC2C09-EEDF-4B0C-ABE5-5BFC4FB651FA}" dt="2021-03-03T13:13:21.434" v="3949" actId="1076"/>
          <ac:grpSpMkLst>
            <pc:docMk/>
            <pc:sldMk cId="3542610643" sldId="842"/>
            <ac:grpSpMk id="18" creationId="{F70A982C-0F28-43A2-9340-C4EB24D58285}"/>
          </ac:grpSpMkLst>
        </pc:grpChg>
        <pc:grpChg chg="add mod">
          <ac:chgData name="Adrian Kisliuk" userId="81f189f0-3ed9-4f29-a7b1-770f7af93676" providerId="ADAL" clId="{E0DC2C09-EEDF-4B0C-ABE5-5BFC4FB651FA}" dt="2021-03-03T13:13:21.434" v="3949" actId="1076"/>
          <ac:grpSpMkLst>
            <pc:docMk/>
            <pc:sldMk cId="3542610643" sldId="842"/>
            <ac:grpSpMk id="19" creationId="{EBCC0630-B845-40E3-AF7C-3188D7B93C1C}"/>
          </ac:grpSpMkLst>
        </pc:grpChg>
        <pc:grpChg chg="add mod">
          <ac:chgData name="Adrian Kisliuk" userId="81f189f0-3ed9-4f29-a7b1-770f7af93676" providerId="ADAL" clId="{E0DC2C09-EEDF-4B0C-ABE5-5BFC4FB651FA}" dt="2021-03-03T13:13:21.434" v="3949" actId="1076"/>
          <ac:grpSpMkLst>
            <pc:docMk/>
            <pc:sldMk cId="3542610643" sldId="842"/>
            <ac:grpSpMk id="29" creationId="{639A446C-F2EB-400E-884A-71B1274F6BAE}"/>
          </ac:grpSpMkLst>
        </pc:grpChg>
        <pc:grpChg chg="add mod">
          <ac:chgData name="Adrian Kisliuk" userId="81f189f0-3ed9-4f29-a7b1-770f7af93676" providerId="ADAL" clId="{E0DC2C09-EEDF-4B0C-ABE5-5BFC4FB651FA}" dt="2021-03-03T13:13:21.434" v="3949" actId="1076"/>
          <ac:grpSpMkLst>
            <pc:docMk/>
            <pc:sldMk cId="3542610643" sldId="842"/>
            <ac:grpSpMk id="33" creationId="{4F23C6E0-E822-49DA-8AC1-C3534148500C}"/>
          </ac:grpSpMkLst>
        </pc:grpChg>
        <pc:grpChg chg="mod">
          <ac:chgData name="Adrian Kisliuk" userId="81f189f0-3ed9-4f29-a7b1-770f7af93676" providerId="ADAL" clId="{E0DC2C09-EEDF-4B0C-ABE5-5BFC4FB651FA}" dt="2021-03-03T12:57:34.407" v="3066" actId="164"/>
          <ac:grpSpMkLst>
            <pc:docMk/>
            <pc:sldMk cId="3542610643" sldId="842"/>
            <ac:grpSpMk id="48" creationId="{71668D75-823B-4F2D-A888-7E68D27F0119}"/>
          </ac:grpSpMkLst>
        </pc:grpChg>
        <pc:graphicFrameChg chg="mod">
          <ac:chgData name="Adrian Kisliuk" userId="81f189f0-3ed9-4f29-a7b1-770f7af93676" providerId="ADAL" clId="{E0DC2C09-EEDF-4B0C-ABE5-5BFC4FB651FA}" dt="2021-03-03T13:14:12.814" v="4037"/>
          <ac:graphicFrameMkLst>
            <pc:docMk/>
            <pc:sldMk cId="3542610643" sldId="842"/>
            <ac:graphicFrameMk id="15" creationId="{CA59FC19-9615-42DF-AB71-78FBABA72D2E}"/>
          </ac:graphicFrameMkLst>
        </pc:graphicFrameChg>
        <pc:picChg chg="mod">
          <ac:chgData name="Adrian Kisliuk" userId="81f189f0-3ed9-4f29-a7b1-770f7af93676" providerId="ADAL" clId="{E0DC2C09-EEDF-4B0C-ABE5-5BFC4FB651FA}" dt="2021-03-03T12:55:58.818" v="3053" actId="164"/>
          <ac:picMkLst>
            <pc:docMk/>
            <pc:sldMk cId="3542610643" sldId="842"/>
            <ac:picMk id="6" creationId="{EC0DED9A-EC57-45E6-A725-A504DCFD32E5}"/>
          </ac:picMkLst>
        </pc:picChg>
        <pc:picChg chg="mod">
          <ac:chgData name="Adrian Kisliuk" userId="81f189f0-3ed9-4f29-a7b1-770f7af93676" providerId="ADAL" clId="{E0DC2C09-EEDF-4B0C-ABE5-5BFC4FB651FA}" dt="2021-03-03T12:56:28.438" v="3061" actId="164"/>
          <ac:picMkLst>
            <pc:docMk/>
            <pc:sldMk cId="3542610643" sldId="842"/>
            <ac:picMk id="8" creationId="{2E6BE375-B4FA-4E9B-80CA-63F97D192808}"/>
          </ac:picMkLst>
        </pc:picChg>
        <pc:picChg chg="mod">
          <ac:chgData name="Adrian Kisliuk" userId="81f189f0-3ed9-4f29-a7b1-770f7af93676" providerId="ADAL" clId="{E0DC2C09-EEDF-4B0C-ABE5-5BFC4FB651FA}" dt="2021-03-03T12:55:44.816" v="3050" actId="164"/>
          <ac:picMkLst>
            <pc:docMk/>
            <pc:sldMk cId="3542610643" sldId="842"/>
            <ac:picMk id="22" creationId="{94E286E5-3BF1-4A1B-B44E-252E0110BEFE}"/>
          </ac:picMkLst>
        </pc:picChg>
        <pc:picChg chg="del mod">
          <ac:chgData name="Adrian Kisliuk" userId="81f189f0-3ed9-4f29-a7b1-770f7af93676" providerId="ADAL" clId="{E0DC2C09-EEDF-4B0C-ABE5-5BFC4FB651FA}" dt="2021-03-03T12:46:33.758" v="2605" actId="478"/>
          <ac:picMkLst>
            <pc:docMk/>
            <pc:sldMk cId="3542610643" sldId="842"/>
            <ac:picMk id="25" creationId="{DCAE9003-2A42-47C3-AD48-D6BEACA9A0A4}"/>
          </ac:picMkLst>
        </pc:picChg>
        <pc:picChg chg="add mod modCrop">
          <ac:chgData name="Adrian Kisliuk" userId="81f189f0-3ed9-4f29-a7b1-770f7af93676" providerId="ADAL" clId="{E0DC2C09-EEDF-4B0C-ABE5-5BFC4FB651FA}" dt="2021-03-03T13:03:20.960" v="3100" actId="164"/>
          <ac:picMkLst>
            <pc:docMk/>
            <pc:sldMk cId="3542610643" sldId="842"/>
            <ac:picMk id="27" creationId="{D00B24B2-AE24-4508-95F7-5742DF7C8DDE}"/>
          </ac:picMkLst>
        </pc:picChg>
        <pc:picChg chg="del mod">
          <ac:chgData name="Adrian Kisliuk" userId="81f189f0-3ed9-4f29-a7b1-770f7af93676" providerId="ADAL" clId="{E0DC2C09-EEDF-4B0C-ABE5-5BFC4FB651FA}" dt="2021-03-03T12:46:33.758" v="2605" actId="478"/>
          <ac:picMkLst>
            <pc:docMk/>
            <pc:sldMk cId="3542610643" sldId="842"/>
            <ac:picMk id="31" creationId="{56311ECC-F1AF-4A97-83D9-6512C3F43761}"/>
          </ac:picMkLst>
        </pc:picChg>
        <pc:picChg chg="add mod modCrop">
          <ac:chgData name="Adrian Kisliuk" userId="81f189f0-3ed9-4f29-a7b1-770f7af93676" providerId="ADAL" clId="{E0DC2C09-EEDF-4B0C-ABE5-5BFC4FB651FA}" dt="2021-03-03T13:07:01.069" v="3114" actId="164"/>
          <ac:picMkLst>
            <pc:docMk/>
            <pc:sldMk cId="3542610643" sldId="842"/>
            <ac:picMk id="32" creationId="{F9DE00E6-C2C6-441C-AE4F-D6DD83B365EA}"/>
          </ac:picMkLst>
        </pc:picChg>
        <pc:picChg chg="del mod">
          <ac:chgData name="Adrian Kisliuk" userId="81f189f0-3ed9-4f29-a7b1-770f7af93676" providerId="ADAL" clId="{E0DC2C09-EEDF-4B0C-ABE5-5BFC4FB651FA}" dt="2021-03-03T12:46:33.758" v="2605" actId="478"/>
          <ac:picMkLst>
            <pc:docMk/>
            <pc:sldMk cId="3542610643" sldId="842"/>
            <ac:picMk id="42" creationId="{F6DD1BDB-73D0-4C11-A563-ED8348FD9CA3}"/>
          </ac:picMkLst>
        </pc:picChg>
        <pc:picChg chg="mod">
          <ac:chgData name="Adrian Kisliuk" userId="81f189f0-3ed9-4f29-a7b1-770f7af93676" providerId="ADAL" clId="{E0DC2C09-EEDF-4B0C-ABE5-5BFC4FB651FA}" dt="2021-03-03T12:47:18.675" v="2610" actId="1582"/>
          <ac:picMkLst>
            <pc:docMk/>
            <pc:sldMk cId="3542610643" sldId="842"/>
            <ac:picMk id="44" creationId="{BAEE5FA1-29AE-4248-BFB9-30E811945D41}"/>
          </ac:picMkLst>
        </pc:picChg>
        <pc:picChg chg="mod">
          <ac:chgData name="Adrian Kisliuk" userId="81f189f0-3ed9-4f29-a7b1-770f7af93676" providerId="ADAL" clId="{E0DC2C09-EEDF-4B0C-ABE5-5BFC4FB651FA}" dt="2021-03-03T12:47:30.525" v="2611" actId="1582"/>
          <ac:picMkLst>
            <pc:docMk/>
            <pc:sldMk cId="3542610643" sldId="842"/>
            <ac:picMk id="46" creationId="{843DB70B-3B25-401C-A7E6-5EFF40D985B0}"/>
          </ac:picMkLst>
        </pc:picChg>
        <pc:cxnChg chg="del">
          <ac:chgData name="Adrian Kisliuk" userId="81f189f0-3ed9-4f29-a7b1-770f7af93676" providerId="ADAL" clId="{E0DC2C09-EEDF-4B0C-ABE5-5BFC4FB651FA}" dt="2021-03-03T13:01:32.867" v="3083" actId="478"/>
          <ac:cxnSpMkLst>
            <pc:docMk/>
            <pc:sldMk cId="3542610643" sldId="842"/>
            <ac:cxnSpMk id="10" creationId="{358A171D-C672-4196-9360-80C5160B1063}"/>
          </ac:cxnSpMkLst>
        </pc:cxnChg>
        <pc:cxnChg chg="add del mod">
          <ac:chgData name="Adrian Kisliuk" userId="81f189f0-3ed9-4f29-a7b1-770f7af93676" providerId="ADAL" clId="{E0DC2C09-EEDF-4B0C-ABE5-5BFC4FB651FA}" dt="2021-03-03T13:11:10.236" v="3227" actId="478"/>
          <ac:cxnSpMkLst>
            <pc:docMk/>
            <pc:sldMk cId="3542610643" sldId="842"/>
            <ac:cxnSpMk id="35" creationId="{85A410D5-5EDD-4CCD-8081-7098511AE27D}"/>
          </ac:cxnSpMkLst>
        </pc:cxnChg>
      </pc:sldChg>
      <pc:sldChg chg="addSp delSp modSp add mod">
        <pc:chgData name="Adrian Kisliuk" userId="81f189f0-3ed9-4f29-a7b1-770f7af93676" providerId="ADAL" clId="{E0DC2C09-EEDF-4B0C-ABE5-5BFC4FB651FA}" dt="2021-03-03T13:56:59.883" v="4162" actId="1076"/>
        <pc:sldMkLst>
          <pc:docMk/>
          <pc:sldMk cId="44353695" sldId="843"/>
        </pc:sldMkLst>
        <pc:spChg chg="mod topLvl">
          <ac:chgData name="Adrian Kisliuk" userId="81f189f0-3ed9-4f29-a7b1-770f7af93676" providerId="ADAL" clId="{E0DC2C09-EEDF-4B0C-ABE5-5BFC4FB651FA}" dt="2021-03-03T13:27:10.864" v="4156" actId="20577"/>
          <ac:spMkLst>
            <pc:docMk/>
            <pc:sldMk cId="44353695" sldId="843"/>
            <ac:spMk id="30" creationId="{B74BC8D5-4E43-488A-8B27-B19122713CFB}"/>
          </ac:spMkLst>
        </pc:spChg>
        <pc:grpChg chg="mod">
          <ac:chgData name="Adrian Kisliuk" userId="81f189f0-3ed9-4f29-a7b1-770f7af93676" providerId="ADAL" clId="{E0DC2C09-EEDF-4B0C-ABE5-5BFC4FB651FA}" dt="2021-03-03T13:16:07.930" v="4120" actId="1076"/>
          <ac:grpSpMkLst>
            <pc:docMk/>
            <pc:sldMk cId="44353695" sldId="843"/>
            <ac:grpSpMk id="14" creationId="{CA622D5E-8CD0-4E2C-B665-5709FF9BBC5E}"/>
          </ac:grpSpMkLst>
        </pc:grpChg>
        <pc:grpChg chg="mod">
          <ac:chgData name="Adrian Kisliuk" userId="81f189f0-3ed9-4f29-a7b1-770f7af93676" providerId="ADAL" clId="{E0DC2C09-EEDF-4B0C-ABE5-5BFC4FB651FA}" dt="2021-03-03T13:56:56.467" v="4161" actId="1076"/>
          <ac:grpSpMkLst>
            <pc:docMk/>
            <pc:sldMk cId="44353695" sldId="843"/>
            <ac:grpSpMk id="16" creationId="{16D5A718-1246-4B47-91FF-9FCC438ABFDB}"/>
          </ac:grpSpMkLst>
        </pc:grpChg>
        <pc:grpChg chg="mod">
          <ac:chgData name="Adrian Kisliuk" userId="81f189f0-3ed9-4f29-a7b1-770f7af93676" providerId="ADAL" clId="{E0DC2C09-EEDF-4B0C-ABE5-5BFC4FB651FA}" dt="2021-03-03T13:56:41.842" v="4160" actId="1076"/>
          <ac:grpSpMkLst>
            <pc:docMk/>
            <pc:sldMk cId="44353695" sldId="843"/>
            <ac:grpSpMk id="18" creationId="{F70A982C-0F28-43A2-9340-C4EB24D58285}"/>
          </ac:grpSpMkLst>
        </pc:grpChg>
        <pc:grpChg chg="mod">
          <ac:chgData name="Adrian Kisliuk" userId="81f189f0-3ed9-4f29-a7b1-770f7af93676" providerId="ADAL" clId="{E0DC2C09-EEDF-4B0C-ABE5-5BFC4FB651FA}" dt="2021-03-03T13:56:30.292" v="4159" actId="1076"/>
          <ac:grpSpMkLst>
            <pc:docMk/>
            <pc:sldMk cId="44353695" sldId="843"/>
            <ac:grpSpMk id="19" creationId="{EBCC0630-B845-40E3-AF7C-3188D7B93C1C}"/>
          </ac:grpSpMkLst>
        </pc:grpChg>
        <pc:grpChg chg="add del mod">
          <ac:chgData name="Adrian Kisliuk" userId="81f189f0-3ed9-4f29-a7b1-770f7af93676" providerId="ADAL" clId="{E0DC2C09-EEDF-4B0C-ABE5-5BFC4FB651FA}" dt="2021-03-03T13:26:39.656" v="4137" actId="478"/>
          <ac:grpSpMkLst>
            <pc:docMk/>
            <pc:sldMk cId="44353695" sldId="843"/>
            <ac:grpSpMk id="25" creationId="{714A2B83-D917-46A1-BD8E-4A24C020F48E}"/>
          </ac:grpSpMkLst>
        </pc:grpChg>
        <pc:grpChg chg="mod">
          <ac:chgData name="Adrian Kisliuk" userId="81f189f0-3ed9-4f29-a7b1-770f7af93676" providerId="ADAL" clId="{E0DC2C09-EEDF-4B0C-ABE5-5BFC4FB651FA}" dt="2021-03-03T13:56:59.883" v="4162" actId="1076"/>
          <ac:grpSpMkLst>
            <pc:docMk/>
            <pc:sldMk cId="44353695" sldId="843"/>
            <ac:grpSpMk id="29" creationId="{639A446C-F2EB-400E-884A-71B1274F6BAE}"/>
          </ac:grpSpMkLst>
        </pc:grpChg>
        <pc:grpChg chg="mod">
          <ac:chgData name="Adrian Kisliuk" userId="81f189f0-3ed9-4f29-a7b1-770f7af93676" providerId="ADAL" clId="{E0DC2C09-EEDF-4B0C-ABE5-5BFC4FB651FA}" dt="2021-03-03T13:56:18.147" v="4158" actId="1076"/>
          <ac:grpSpMkLst>
            <pc:docMk/>
            <pc:sldMk cId="44353695" sldId="843"/>
            <ac:grpSpMk id="33" creationId="{4F23C6E0-E822-49DA-8AC1-C3534148500C}"/>
          </ac:grpSpMkLst>
        </pc:grpChg>
        <pc:picChg chg="add del mod">
          <ac:chgData name="Adrian Kisliuk" userId="81f189f0-3ed9-4f29-a7b1-770f7af93676" providerId="ADAL" clId="{E0DC2C09-EEDF-4B0C-ABE5-5BFC4FB651FA}" dt="2021-03-03T13:25:40.968" v="4131" actId="478"/>
          <ac:picMkLst>
            <pc:docMk/>
            <pc:sldMk cId="44353695" sldId="843"/>
            <ac:picMk id="3" creationId="{36E31818-19A8-465B-939F-B59C846B0AC8}"/>
          </ac:picMkLst>
        </pc:picChg>
        <pc:picChg chg="add mod modCrop">
          <ac:chgData name="Adrian Kisliuk" userId="81f189f0-3ed9-4f29-a7b1-770f7af93676" providerId="ADAL" clId="{E0DC2C09-EEDF-4B0C-ABE5-5BFC4FB651FA}" dt="2021-03-03T13:27:02.731" v="4142" actId="207"/>
          <ac:picMkLst>
            <pc:docMk/>
            <pc:sldMk cId="44353695" sldId="843"/>
            <ac:picMk id="7" creationId="{BFF8FA11-210D-44AC-95BD-F0B14F085E0F}"/>
          </ac:picMkLst>
        </pc:picChg>
        <pc:picChg chg="del mod topLvl">
          <ac:chgData name="Adrian Kisliuk" userId="81f189f0-3ed9-4f29-a7b1-770f7af93676" providerId="ADAL" clId="{E0DC2C09-EEDF-4B0C-ABE5-5BFC4FB651FA}" dt="2021-03-03T13:26:39.656" v="4137" actId="478"/>
          <ac:picMkLst>
            <pc:docMk/>
            <pc:sldMk cId="44353695" sldId="843"/>
            <ac:picMk id="31" creationId="{BBF4B110-649F-4DAB-A78F-2CB42DFEA16C}"/>
          </ac:picMkLst>
        </pc:picChg>
      </pc:sldChg>
      <pc:sldMasterChg chg="addSp delSp modSp mod modSldLayout">
        <pc:chgData name="Adrian Kisliuk" userId="81f189f0-3ed9-4f29-a7b1-770f7af93676" providerId="ADAL" clId="{E0DC2C09-EEDF-4B0C-ABE5-5BFC4FB651FA}" dt="2021-03-03T07:04:30.886" v="1095"/>
        <pc:sldMasterMkLst>
          <pc:docMk/>
          <pc:sldMasterMk cId="792883523" sldId="2147483648"/>
        </pc:sldMasterMkLst>
        <pc:spChg chg="mod">
          <ac:chgData name="Adrian Kisliuk" userId="81f189f0-3ed9-4f29-a7b1-770f7af93676" providerId="ADAL" clId="{E0DC2C09-EEDF-4B0C-ABE5-5BFC4FB651FA}" dt="2021-03-03T07:04:30.846" v="1089"/>
          <ac:spMkLst>
            <pc:docMk/>
            <pc:sldMasterMk cId="792883523" sldId="2147483648"/>
            <ac:spMk id="2" creationId="{00000000-0000-0000-0000-000000000000}"/>
          </ac:spMkLst>
        </pc:spChg>
        <pc:spChg chg="mod">
          <ac:chgData name="Adrian Kisliuk" userId="81f189f0-3ed9-4f29-a7b1-770f7af93676" providerId="ADAL" clId="{E0DC2C09-EEDF-4B0C-ABE5-5BFC4FB651FA}" dt="2021-03-03T07:04:30.846" v="1089"/>
          <ac:spMkLst>
            <pc:docMk/>
            <pc:sldMasterMk cId="792883523" sldId="2147483648"/>
            <ac:spMk id="3" creationId="{00000000-0000-0000-0000-000000000000}"/>
          </ac:spMkLst>
        </pc:spChg>
        <pc:spChg chg="add del mod modVis">
          <ac:chgData name="Adrian Kisliuk" userId="81f189f0-3ed9-4f29-a7b1-770f7af93676" providerId="ADAL" clId="{E0DC2C09-EEDF-4B0C-ABE5-5BFC4FB651FA}" dt="2021-03-03T07:04:30.846" v="1089"/>
          <ac:spMkLst>
            <pc:docMk/>
            <pc:sldMasterMk cId="792883523" sldId="2147483648"/>
            <ac:spMk id="5" creationId="{0A2B455D-C2DC-42EF-AD6B-5297DE8AA4B4}"/>
          </ac:spMkLst>
        </pc:spChg>
        <pc:spChg chg="mod">
          <ac:chgData name="Adrian Kisliuk" userId="81f189f0-3ed9-4f29-a7b1-770f7af93676" providerId="ADAL" clId="{E0DC2C09-EEDF-4B0C-ABE5-5BFC4FB651FA}" dt="2021-03-03T07:04:30.846" v="1089"/>
          <ac:spMkLst>
            <pc:docMk/>
            <pc:sldMasterMk cId="792883523" sldId="2147483648"/>
            <ac:spMk id="52" creationId="{8623415F-5A9F-4DD2-B971-BF224D1AB1E7}"/>
          </ac:spMkLst>
        </pc:spChg>
        <pc:spChg chg="mod">
          <ac:chgData name="Adrian Kisliuk" userId="81f189f0-3ed9-4f29-a7b1-770f7af93676" providerId="ADAL" clId="{E0DC2C09-EEDF-4B0C-ABE5-5BFC4FB651FA}" dt="2021-03-03T07:04:30.846" v="1089"/>
          <ac:spMkLst>
            <pc:docMk/>
            <pc:sldMasterMk cId="792883523" sldId="2147483648"/>
            <ac:spMk id="77" creationId="{00000000-0000-0000-0000-000000000000}"/>
          </ac:spMkLst>
        </pc:spChg>
        <pc:grpChg chg="mod">
          <ac:chgData name="Adrian Kisliuk" userId="81f189f0-3ed9-4f29-a7b1-770f7af93676" providerId="ADAL" clId="{E0DC2C09-EEDF-4B0C-ABE5-5BFC4FB651FA}" dt="2021-03-03T07:04:30.846" v="1089"/>
          <ac:grpSpMkLst>
            <pc:docMk/>
            <pc:sldMasterMk cId="792883523" sldId="2147483648"/>
            <ac:grpSpMk id="138" creationId="{00000000-0000-0000-0000-000000000000}"/>
          </ac:grpSpMkLst>
        </pc:grpChg>
        <pc:grpChg chg="mod">
          <ac:chgData name="Adrian Kisliuk" userId="81f189f0-3ed9-4f29-a7b1-770f7af93676" providerId="ADAL" clId="{E0DC2C09-EEDF-4B0C-ABE5-5BFC4FB651FA}" dt="2021-03-03T07:04:30.846" v="1089"/>
          <ac:grpSpMkLst>
            <pc:docMk/>
            <pc:sldMasterMk cId="792883523" sldId="2147483648"/>
            <ac:grpSpMk id="139" creationId="{00000000-0000-0000-0000-000000000000}"/>
          </ac:grpSpMkLst>
        </pc:grpChg>
        <pc:grpChg chg="mod">
          <ac:chgData name="Adrian Kisliuk" userId="81f189f0-3ed9-4f29-a7b1-770f7af93676" providerId="ADAL" clId="{E0DC2C09-EEDF-4B0C-ABE5-5BFC4FB651FA}" dt="2021-03-03T07:04:30.846" v="1089"/>
          <ac:grpSpMkLst>
            <pc:docMk/>
            <pc:sldMasterMk cId="792883523" sldId="2147483648"/>
            <ac:grpSpMk id="140" creationId="{00000000-0000-0000-0000-000000000000}"/>
          </ac:grpSpMkLst>
        </pc:grpChg>
        <pc:grpChg chg="mod">
          <ac:chgData name="Adrian Kisliuk" userId="81f189f0-3ed9-4f29-a7b1-770f7af93676" providerId="ADAL" clId="{E0DC2C09-EEDF-4B0C-ABE5-5BFC4FB651FA}" dt="2021-03-03T07:04:30.846" v="1089"/>
          <ac:grpSpMkLst>
            <pc:docMk/>
            <pc:sldMasterMk cId="792883523" sldId="2147483648"/>
            <ac:grpSpMk id="141" creationId="{00000000-0000-0000-0000-000000000000}"/>
          </ac:grpSpMkLst>
        </pc:grpChg>
        <pc:grpChg chg="mod">
          <ac:chgData name="Adrian Kisliuk" userId="81f189f0-3ed9-4f29-a7b1-770f7af93676" providerId="ADAL" clId="{E0DC2C09-EEDF-4B0C-ABE5-5BFC4FB651FA}" dt="2021-03-03T07:04:30.846" v="1089"/>
          <ac:grpSpMkLst>
            <pc:docMk/>
            <pc:sldMasterMk cId="792883523" sldId="2147483648"/>
            <ac:grpSpMk id="142" creationId="{00000000-0000-0000-0000-000000000000}"/>
          </ac:grpSpMkLst>
        </pc:grpChg>
        <pc:graphicFrameChg chg="mod">
          <ac:chgData name="Adrian Kisliuk" userId="81f189f0-3ed9-4f29-a7b1-770f7af93676" providerId="ADAL" clId="{E0DC2C09-EEDF-4B0C-ABE5-5BFC4FB651FA}" dt="2021-03-03T07:04:30.857" v="1091"/>
          <ac:graphicFrameMkLst>
            <pc:docMk/>
            <pc:sldMasterMk cId="792883523" sldId="2147483648"/>
            <ac:graphicFrameMk id="4" creationId="{00000000-0000-0000-0000-000000000000}"/>
          </ac:graphicFrameMkLst>
        </pc:graphicFrameChg>
        <pc:cxnChg chg="mod">
          <ac:chgData name="Adrian Kisliuk" userId="81f189f0-3ed9-4f29-a7b1-770f7af93676" providerId="ADAL" clId="{E0DC2C09-EEDF-4B0C-ABE5-5BFC4FB651FA}" dt="2021-03-03T07:04:30.846" v="1089"/>
          <ac:cxnSpMkLst>
            <pc:docMk/>
            <pc:sldMasterMk cId="792883523" sldId="2147483648"/>
            <ac:cxnSpMk id="143"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ac:cxnSpMk id="144"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ac:cxnSpMk id="145"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ac:cxnSpMk id="146"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ac:cxnSpMk id="147"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ac:cxnSpMk id="148"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ac:cxnSpMk id="149"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ac:cxnSpMk id="150"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ac:cxnSpMk id="151"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ac:cxnSpMk id="152"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ac:cxnSpMk id="153"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ac:cxnSpMk id="154"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ac:cxnSpMk id="155"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ac:cxnSpMk id="156"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ac:cxnSpMk id="157"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ac:cxnSpMk id="158"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ac:cxnSpMk id="159"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ac:cxnSpMk id="160"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ac:cxnSpMk id="161"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ac:cxnSpMk id="162"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ac:cxnSpMk id="163"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ac:cxnSpMk id="164"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ac:cxnSpMk id="165"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ac:cxnSpMk id="166"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ac:cxnSpMk id="167"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ac:cxnSpMk id="168"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ac:cxnSpMk id="169"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ac:cxnSpMk id="170"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ac:cxnSpMk id="171"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ac:cxnSpMk id="172" creationId="{00000000-0000-0000-0000-000000000000}"/>
          </ac:cxnSpMkLst>
        </pc:cxnChg>
        <pc:sldLayoutChg chg="modSp">
          <pc:chgData name="Adrian Kisliuk" userId="81f189f0-3ed9-4f29-a7b1-770f7af93676" providerId="ADAL" clId="{E0DC2C09-EEDF-4B0C-ABE5-5BFC4FB651FA}" dt="2021-03-03T07:04:30.846" v="1089"/>
          <pc:sldLayoutMkLst>
            <pc:docMk/>
            <pc:sldMasterMk cId="792883523" sldId="2147483648"/>
            <pc:sldLayoutMk cId="4147159444" sldId="2147483649"/>
          </pc:sldLayoutMkLst>
          <pc:spChg chg="mod">
            <ac:chgData name="Adrian Kisliuk" userId="81f189f0-3ed9-4f29-a7b1-770f7af93676" providerId="ADAL" clId="{E0DC2C09-EEDF-4B0C-ABE5-5BFC4FB651FA}" dt="2021-03-03T07:04:30.846" v="1089"/>
            <ac:spMkLst>
              <pc:docMk/>
              <pc:sldMasterMk cId="792883523" sldId="2147483648"/>
              <pc:sldLayoutMk cId="4147159444" sldId="2147483649"/>
              <ac:spMk id="4" creationId="{00000000-0000-0000-0000-000000000000}"/>
            </ac:spMkLst>
          </pc:spChg>
          <pc:spChg chg="mod">
            <ac:chgData name="Adrian Kisliuk" userId="81f189f0-3ed9-4f29-a7b1-770f7af93676" providerId="ADAL" clId="{E0DC2C09-EEDF-4B0C-ABE5-5BFC4FB651FA}" dt="2021-03-03T07:04:30.846" v="1089"/>
            <ac:spMkLst>
              <pc:docMk/>
              <pc:sldMasterMk cId="792883523" sldId="2147483648"/>
              <pc:sldLayoutMk cId="4147159444" sldId="2147483649"/>
              <ac:spMk id="6" creationId="{00000000-0000-0000-0000-000000000000}"/>
            </ac:spMkLst>
          </pc:spChg>
          <pc:spChg chg="mod">
            <ac:chgData name="Adrian Kisliuk" userId="81f189f0-3ed9-4f29-a7b1-770f7af93676" providerId="ADAL" clId="{E0DC2C09-EEDF-4B0C-ABE5-5BFC4FB651FA}" dt="2021-03-03T07:04:30.846" v="1089"/>
            <ac:spMkLst>
              <pc:docMk/>
              <pc:sldMasterMk cId="792883523" sldId="2147483648"/>
              <pc:sldLayoutMk cId="4147159444" sldId="2147483649"/>
              <ac:spMk id="9" creationId="{00000000-0000-0000-0000-000000000000}"/>
            </ac:spMkLst>
          </pc:spChg>
          <pc:grpChg chg="mod">
            <ac:chgData name="Adrian Kisliuk" userId="81f189f0-3ed9-4f29-a7b1-770f7af93676" providerId="ADAL" clId="{E0DC2C09-EEDF-4B0C-ABE5-5BFC4FB651FA}" dt="2021-03-03T07:04:30.846" v="1089"/>
            <ac:grpSpMkLst>
              <pc:docMk/>
              <pc:sldMasterMk cId="792883523" sldId="2147483648"/>
              <pc:sldLayoutMk cId="4147159444" sldId="2147483649"/>
              <ac:grpSpMk id="147" creationId="{00000000-0000-0000-0000-000000000000}"/>
            </ac:grpSpMkLst>
          </pc:grpChg>
          <pc:grpChg chg="mod">
            <ac:chgData name="Adrian Kisliuk" userId="81f189f0-3ed9-4f29-a7b1-770f7af93676" providerId="ADAL" clId="{E0DC2C09-EEDF-4B0C-ABE5-5BFC4FB651FA}" dt="2021-03-03T07:04:30.846" v="1089"/>
            <ac:grpSpMkLst>
              <pc:docMk/>
              <pc:sldMasterMk cId="792883523" sldId="2147483648"/>
              <pc:sldLayoutMk cId="4147159444" sldId="2147483649"/>
              <ac:grpSpMk id="148" creationId="{00000000-0000-0000-0000-000000000000}"/>
            </ac:grpSpMkLst>
          </pc:grpChg>
          <pc:grpChg chg="mod">
            <ac:chgData name="Adrian Kisliuk" userId="81f189f0-3ed9-4f29-a7b1-770f7af93676" providerId="ADAL" clId="{E0DC2C09-EEDF-4B0C-ABE5-5BFC4FB651FA}" dt="2021-03-03T07:04:30.846" v="1089"/>
            <ac:grpSpMkLst>
              <pc:docMk/>
              <pc:sldMasterMk cId="792883523" sldId="2147483648"/>
              <pc:sldLayoutMk cId="4147159444" sldId="2147483649"/>
              <ac:grpSpMk id="149" creationId="{00000000-0000-0000-0000-000000000000}"/>
            </ac:grpSpMkLst>
          </pc:grpChg>
          <pc:grpChg chg="mod">
            <ac:chgData name="Adrian Kisliuk" userId="81f189f0-3ed9-4f29-a7b1-770f7af93676" providerId="ADAL" clId="{E0DC2C09-EEDF-4B0C-ABE5-5BFC4FB651FA}" dt="2021-03-03T07:04:30.846" v="1089"/>
            <ac:grpSpMkLst>
              <pc:docMk/>
              <pc:sldMasterMk cId="792883523" sldId="2147483648"/>
              <pc:sldLayoutMk cId="4147159444" sldId="2147483649"/>
              <ac:grpSpMk id="150" creationId="{00000000-0000-0000-0000-000000000000}"/>
            </ac:grpSpMkLst>
          </pc:grpChg>
          <pc:grpChg chg="mod">
            <ac:chgData name="Adrian Kisliuk" userId="81f189f0-3ed9-4f29-a7b1-770f7af93676" providerId="ADAL" clId="{E0DC2C09-EEDF-4B0C-ABE5-5BFC4FB651FA}" dt="2021-03-03T07:04:30.846" v="1089"/>
            <ac:grpSpMkLst>
              <pc:docMk/>
              <pc:sldMasterMk cId="792883523" sldId="2147483648"/>
              <pc:sldLayoutMk cId="4147159444" sldId="2147483649"/>
              <ac:grpSpMk id="151" creationId="{00000000-0000-0000-0000-000000000000}"/>
            </ac:grpSpMkLst>
          </pc:grpChg>
          <pc:graphicFrameChg chg="mod">
            <ac:chgData name="Adrian Kisliuk" userId="81f189f0-3ed9-4f29-a7b1-770f7af93676" providerId="ADAL" clId="{E0DC2C09-EEDF-4B0C-ABE5-5BFC4FB651FA}" dt="2021-03-03T07:04:30.846" v="1089"/>
            <ac:graphicFrameMkLst>
              <pc:docMk/>
              <pc:sldMasterMk cId="792883523" sldId="2147483648"/>
              <pc:sldLayoutMk cId="4147159444" sldId="2147483649"/>
              <ac:graphicFrameMk id="5" creationId="{00000000-0000-0000-0000-000000000000}"/>
            </ac:graphicFrameMkLst>
          </pc:graphicFrameChg>
          <pc:cxnChg chg="mod">
            <ac:chgData name="Adrian Kisliuk" userId="81f189f0-3ed9-4f29-a7b1-770f7af93676" providerId="ADAL" clId="{E0DC2C09-EEDF-4B0C-ABE5-5BFC4FB651FA}" dt="2021-03-03T07:04:30.846" v="1089"/>
            <ac:cxnSpMkLst>
              <pc:docMk/>
              <pc:sldMasterMk cId="792883523" sldId="2147483648"/>
              <pc:sldLayoutMk cId="4147159444" sldId="2147483649"/>
              <ac:cxnSpMk id="152"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4147159444" sldId="2147483649"/>
              <ac:cxnSpMk id="153"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4147159444" sldId="2147483649"/>
              <ac:cxnSpMk id="154"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4147159444" sldId="2147483649"/>
              <ac:cxnSpMk id="155"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4147159444" sldId="2147483649"/>
              <ac:cxnSpMk id="156"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4147159444" sldId="2147483649"/>
              <ac:cxnSpMk id="157"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4147159444" sldId="2147483649"/>
              <ac:cxnSpMk id="158"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4147159444" sldId="2147483649"/>
              <ac:cxnSpMk id="159"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4147159444" sldId="2147483649"/>
              <ac:cxnSpMk id="160"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4147159444" sldId="2147483649"/>
              <ac:cxnSpMk id="161"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4147159444" sldId="2147483649"/>
              <ac:cxnSpMk id="162"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4147159444" sldId="2147483649"/>
              <ac:cxnSpMk id="163"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4147159444" sldId="2147483649"/>
              <ac:cxnSpMk id="164"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4147159444" sldId="2147483649"/>
              <ac:cxnSpMk id="165"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4147159444" sldId="2147483649"/>
              <ac:cxnSpMk id="166"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4147159444" sldId="2147483649"/>
              <ac:cxnSpMk id="167"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4147159444" sldId="2147483649"/>
              <ac:cxnSpMk id="168"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4147159444" sldId="2147483649"/>
              <ac:cxnSpMk id="169"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4147159444" sldId="2147483649"/>
              <ac:cxnSpMk id="170"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4147159444" sldId="2147483649"/>
              <ac:cxnSpMk id="171"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4147159444" sldId="2147483649"/>
              <ac:cxnSpMk id="172"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4147159444" sldId="2147483649"/>
              <ac:cxnSpMk id="173"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4147159444" sldId="2147483649"/>
              <ac:cxnSpMk id="174"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4147159444" sldId="2147483649"/>
              <ac:cxnSpMk id="175"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4147159444" sldId="2147483649"/>
              <ac:cxnSpMk id="176"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4147159444" sldId="2147483649"/>
              <ac:cxnSpMk id="177"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4147159444" sldId="2147483649"/>
              <ac:cxnSpMk id="178"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4147159444" sldId="2147483649"/>
              <ac:cxnSpMk id="179"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4147159444" sldId="2147483649"/>
              <ac:cxnSpMk id="180"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4147159444" sldId="2147483649"/>
              <ac:cxnSpMk id="181" creationId="{00000000-0000-0000-0000-000000000000}"/>
            </ac:cxnSpMkLst>
          </pc:cxnChg>
        </pc:sldLayoutChg>
        <pc:sldLayoutChg chg="modSp">
          <pc:chgData name="Adrian Kisliuk" userId="81f189f0-3ed9-4f29-a7b1-770f7af93676" providerId="ADAL" clId="{E0DC2C09-EEDF-4B0C-ABE5-5BFC4FB651FA}" dt="2021-03-03T07:04:30.846" v="1089"/>
          <pc:sldLayoutMkLst>
            <pc:docMk/>
            <pc:sldMasterMk cId="792883523" sldId="2147483648"/>
            <pc:sldLayoutMk cId="3611655355" sldId="2147483650"/>
          </pc:sldLayoutMkLst>
          <pc:spChg chg="mod">
            <ac:chgData name="Adrian Kisliuk" userId="81f189f0-3ed9-4f29-a7b1-770f7af93676" providerId="ADAL" clId="{E0DC2C09-EEDF-4B0C-ABE5-5BFC4FB651FA}" dt="2021-03-03T07:04:30.846" v="1089"/>
            <ac:spMkLst>
              <pc:docMk/>
              <pc:sldMasterMk cId="792883523" sldId="2147483648"/>
              <pc:sldLayoutMk cId="3611655355" sldId="2147483650"/>
              <ac:spMk id="6" creationId="{00000000-0000-0000-0000-000000000000}"/>
            </ac:spMkLst>
          </pc:spChg>
          <pc:spChg chg="mod">
            <ac:chgData name="Adrian Kisliuk" userId="81f189f0-3ed9-4f29-a7b1-770f7af93676" providerId="ADAL" clId="{E0DC2C09-EEDF-4B0C-ABE5-5BFC4FB651FA}" dt="2021-03-03T07:04:30.846" v="1089"/>
            <ac:spMkLst>
              <pc:docMk/>
              <pc:sldMasterMk cId="792883523" sldId="2147483648"/>
              <pc:sldLayoutMk cId="3611655355" sldId="2147483650"/>
              <ac:spMk id="7" creationId="{00000000-0000-0000-0000-000000000000}"/>
            </ac:spMkLst>
          </pc:spChg>
          <pc:spChg chg="mod">
            <ac:chgData name="Adrian Kisliuk" userId="81f189f0-3ed9-4f29-a7b1-770f7af93676" providerId="ADAL" clId="{E0DC2C09-EEDF-4B0C-ABE5-5BFC4FB651FA}" dt="2021-03-03T07:04:30.846" v="1089"/>
            <ac:spMkLst>
              <pc:docMk/>
              <pc:sldMasterMk cId="792883523" sldId="2147483648"/>
              <pc:sldLayoutMk cId="3611655355" sldId="2147483650"/>
              <ac:spMk id="9" creationId="{00000000-0000-0000-0000-000000000000}"/>
            </ac:spMkLst>
          </pc:spChg>
          <pc:grpChg chg="mod">
            <ac:chgData name="Adrian Kisliuk" userId="81f189f0-3ed9-4f29-a7b1-770f7af93676" providerId="ADAL" clId="{E0DC2C09-EEDF-4B0C-ABE5-5BFC4FB651FA}" dt="2021-03-03T07:04:30.846" v="1089"/>
            <ac:grpSpMkLst>
              <pc:docMk/>
              <pc:sldMasterMk cId="792883523" sldId="2147483648"/>
              <pc:sldLayoutMk cId="3611655355" sldId="2147483650"/>
              <ac:grpSpMk id="146" creationId="{00000000-0000-0000-0000-000000000000}"/>
            </ac:grpSpMkLst>
          </pc:grpChg>
          <pc:grpChg chg="mod">
            <ac:chgData name="Adrian Kisliuk" userId="81f189f0-3ed9-4f29-a7b1-770f7af93676" providerId="ADAL" clId="{E0DC2C09-EEDF-4B0C-ABE5-5BFC4FB651FA}" dt="2021-03-03T07:04:30.846" v="1089"/>
            <ac:grpSpMkLst>
              <pc:docMk/>
              <pc:sldMasterMk cId="792883523" sldId="2147483648"/>
              <pc:sldLayoutMk cId="3611655355" sldId="2147483650"/>
              <ac:grpSpMk id="147" creationId="{00000000-0000-0000-0000-000000000000}"/>
            </ac:grpSpMkLst>
          </pc:grpChg>
          <pc:grpChg chg="mod">
            <ac:chgData name="Adrian Kisliuk" userId="81f189f0-3ed9-4f29-a7b1-770f7af93676" providerId="ADAL" clId="{E0DC2C09-EEDF-4B0C-ABE5-5BFC4FB651FA}" dt="2021-03-03T07:04:30.846" v="1089"/>
            <ac:grpSpMkLst>
              <pc:docMk/>
              <pc:sldMasterMk cId="792883523" sldId="2147483648"/>
              <pc:sldLayoutMk cId="3611655355" sldId="2147483650"/>
              <ac:grpSpMk id="148" creationId="{00000000-0000-0000-0000-000000000000}"/>
            </ac:grpSpMkLst>
          </pc:grpChg>
          <pc:grpChg chg="mod">
            <ac:chgData name="Adrian Kisliuk" userId="81f189f0-3ed9-4f29-a7b1-770f7af93676" providerId="ADAL" clId="{E0DC2C09-EEDF-4B0C-ABE5-5BFC4FB651FA}" dt="2021-03-03T07:04:30.846" v="1089"/>
            <ac:grpSpMkLst>
              <pc:docMk/>
              <pc:sldMasterMk cId="792883523" sldId="2147483648"/>
              <pc:sldLayoutMk cId="3611655355" sldId="2147483650"/>
              <ac:grpSpMk id="149" creationId="{00000000-0000-0000-0000-000000000000}"/>
            </ac:grpSpMkLst>
          </pc:grpChg>
          <pc:grpChg chg="mod">
            <ac:chgData name="Adrian Kisliuk" userId="81f189f0-3ed9-4f29-a7b1-770f7af93676" providerId="ADAL" clId="{E0DC2C09-EEDF-4B0C-ABE5-5BFC4FB651FA}" dt="2021-03-03T07:04:30.846" v="1089"/>
            <ac:grpSpMkLst>
              <pc:docMk/>
              <pc:sldMasterMk cId="792883523" sldId="2147483648"/>
              <pc:sldLayoutMk cId="3611655355" sldId="2147483650"/>
              <ac:grpSpMk id="150" creationId="{00000000-0000-0000-0000-000000000000}"/>
            </ac:grpSpMkLst>
          </pc:grpChg>
          <pc:cxnChg chg="mod">
            <ac:chgData name="Adrian Kisliuk" userId="81f189f0-3ed9-4f29-a7b1-770f7af93676" providerId="ADAL" clId="{E0DC2C09-EEDF-4B0C-ABE5-5BFC4FB651FA}" dt="2021-03-03T07:04:30.846" v="1089"/>
            <ac:cxnSpMkLst>
              <pc:docMk/>
              <pc:sldMasterMk cId="792883523" sldId="2147483648"/>
              <pc:sldLayoutMk cId="3611655355" sldId="2147483650"/>
              <ac:cxnSpMk id="151"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611655355" sldId="2147483650"/>
              <ac:cxnSpMk id="152"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611655355" sldId="2147483650"/>
              <ac:cxnSpMk id="153"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611655355" sldId="2147483650"/>
              <ac:cxnSpMk id="154"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611655355" sldId="2147483650"/>
              <ac:cxnSpMk id="155"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611655355" sldId="2147483650"/>
              <ac:cxnSpMk id="156"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611655355" sldId="2147483650"/>
              <ac:cxnSpMk id="157"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611655355" sldId="2147483650"/>
              <ac:cxnSpMk id="158"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611655355" sldId="2147483650"/>
              <ac:cxnSpMk id="159"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611655355" sldId="2147483650"/>
              <ac:cxnSpMk id="160"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611655355" sldId="2147483650"/>
              <ac:cxnSpMk id="161"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611655355" sldId="2147483650"/>
              <ac:cxnSpMk id="162"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611655355" sldId="2147483650"/>
              <ac:cxnSpMk id="163"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611655355" sldId="2147483650"/>
              <ac:cxnSpMk id="164"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611655355" sldId="2147483650"/>
              <ac:cxnSpMk id="165"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611655355" sldId="2147483650"/>
              <ac:cxnSpMk id="166"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611655355" sldId="2147483650"/>
              <ac:cxnSpMk id="167"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611655355" sldId="2147483650"/>
              <ac:cxnSpMk id="168"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611655355" sldId="2147483650"/>
              <ac:cxnSpMk id="169"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611655355" sldId="2147483650"/>
              <ac:cxnSpMk id="170"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611655355" sldId="2147483650"/>
              <ac:cxnSpMk id="171"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611655355" sldId="2147483650"/>
              <ac:cxnSpMk id="172"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611655355" sldId="2147483650"/>
              <ac:cxnSpMk id="173"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611655355" sldId="2147483650"/>
              <ac:cxnSpMk id="174"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611655355" sldId="2147483650"/>
              <ac:cxnSpMk id="175"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611655355" sldId="2147483650"/>
              <ac:cxnSpMk id="176"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611655355" sldId="2147483650"/>
              <ac:cxnSpMk id="177"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611655355" sldId="2147483650"/>
              <ac:cxnSpMk id="178"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611655355" sldId="2147483650"/>
              <ac:cxnSpMk id="179"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611655355" sldId="2147483650"/>
              <ac:cxnSpMk id="180" creationId="{00000000-0000-0000-0000-000000000000}"/>
            </ac:cxnSpMkLst>
          </pc:cxnChg>
        </pc:sldLayoutChg>
        <pc:sldLayoutChg chg="modSp">
          <pc:chgData name="Adrian Kisliuk" userId="81f189f0-3ed9-4f29-a7b1-770f7af93676" providerId="ADAL" clId="{E0DC2C09-EEDF-4B0C-ABE5-5BFC4FB651FA}" dt="2021-03-03T07:04:30.846" v="1089"/>
          <pc:sldLayoutMkLst>
            <pc:docMk/>
            <pc:sldMasterMk cId="792883523" sldId="2147483648"/>
            <pc:sldLayoutMk cId="3519797754" sldId="2147483651"/>
          </pc:sldLayoutMkLst>
          <pc:spChg chg="mod">
            <ac:chgData name="Adrian Kisliuk" userId="81f189f0-3ed9-4f29-a7b1-770f7af93676" providerId="ADAL" clId="{E0DC2C09-EEDF-4B0C-ABE5-5BFC4FB651FA}" dt="2021-03-03T07:04:30.846" v="1089"/>
            <ac:spMkLst>
              <pc:docMk/>
              <pc:sldMasterMk cId="792883523" sldId="2147483648"/>
              <pc:sldLayoutMk cId="3519797754" sldId="2147483651"/>
              <ac:spMk id="4" creationId="{00000000-0000-0000-0000-000000000000}"/>
            </ac:spMkLst>
          </pc:spChg>
          <pc:spChg chg="mod">
            <ac:chgData name="Adrian Kisliuk" userId="81f189f0-3ed9-4f29-a7b1-770f7af93676" providerId="ADAL" clId="{E0DC2C09-EEDF-4B0C-ABE5-5BFC4FB651FA}" dt="2021-03-03T07:04:30.846" v="1089"/>
            <ac:spMkLst>
              <pc:docMk/>
              <pc:sldMasterMk cId="792883523" sldId="2147483648"/>
              <pc:sldLayoutMk cId="3519797754" sldId="2147483651"/>
              <ac:spMk id="9" creationId="{00000000-0000-0000-0000-000000000000}"/>
            </ac:spMkLst>
          </pc:spChg>
          <pc:grpChg chg="mod">
            <ac:chgData name="Adrian Kisliuk" userId="81f189f0-3ed9-4f29-a7b1-770f7af93676" providerId="ADAL" clId="{E0DC2C09-EEDF-4B0C-ABE5-5BFC4FB651FA}" dt="2021-03-03T07:04:30.846" v="1089"/>
            <ac:grpSpMkLst>
              <pc:docMk/>
              <pc:sldMasterMk cId="792883523" sldId="2147483648"/>
              <pc:sldLayoutMk cId="3519797754" sldId="2147483651"/>
              <ac:grpSpMk id="144" creationId="{00000000-0000-0000-0000-000000000000}"/>
            </ac:grpSpMkLst>
          </pc:grpChg>
          <pc:grpChg chg="mod">
            <ac:chgData name="Adrian Kisliuk" userId="81f189f0-3ed9-4f29-a7b1-770f7af93676" providerId="ADAL" clId="{E0DC2C09-EEDF-4B0C-ABE5-5BFC4FB651FA}" dt="2021-03-03T07:04:30.846" v="1089"/>
            <ac:grpSpMkLst>
              <pc:docMk/>
              <pc:sldMasterMk cId="792883523" sldId="2147483648"/>
              <pc:sldLayoutMk cId="3519797754" sldId="2147483651"/>
              <ac:grpSpMk id="145" creationId="{00000000-0000-0000-0000-000000000000}"/>
            </ac:grpSpMkLst>
          </pc:grpChg>
          <pc:grpChg chg="mod">
            <ac:chgData name="Adrian Kisliuk" userId="81f189f0-3ed9-4f29-a7b1-770f7af93676" providerId="ADAL" clId="{E0DC2C09-EEDF-4B0C-ABE5-5BFC4FB651FA}" dt="2021-03-03T07:04:30.846" v="1089"/>
            <ac:grpSpMkLst>
              <pc:docMk/>
              <pc:sldMasterMk cId="792883523" sldId="2147483648"/>
              <pc:sldLayoutMk cId="3519797754" sldId="2147483651"/>
              <ac:grpSpMk id="146" creationId="{00000000-0000-0000-0000-000000000000}"/>
            </ac:grpSpMkLst>
          </pc:grpChg>
          <pc:grpChg chg="mod">
            <ac:chgData name="Adrian Kisliuk" userId="81f189f0-3ed9-4f29-a7b1-770f7af93676" providerId="ADAL" clId="{E0DC2C09-EEDF-4B0C-ABE5-5BFC4FB651FA}" dt="2021-03-03T07:04:30.846" v="1089"/>
            <ac:grpSpMkLst>
              <pc:docMk/>
              <pc:sldMasterMk cId="792883523" sldId="2147483648"/>
              <pc:sldLayoutMk cId="3519797754" sldId="2147483651"/>
              <ac:grpSpMk id="147" creationId="{00000000-0000-0000-0000-000000000000}"/>
            </ac:grpSpMkLst>
          </pc:grpChg>
          <pc:grpChg chg="mod">
            <ac:chgData name="Adrian Kisliuk" userId="81f189f0-3ed9-4f29-a7b1-770f7af93676" providerId="ADAL" clId="{E0DC2C09-EEDF-4B0C-ABE5-5BFC4FB651FA}" dt="2021-03-03T07:04:30.846" v="1089"/>
            <ac:grpSpMkLst>
              <pc:docMk/>
              <pc:sldMasterMk cId="792883523" sldId="2147483648"/>
              <pc:sldLayoutMk cId="3519797754" sldId="2147483651"/>
              <ac:grpSpMk id="148" creationId="{00000000-0000-0000-0000-000000000000}"/>
            </ac:grpSpMkLst>
          </pc:grpChg>
          <pc:cxnChg chg="mod">
            <ac:chgData name="Adrian Kisliuk" userId="81f189f0-3ed9-4f29-a7b1-770f7af93676" providerId="ADAL" clId="{E0DC2C09-EEDF-4B0C-ABE5-5BFC4FB651FA}" dt="2021-03-03T07:04:30.846" v="1089"/>
            <ac:cxnSpMkLst>
              <pc:docMk/>
              <pc:sldMasterMk cId="792883523" sldId="2147483648"/>
              <pc:sldLayoutMk cId="3519797754" sldId="2147483651"/>
              <ac:cxnSpMk id="149"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519797754" sldId="2147483651"/>
              <ac:cxnSpMk id="150"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519797754" sldId="2147483651"/>
              <ac:cxnSpMk id="151"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519797754" sldId="2147483651"/>
              <ac:cxnSpMk id="152"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519797754" sldId="2147483651"/>
              <ac:cxnSpMk id="153"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519797754" sldId="2147483651"/>
              <ac:cxnSpMk id="154"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519797754" sldId="2147483651"/>
              <ac:cxnSpMk id="155"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519797754" sldId="2147483651"/>
              <ac:cxnSpMk id="156"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519797754" sldId="2147483651"/>
              <ac:cxnSpMk id="157"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519797754" sldId="2147483651"/>
              <ac:cxnSpMk id="158"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519797754" sldId="2147483651"/>
              <ac:cxnSpMk id="159"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519797754" sldId="2147483651"/>
              <ac:cxnSpMk id="160"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519797754" sldId="2147483651"/>
              <ac:cxnSpMk id="161"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519797754" sldId="2147483651"/>
              <ac:cxnSpMk id="162"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519797754" sldId="2147483651"/>
              <ac:cxnSpMk id="163"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519797754" sldId="2147483651"/>
              <ac:cxnSpMk id="164"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519797754" sldId="2147483651"/>
              <ac:cxnSpMk id="165"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519797754" sldId="2147483651"/>
              <ac:cxnSpMk id="166"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519797754" sldId="2147483651"/>
              <ac:cxnSpMk id="167"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519797754" sldId="2147483651"/>
              <ac:cxnSpMk id="168"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519797754" sldId="2147483651"/>
              <ac:cxnSpMk id="169"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519797754" sldId="2147483651"/>
              <ac:cxnSpMk id="170"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519797754" sldId="2147483651"/>
              <ac:cxnSpMk id="171"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519797754" sldId="2147483651"/>
              <ac:cxnSpMk id="172"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519797754" sldId="2147483651"/>
              <ac:cxnSpMk id="173"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519797754" sldId="2147483651"/>
              <ac:cxnSpMk id="174"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519797754" sldId="2147483651"/>
              <ac:cxnSpMk id="175"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519797754" sldId="2147483651"/>
              <ac:cxnSpMk id="176"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519797754" sldId="2147483651"/>
              <ac:cxnSpMk id="177"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519797754" sldId="2147483651"/>
              <ac:cxnSpMk id="178" creationId="{00000000-0000-0000-0000-000000000000}"/>
            </ac:cxnSpMkLst>
          </pc:cxnChg>
        </pc:sldLayoutChg>
        <pc:sldLayoutChg chg="modSp">
          <pc:chgData name="Adrian Kisliuk" userId="81f189f0-3ed9-4f29-a7b1-770f7af93676" providerId="ADAL" clId="{E0DC2C09-EEDF-4B0C-ABE5-5BFC4FB651FA}" dt="2021-03-03T07:04:30.846" v="1089"/>
          <pc:sldLayoutMkLst>
            <pc:docMk/>
            <pc:sldMasterMk cId="792883523" sldId="2147483648"/>
            <pc:sldLayoutMk cId="3171617450" sldId="2147483652"/>
          </pc:sldLayoutMkLst>
          <pc:spChg chg="mod">
            <ac:chgData name="Adrian Kisliuk" userId="81f189f0-3ed9-4f29-a7b1-770f7af93676" providerId="ADAL" clId="{E0DC2C09-EEDF-4B0C-ABE5-5BFC4FB651FA}" dt="2021-03-03T07:04:30.846" v="1089"/>
            <ac:spMkLst>
              <pc:docMk/>
              <pc:sldMasterMk cId="792883523" sldId="2147483648"/>
              <pc:sldLayoutMk cId="3171617450" sldId="2147483652"/>
              <ac:spMk id="6" creationId="{00000000-0000-0000-0000-000000000000}"/>
            </ac:spMkLst>
          </pc:spChg>
          <pc:spChg chg="mod">
            <ac:chgData name="Adrian Kisliuk" userId="81f189f0-3ed9-4f29-a7b1-770f7af93676" providerId="ADAL" clId="{E0DC2C09-EEDF-4B0C-ABE5-5BFC4FB651FA}" dt="2021-03-03T07:04:30.846" v="1089"/>
            <ac:spMkLst>
              <pc:docMk/>
              <pc:sldMasterMk cId="792883523" sldId="2147483648"/>
              <pc:sldLayoutMk cId="3171617450" sldId="2147483652"/>
              <ac:spMk id="9" creationId="{00000000-0000-0000-0000-000000000000}"/>
            </ac:spMkLst>
          </pc:spChg>
          <pc:grpChg chg="mod">
            <ac:chgData name="Adrian Kisliuk" userId="81f189f0-3ed9-4f29-a7b1-770f7af93676" providerId="ADAL" clId="{E0DC2C09-EEDF-4B0C-ABE5-5BFC4FB651FA}" dt="2021-03-03T07:04:30.846" v="1089"/>
            <ac:grpSpMkLst>
              <pc:docMk/>
              <pc:sldMasterMk cId="792883523" sldId="2147483648"/>
              <pc:sldLayoutMk cId="3171617450" sldId="2147483652"/>
              <ac:grpSpMk id="144" creationId="{00000000-0000-0000-0000-000000000000}"/>
            </ac:grpSpMkLst>
          </pc:grpChg>
          <pc:grpChg chg="mod">
            <ac:chgData name="Adrian Kisliuk" userId="81f189f0-3ed9-4f29-a7b1-770f7af93676" providerId="ADAL" clId="{E0DC2C09-EEDF-4B0C-ABE5-5BFC4FB651FA}" dt="2021-03-03T07:04:30.846" v="1089"/>
            <ac:grpSpMkLst>
              <pc:docMk/>
              <pc:sldMasterMk cId="792883523" sldId="2147483648"/>
              <pc:sldLayoutMk cId="3171617450" sldId="2147483652"/>
              <ac:grpSpMk id="145" creationId="{00000000-0000-0000-0000-000000000000}"/>
            </ac:grpSpMkLst>
          </pc:grpChg>
          <pc:grpChg chg="mod">
            <ac:chgData name="Adrian Kisliuk" userId="81f189f0-3ed9-4f29-a7b1-770f7af93676" providerId="ADAL" clId="{E0DC2C09-EEDF-4B0C-ABE5-5BFC4FB651FA}" dt="2021-03-03T07:04:30.846" v="1089"/>
            <ac:grpSpMkLst>
              <pc:docMk/>
              <pc:sldMasterMk cId="792883523" sldId="2147483648"/>
              <pc:sldLayoutMk cId="3171617450" sldId="2147483652"/>
              <ac:grpSpMk id="146" creationId="{00000000-0000-0000-0000-000000000000}"/>
            </ac:grpSpMkLst>
          </pc:grpChg>
          <pc:grpChg chg="mod">
            <ac:chgData name="Adrian Kisliuk" userId="81f189f0-3ed9-4f29-a7b1-770f7af93676" providerId="ADAL" clId="{E0DC2C09-EEDF-4B0C-ABE5-5BFC4FB651FA}" dt="2021-03-03T07:04:30.846" v="1089"/>
            <ac:grpSpMkLst>
              <pc:docMk/>
              <pc:sldMasterMk cId="792883523" sldId="2147483648"/>
              <pc:sldLayoutMk cId="3171617450" sldId="2147483652"/>
              <ac:grpSpMk id="147" creationId="{00000000-0000-0000-0000-000000000000}"/>
            </ac:grpSpMkLst>
          </pc:grpChg>
          <pc:grpChg chg="mod">
            <ac:chgData name="Adrian Kisliuk" userId="81f189f0-3ed9-4f29-a7b1-770f7af93676" providerId="ADAL" clId="{E0DC2C09-EEDF-4B0C-ABE5-5BFC4FB651FA}" dt="2021-03-03T07:04:30.846" v="1089"/>
            <ac:grpSpMkLst>
              <pc:docMk/>
              <pc:sldMasterMk cId="792883523" sldId="2147483648"/>
              <pc:sldLayoutMk cId="3171617450" sldId="2147483652"/>
              <ac:grpSpMk id="148" creationId="{00000000-0000-0000-0000-000000000000}"/>
            </ac:grpSpMkLst>
          </pc:grpChg>
          <pc:cxnChg chg="mod">
            <ac:chgData name="Adrian Kisliuk" userId="81f189f0-3ed9-4f29-a7b1-770f7af93676" providerId="ADAL" clId="{E0DC2C09-EEDF-4B0C-ABE5-5BFC4FB651FA}" dt="2021-03-03T07:04:30.846" v="1089"/>
            <ac:cxnSpMkLst>
              <pc:docMk/>
              <pc:sldMasterMk cId="792883523" sldId="2147483648"/>
              <pc:sldLayoutMk cId="3171617450" sldId="2147483652"/>
              <ac:cxnSpMk id="149"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171617450" sldId="2147483652"/>
              <ac:cxnSpMk id="150"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171617450" sldId="2147483652"/>
              <ac:cxnSpMk id="151"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171617450" sldId="2147483652"/>
              <ac:cxnSpMk id="152"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171617450" sldId="2147483652"/>
              <ac:cxnSpMk id="153"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171617450" sldId="2147483652"/>
              <ac:cxnSpMk id="154"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171617450" sldId="2147483652"/>
              <ac:cxnSpMk id="155"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171617450" sldId="2147483652"/>
              <ac:cxnSpMk id="156"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171617450" sldId="2147483652"/>
              <ac:cxnSpMk id="157"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171617450" sldId="2147483652"/>
              <ac:cxnSpMk id="158"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171617450" sldId="2147483652"/>
              <ac:cxnSpMk id="159"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171617450" sldId="2147483652"/>
              <ac:cxnSpMk id="160"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171617450" sldId="2147483652"/>
              <ac:cxnSpMk id="161"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171617450" sldId="2147483652"/>
              <ac:cxnSpMk id="162"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171617450" sldId="2147483652"/>
              <ac:cxnSpMk id="163"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171617450" sldId="2147483652"/>
              <ac:cxnSpMk id="164"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171617450" sldId="2147483652"/>
              <ac:cxnSpMk id="165"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171617450" sldId="2147483652"/>
              <ac:cxnSpMk id="166"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171617450" sldId="2147483652"/>
              <ac:cxnSpMk id="167"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171617450" sldId="2147483652"/>
              <ac:cxnSpMk id="168"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171617450" sldId="2147483652"/>
              <ac:cxnSpMk id="169"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171617450" sldId="2147483652"/>
              <ac:cxnSpMk id="170"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171617450" sldId="2147483652"/>
              <ac:cxnSpMk id="171"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171617450" sldId="2147483652"/>
              <ac:cxnSpMk id="172"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171617450" sldId="2147483652"/>
              <ac:cxnSpMk id="173"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171617450" sldId="2147483652"/>
              <ac:cxnSpMk id="174"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171617450" sldId="2147483652"/>
              <ac:cxnSpMk id="175"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171617450" sldId="2147483652"/>
              <ac:cxnSpMk id="176"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171617450" sldId="2147483652"/>
              <ac:cxnSpMk id="177" creationId="{00000000-0000-0000-0000-000000000000}"/>
            </ac:cxnSpMkLst>
          </pc:cxnChg>
          <pc:cxnChg chg="mod">
            <ac:chgData name="Adrian Kisliuk" userId="81f189f0-3ed9-4f29-a7b1-770f7af93676" providerId="ADAL" clId="{E0DC2C09-EEDF-4B0C-ABE5-5BFC4FB651FA}" dt="2021-03-03T07:04:30.846" v="1089"/>
            <ac:cxnSpMkLst>
              <pc:docMk/>
              <pc:sldMasterMk cId="792883523" sldId="2147483648"/>
              <pc:sldLayoutMk cId="3171617450" sldId="2147483652"/>
              <ac:cxnSpMk id="178" creationId="{00000000-0000-0000-0000-000000000000}"/>
            </ac:cxnSpMkLst>
          </pc:cxnChg>
        </pc:sldLayoutChg>
        <pc:sldLayoutChg chg="modSp mod">
          <pc:chgData name="Adrian Kisliuk" userId="81f189f0-3ed9-4f29-a7b1-770f7af93676" providerId="ADAL" clId="{E0DC2C09-EEDF-4B0C-ABE5-5BFC4FB651FA}" dt="2021-03-03T07:04:30.880" v="1093"/>
          <pc:sldLayoutMkLst>
            <pc:docMk/>
            <pc:sldMasterMk cId="792883523" sldId="2147483648"/>
            <pc:sldLayoutMk cId="1590086391" sldId="2147483656"/>
          </pc:sldLayoutMkLst>
          <pc:spChg chg="mod">
            <ac:chgData name="Adrian Kisliuk" userId="81f189f0-3ed9-4f29-a7b1-770f7af93676" providerId="ADAL" clId="{E0DC2C09-EEDF-4B0C-ABE5-5BFC4FB651FA}" dt="2021-03-03T07:04:30.846" v="1089"/>
            <ac:spMkLst>
              <pc:docMk/>
              <pc:sldMasterMk cId="792883523" sldId="2147483648"/>
              <pc:sldLayoutMk cId="1590086391" sldId="2147483656"/>
              <ac:spMk id="4" creationId="{0CA81405-43FD-45D9-B591-60E85E3D25D8}"/>
            </ac:spMkLst>
          </pc:spChg>
          <pc:graphicFrameChg chg="mod">
            <ac:chgData name="Adrian Kisliuk" userId="81f189f0-3ed9-4f29-a7b1-770f7af93676" providerId="ADAL" clId="{E0DC2C09-EEDF-4B0C-ABE5-5BFC4FB651FA}" dt="2021-03-03T07:04:30.880" v="1093"/>
            <ac:graphicFrameMkLst>
              <pc:docMk/>
              <pc:sldMasterMk cId="792883523" sldId="2147483648"/>
              <pc:sldLayoutMk cId="1590086391" sldId="2147483656"/>
              <ac:graphicFrameMk id="3" creationId="{F3467D61-B490-46DA-813C-F1B478E01B45}"/>
            </ac:graphicFrameMkLst>
          </pc:graphicFrameChg>
        </pc:sldLayoutChg>
        <pc:sldLayoutChg chg="addSp delSp modSp mod">
          <pc:chgData name="Adrian Kisliuk" userId="81f189f0-3ed9-4f29-a7b1-770f7af93676" providerId="ADAL" clId="{E0DC2C09-EEDF-4B0C-ABE5-5BFC4FB651FA}" dt="2021-03-03T07:04:30.846" v="1089"/>
          <pc:sldLayoutMkLst>
            <pc:docMk/>
            <pc:sldMasterMk cId="792883523" sldId="2147483648"/>
            <pc:sldLayoutMk cId="4070037081" sldId="2147483657"/>
          </pc:sldLayoutMkLst>
          <pc:spChg chg="add del mod modVis">
            <ac:chgData name="Adrian Kisliuk" userId="81f189f0-3ed9-4f29-a7b1-770f7af93676" providerId="ADAL" clId="{E0DC2C09-EEDF-4B0C-ABE5-5BFC4FB651FA}" dt="2021-03-03T07:04:30.846" v="1089"/>
            <ac:spMkLst>
              <pc:docMk/>
              <pc:sldMasterMk cId="792883523" sldId="2147483648"/>
              <pc:sldLayoutMk cId="4070037081" sldId="2147483657"/>
              <ac:spMk id="2" creationId="{A490D5DD-48F2-4339-926C-A996A7B272AE}"/>
            </ac:spMkLst>
          </pc:spChg>
          <pc:spChg chg="mod">
            <ac:chgData name="Adrian Kisliuk" userId="81f189f0-3ed9-4f29-a7b1-770f7af93676" providerId="ADAL" clId="{E0DC2C09-EEDF-4B0C-ABE5-5BFC4FB651FA}" dt="2021-03-03T07:04:30.846" v="1089"/>
            <ac:spMkLst>
              <pc:docMk/>
              <pc:sldMasterMk cId="792883523" sldId="2147483648"/>
              <pc:sldLayoutMk cId="4070037081" sldId="2147483657"/>
              <ac:spMk id="8" creationId="{0237D11F-1AC0-46B5-8679-9AB4FE6CE40A}"/>
            </ac:spMkLst>
          </pc:spChg>
          <pc:spChg chg="mod">
            <ac:chgData name="Adrian Kisliuk" userId="81f189f0-3ed9-4f29-a7b1-770f7af93676" providerId="ADAL" clId="{E0DC2C09-EEDF-4B0C-ABE5-5BFC4FB651FA}" dt="2021-03-03T07:04:30.846" v="1089"/>
            <ac:spMkLst>
              <pc:docMk/>
              <pc:sldMasterMk cId="792883523" sldId="2147483648"/>
              <pc:sldLayoutMk cId="4070037081" sldId="2147483657"/>
              <ac:spMk id="9" creationId="{6B12F3A8-C096-4AE4-AB50-71DB35029B0E}"/>
            </ac:spMkLst>
          </pc:spChg>
          <pc:graphicFrameChg chg="add del mod ord modVis">
            <ac:chgData name="Adrian Kisliuk" userId="81f189f0-3ed9-4f29-a7b1-770f7af93676" providerId="ADAL" clId="{E0DC2C09-EEDF-4B0C-ABE5-5BFC4FB651FA}" dt="2021-03-03T07:04:30.846" v="1089"/>
            <ac:graphicFrameMkLst>
              <pc:docMk/>
              <pc:sldMasterMk cId="792883523" sldId="2147483648"/>
              <pc:sldLayoutMk cId="4070037081" sldId="2147483657"/>
              <ac:graphicFrameMk id="3" creationId="{9BAE7613-DEDC-432D-8BDB-7947927E280A}"/>
            </ac:graphicFrameMkLst>
          </pc:graphicFrameChg>
        </pc:sldLayoutChg>
        <pc:sldLayoutChg chg="modSp">
          <pc:chgData name="Adrian Kisliuk" userId="81f189f0-3ed9-4f29-a7b1-770f7af93676" providerId="ADAL" clId="{E0DC2C09-EEDF-4B0C-ABE5-5BFC4FB651FA}" dt="2021-03-03T07:04:30.846" v="1089"/>
          <pc:sldLayoutMkLst>
            <pc:docMk/>
            <pc:sldMasterMk cId="792883523" sldId="2147483648"/>
            <pc:sldLayoutMk cId="3748291341" sldId="2147483658"/>
          </pc:sldLayoutMkLst>
          <pc:spChg chg="mod">
            <ac:chgData name="Adrian Kisliuk" userId="81f189f0-3ed9-4f29-a7b1-770f7af93676" providerId="ADAL" clId="{E0DC2C09-EEDF-4B0C-ABE5-5BFC4FB651FA}" dt="2021-03-03T07:04:30.846" v="1089"/>
            <ac:spMkLst>
              <pc:docMk/>
              <pc:sldMasterMk cId="792883523" sldId="2147483648"/>
              <pc:sldLayoutMk cId="3748291341" sldId="2147483658"/>
              <ac:spMk id="9" creationId="{E5F59B36-8E80-41C9-B1FA-BF832B0AC82C}"/>
            </ac:spMkLst>
          </pc:spChg>
          <pc:spChg chg="mod">
            <ac:chgData name="Adrian Kisliuk" userId="81f189f0-3ed9-4f29-a7b1-770f7af93676" providerId="ADAL" clId="{E0DC2C09-EEDF-4B0C-ABE5-5BFC4FB651FA}" dt="2021-03-03T07:04:30.846" v="1089"/>
            <ac:spMkLst>
              <pc:docMk/>
              <pc:sldMasterMk cId="792883523" sldId="2147483648"/>
              <pc:sldLayoutMk cId="3748291341" sldId="2147483658"/>
              <ac:spMk id="14" creationId="{711AF62B-8ABC-4A3F-91E2-9A233D49A88E}"/>
            </ac:spMkLst>
          </pc:spChg>
          <pc:spChg chg="mod">
            <ac:chgData name="Adrian Kisliuk" userId="81f189f0-3ed9-4f29-a7b1-770f7af93676" providerId="ADAL" clId="{E0DC2C09-EEDF-4B0C-ABE5-5BFC4FB651FA}" dt="2021-03-03T07:04:30.846" v="1089"/>
            <ac:spMkLst>
              <pc:docMk/>
              <pc:sldMasterMk cId="792883523" sldId="2147483648"/>
              <pc:sldLayoutMk cId="3748291341" sldId="2147483658"/>
              <ac:spMk id="20" creationId="{00000000-0000-0000-0000-000000000000}"/>
            </ac:spMkLst>
          </pc:spChg>
          <pc:graphicFrameChg chg="mod">
            <ac:chgData name="Adrian Kisliuk" userId="81f189f0-3ed9-4f29-a7b1-770f7af93676" providerId="ADAL" clId="{E0DC2C09-EEDF-4B0C-ABE5-5BFC4FB651FA}" dt="2021-03-03T07:04:30.846" v="1089"/>
            <ac:graphicFrameMkLst>
              <pc:docMk/>
              <pc:sldMasterMk cId="792883523" sldId="2147483648"/>
              <pc:sldLayoutMk cId="3748291341" sldId="2147483658"/>
              <ac:graphicFrameMk id="6" creationId="{00000000-0000-0000-0000-000000000000}"/>
            </ac:graphicFrameMkLst>
          </pc:graphicFrameChg>
        </pc:sldLayoutChg>
        <pc:sldLayoutChg chg="modSp">
          <pc:chgData name="Adrian Kisliuk" userId="81f189f0-3ed9-4f29-a7b1-770f7af93676" providerId="ADAL" clId="{E0DC2C09-EEDF-4B0C-ABE5-5BFC4FB651FA}" dt="2021-03-03T07:04:30.846" v="1089"/>
          <pc:sldLayoutMkLst>
            <pc:docMk/>
            <pc:sldMasterMk cId="792883523" sldId="2147483648"/>
            <pc:sldLayoutMk cId="2394391421" sldId="2147483659"/>
          </pc:sldLayoutMkLst>
          <pc:spChg chg="mod">
            <ac:chgData name="Adrian Kisliuk" userId="81f189f0-3ed9-4f29-a7b1-770f7af93676" providerId="ADAL" clId="{E0DC2C09-EEDF-4B0C-ABE5-5BFC4FB651FA}" dt="2021-03-03T07:04:30.846" v="1089"/>
            <ac:spMkLst>
              <pc:docMk/>
              <pc:sldMasterMk cId="792883523" sldId="2147483648"/>
              <pc:sldLayoutMk cId="2394391421" sldId="2147483659"/>
              <ac:spMk id="8" creationId="{01F567C3-1452-4A6B-89DA-C9F183D5CC96}"/>
            </ac:spMkLst>
          </pc:spChg>
          <pc:spChg chg="mod">
            <ac:chgData name="Adrian Kisliuk" userId="81f189f0-3ed9-4f29-a7b1-770f7af93676" providerId="ADAL" clId="{E0DC2C09-EEDF-4B0C-ABE5-5BFC4FB651FA}" dt="2021-03-03T07:04:30.846" v="1089"/>
            <ac:spMkLst>
              <pc:docMk/>
              <pc:sldMasterMk cId="792883523" sldId="2147483648"/>
              <pc:sldLayoutMk cId="2394391421" sldId="2147483659"/>
              <ac:spMk id="9" creationId="{F92BFA13-E9A0-4EEA-A037-F19F33C4851A}"/>
            </ac:spMkLst>
          </pc:spChg>
          <pc:spChg chg="mod">
            <ac:chgData name="Adrian Kisliuk" userId="81f189f0-3ed9-4f29-a7b1-770f7af93676" providerId="ADAL" clId="{E0DC2C09-EEDF-4B0C-ABE5-5BFC4FB651FA}" dt="2021-03-03T07:04:30.846" v="1089"/>
            <ac:spMkLst>
              <pc:docMk/>
              <pc:sldMasterMk cId="792883523" sldId="2147483648"/>
              <pc:sldLayoutMk cId="2394391421" sldId="2147483659"/>
              <ac:spMk id="23" creationId="{00000000-0000-0000-0000-000000000000}"/>
            </ac:spMkLst>
          </pc:spChg>
          <pc:spChg chg="mod">
            <ac:chgData name="Adrian Kisliuk" userId="81f189f0-3ed9-4f29-a7b1-770f7af93676" providerId="ADAL" clId="{E0DC2C09-EEDF-4B0C-ABE5-5BFC4FB651FA}" dt="2021-03-03T07:04:30.846" v="1089"/>
            <ac:spMkLst>
              <pc:docMk/>
              <pc:sldMasterMk cId="792883523" sldId="2147483648"/>
              <pc:sldLayoutMk cId="2394391421" sldId="2147483659"/>
              <ac:spMk id="24" creationId="{00000000-0000-0000-0000-000000000000}"/>
            </ac:spMkLst>
          </pc:spChg>
        </pc:sldLayoutChg>
        <pc:sldLayoutChg chg="modSp">
          <pc:chgData name="Adrian Kisliuk" userId="81f189f0-3ed9-4f29-a7b1-770f7af93676" providerId="ADAL" clId="{E0DC2C09-EEDF-4B0C-ABE5-5BFC4FB651FA}" dt="2021-03-03T07:04:30.846" v="1089"/>
          <pc:sldLayoutMkLst>
            <pc:docMk/>
            <pc:sldMasterMk cId="792883523" sldId="2147483648"/>
            <pc:sldLayoutMk cId="3273949510" sldId="2147483660"/>
          </pc:sldLayoutMkLst>
          <pc:spChg chg="mod">
            <ac:chgData name="Adrian Kisliuk" userId="81f189f0-3ed9-4f29-a7b1-770f7af93676" providerId="ADAL" clId="{E0DC2C09-EEDF-4B0C-ABE5-5BFC4FB651FA}" dt="2021-03-03T07:04:30.846" v="1089"/>
            <ac:spMkLst>
              <pc:docMk/>
              <pc:sldMasterMk cId="792883523" sldId="2147483648"/>
              <pc:sldLayoutMk cId="3273949510" sldId="2147483660"/>
              <ac:spMk id="10" creationId="{C6F3BD25-1BE6-47C0-BEB5-68C0ED6D3E66}"/>
            </ac:spMkLst>
          </pc:spChg>
          <pc:spChg chg="mod">
            <ac:chgData name="Adrian Kisliuk" userId="81f189f0-3ed9-4f29-a7b1-770f7af93676" providerId="ADAL" clId="{E0DC2C09-EEDF-4B0C-ABE5-5BFC4FB651FA}" dt="2021-03-03T07:04:30.846" v="1089"/>
            <ac:spMkLst>
              <pc:docMk/>
              <pc:sldMasterMk cId="792883523" sldId="2147483648"/>
              <pc:sldLayoutMk cId="3273949510" sldId="2147483660"/>
              <ac:spMk id="11" creationId="{A8C3731B-6C9D-4463-A1B6-93A7901A7AC9}"/>
            </ac:spMkLst>
          </pc:spChg>
          <pc:spChg chg="mod">
            <ac:chgData name="Adrian Kisliuk" userId="81f189f0-3ed9-4f29-a7b1-770f7af93676" providerId="ADAL" clId="{E0DC2C09-EEDF-4B0C-ABE5-5BFC4FB651FA}" dt="2021-03-03T07:04:30.846" v="1089"/>
            <ac:spMkLst>
              <pc:docMk/>
              <pc:sldMasterMk cId="792883523" sldId="2147483648"/>
              <pc:sldLayoutMk cId="3273949510" sldId="2147483660"/>
              <ac:spMk id="19" creationId="{00000000-0000-0000-0000-000000000000}"/>
            </ac:spMkLst>
          </pc:spChg>
          <pc:spChg chg="mod">
            <ac:chgData name="Adrian Kisliuk" userId="81f189f0-3ed9-4f29-a7b1-770f7af93676" providerId="ADAL" clId="{E0DC2C09-EEDF-4B0C-ABE5-5BFC4FB651FA}" dt="2021-03-03T07:04:30.846" v="1089"/>
            <ac:spMkLst>
              <pc:docMk/>
              <pc:sldMasterMk cId="792883523" sldId="2147483648"/>
              <pc:sldLayoutMk cId="3273949510" sldId="2147483660"/>
              <ac:spMk id="26" creationId="{00000000-0000-0000-0000-000000000000}"/>
            </ac:spMkLst>
          </pc:spChg>
          <pc:spChg chg="mod">
            <ac:chgData name="Adrian Kisliuk" userId="81f189f0-3ed9-4f29-a7b1-770f7af93676" providerId="ADAL" clId="{E0DC2C09-EEDF-4B0C-ABE5-5BFC4FB651FA}" dt="2021-03-03T07:04:30.846" v="1089"/>
            <ac:spMkLst>
              <pc:docMk/>
              <pc:sldMasterMk cId="792883523" sldId="2147483648"/>
              <pc:sldLayoutMk cId="3273949510" sldId="2147483660"/>
              <ac:spMk id="27" creationId="{00000000-0000-0000-0000-000000000000}"/>
            </ac:spMkLst>
          </pc:spChg>
        </pc:sldLayoutChg>
        <pc:sldLayoutChg chg="modSp">
          <pc:chgData name="Adrian Kisliuk" userId="81f189f0-3ed9-4f29-a7b1-770f7af93676" providerId="ADAL" clId="{E0DC2C09-EEDF-4B0C-ABE5-5BFC4FB651FA}" dt="2021-03-03T07:04:30.846" v="1089"/>
          <pc:sldLayoutMkLst>
            <pc:docMk/>
            <pc:sldMasterMk cId="792883523" sldId="2147483648"/>
            <pc:sldLayoutMk cId="2923560172" sldId="2147483661"/>
          </pc:sldLayoutMkLst>
          <pc:spChg chg="mod">
            <ac:chgData name="Adrian Kisliuk" userId="81f189f0-3ed9-4f29-a7b1-770f7af93676" providerId="ADAL" clId="{E0DC2C09-EEDF-4B0C-ABE5-5BFC4FB651FA}" dt="2021-03-03T07:04:30.846" v="1089"/>
            <ac:spMkLst>
              <pc:docMk/>
              <pc:sldMasterMk cId="792883523" sldId="2147483648"/>
              <pc:sldLayoutMk cId="2923560172" sldId="2147483661"/>
              <ac:spMk id="11" creationId="{354BF5AE-EE29-4A02-9D9D-5E85A2AA04F9}"/>
            </ac:spMkLst>
          </pc:spChg>
          <pc:spChg chg="mod">
            <ac:chgData name="Adrian Kisliuk" userId="81f189f0-3ed9-4f29-a7b1-770f7af93676" providerId="ADAL" clId="{E0DC2C09-EEDF-4B0C-ABE5-5BFC4FB651FA}" dt="2021-03-03T07:04:30.846" v="1089"/>
            <ac:spMkLst>
              <pc:docMk/>
              <pc:sldMasterMk cId="792883523" sldId="2147483648"/>
              <pc:sldLayoutMk cId="2923560172" sldId="2147483661"/>
              <ac:spMk id="13" creationId="{D8627D76-B4DD-4EC4-B6E6-FFD7B088F6D9}"/>
            </ac:spMkLst>
          </pc:spChg>
          <pc:spChg chg="mod">
            <ac:chgData name="Adrian Kisliuk" userId="81f189f0-3ed9-4f29-a7b1-770f7af93676" providerId="ADAL" clId="{E0DC2C09-EEDF-4B0C-ABE5-5BFC4FB651FA}" dt="2021-03-03T07:04:30.846" v="1089"/>
            <ac:spMkLst>
              <pc:docMk/>
              <pc:sldMasterMk cId="792883523" sldId="2147483648"/>
              <pc:sldLayoutMk cId="2923560172" sldId="2147483661"/>
              <ac:spMk id="21" creationId="{00000000-0000-0000-0000-000000000000}"/>
            </ac:spMkLst>
          </pc:spChg>
          <pc:spChg chg="mod">
            <ac:chgData name="Adrian Kisliuk" userId="81f189f0-3ed9-4f29-a7b1-770f7af93676" providerId="ADAL" clId="{E0DC2C09-EEDF-4B0C-ABE5-5BFC4FB651FA}" dt="2021-03-03T07:04:30.846" v="1089"/>
            <ac:spMkLst>
              <pc:docMk/>
              <pc:sldMasterMk cId="792883523" sldId="2147483648"/>
              <pc:sldLayoutMk cId="2923560172" sldId="2147483661"/>
              <ac:spMk id="22" creationId="{00000000-0000-0000-0000-000000000000}"/>
            </ac:spMkLst>
          </pc:spChg>
          <pc:spChg chg="mod">
            <ac:chgData name="Adrian Kisliuk" userId="81f189f0-3ed9-4f29-a7b1-770f7af93676" providerId="ADAL" clId="{E0DC2C09-EEDF-4B0C-ABE5-5BFC4FB651FA}" dt="2021-03-03T07:04:30.846" v="1089"/>
            <ac:spMkLst>
              <pc:docMk/>
              <pc:sldMasterMk cId="792883523" sldId="2147483648"/>
              <pc:sldLayoutMk cId="2923560172" sldId="2147483661"/>
              <ac:spMk id="23" creationId="{00000000-0000-0000-0000-000000000000}"/>
            </ac:spMkLst>
          </pc:spChg>
          <pc:spChg chg="mod">
            <ac:chgData name="Adrian Kisliuk" userId="81f189f0-3ed9-4f29-a7b1-770f7af93676" providerId="ADAL" clId="{E0DC2C09-EEDF-4B0C-ABE5-5BFC4FB651FA}" dt="2021-03-03T07:04:30.846" v="1089"/>
            <ac:spMkLst>
              <pc:docMk/>
              <pc:sldMasterMk cId="792883523" sldId="2147483648"/>
              <pc:sldLayoutMk cId="2923560172" sldId="2147483661"/>
              <ac:spMk id="24" creationId="{00000000-0000-0000-0000-000000000000}"/>
            </ac:spMkLst>
          </pc:spChg>
        </pc:sldLayoutChg>
        <pc:sldLayoutChg chg="addSp delSp modSp mod">
          <pc:chgData name="Adrian Kisliuk" userId="81f189f0-3ed9-4f29-a7b1-770f7af93676" providerId="ADAL" clId="{E0DC2C09-EEDF-4B0C-ABE5-5BFC4FB651FA}" dt="2021-03-03T07:04:30.846" v="1089"/>
          <pc:sldLayoutMkLst>
            <pc:docMk/>
            <pc:sldMasterMk cId="792883523" sldId="2147483648"/>
            <pc:sldLayoutMk cId="996660223" sldId="2147483662"/>
          </pc:sldLayoutMkLst>
          <pc:graphicFrameChg chg="add del mod modVis">
            <ac:chgData name="Adrian Kisliuk" userId="81f189f0-3ed9-4f29-a7b1-770f7af93676" providerId="ADAL" clId="{E0DC2C09-EEDF-4B0C-ABE5-5BFC4FB651FA}" dt="2021-03-03T07:04:30.846" v="1089"/>
            <ac:graphicFrameMkLst>
              <pc:docMk/>
              <pc:sldMasterMk cId="792883523" sldId="2147483648"/>
              <pc:sldLayoutMk cId="996660223" sldId="2147483662"/>
              <ac:graphicFrameMk id="2" creationId="{0862B9DD-6B4C-472E-8D51-E9F7425AFED4}"/>
            </ac:graphicFrameMkLst>
          </pc:graphicFrameChg>
        </pc:sldLayoutChg>
        <pc:sldLayoutChg chg="addSp delSp modSp mod">
          <pc:chgData name="Adrian Kisliuk" userId="81f189f0-3ed9-4f29-a7b1-770f7af93676" providerId="ADAL" clId="{E0DC2C09-EEDF-4B0C-ABE5-5BFC4FB651FA}" dt="2021-03-03T07:04:30.886" v="1095"/>
          <pc:sldLayoutMkLst>
            <pc:docMk/>
            <pc:sldMasterMk cId="792883523" sldId="2147483648"/>
            <pc:sldLayoutMk cId="47689872" sldId="2147483663"/>
          </pc:sldLayoutMkLst>
          <pc:spChg chg="add del mod">
            <ac:chgData name="Adrian Kisliuk" userId="81f189f0-3ed9-4f29-a7b1-770f7af93676" providerId="ADAL" clId="{E0DC2C09-EEDF-4B0C-ABE5-5BFC4FB651FA}" dt="2021-03-02T16:46:21.342" v="181"/>
            <ac:spMkLst>
              <pc:docMk/>
              <pc:sldMasterMk cId="792883523" sldId="2147483648"/>
              <pc:sldLayoutMk cId="47689872" sldId="2147483663"/>
              <ac:spMk id="2" creationId="{489FAA3C-2773-4A01-A01B-9686EC700877}"/>
            </ac:spMkLst>
          </pc:spChg>
          <pc:spChg chg="add del mod">
            <ac:chgData name="Adrian Kisliuk" userId="81f189f0-3ed9-4f29-a7b1-770f7af93676" providerId="ADAL" clId="{E0DC2C09-EEDF-4B0C-ABE5-5BFC4FB651FA}" dt="2021-03-02T16:46:21.342" v="181"/>
            <ac:spMkLst>
              <pc:docMk/>
              <pc:sldMasterMk cId="792883523" sldId="2147483648"/>
              <pc:sldLayoutMk cId="47689872" sldId="2147483663"/>
              <ac:spMk id="3" creationId="{62EE4E82-E600-45BF-B3E5-94491DE4DB99}"/>
            </ac:spMkLst>
          </pc:spChg>
          <pc:spChg chg="add mod">
            <ac:chgData name="Adrian Kisliuk" userId="81f189f0-3ed9-4f29-a7b1-770f7af93676" providerId="ADAL" clId="{E0DC2C09-EEDF-4B0C-ABE5-5BFC4FB651FA}" dt="2021-03-03T07:04:30.846" v="1089"/>
            <ac:spMkLst>
              <pc:docMk/>
              <pc:sldMasterMk cId="792883523" sldId="2147483648"/>
              <pc:sldLayoutMk cId="47689872" sldId="2147483663"/>
              <ac:spMk id="6" creationId="{DC19F058-5598-4FEC-A9DC-EB3DA72B1960}"/>
            </ac:spMkLst>
          </pc:spChg>
          <pc:graphicFrameChg chg="add mod modVis">
            <ac:chgData name="Adrian Kisliuk" userId="81f189f0-3ed9-4f29-a7b1-770f7af93676" providerId="ADAL" clId="{E0DC2C09-EEDF-4B0C-ABE5-5BFC4FB651FA}" dt="2021-03-03T07:04:30.886" v="1095"/>
            <ac:graphicFrameMkLst>
              <pc:docMk/>
              <pc:sldMasterMk cId="792883523" sldId="2147483648"/>
              <pc:sldLayoutMk cId="47689872" sldId="2147483663"/>
              <ac:graphicFrameMk id="5" creationId="{E345DF9B-DA61-46A1-8C97-EE90D13733FC}"/>
            </ac:graphicFrameMkLst>
          </pc:graphicFrameChg>
          <pc:picChg chg="add del mod">
            <ac:chgData name="Adrian Kisliuk" userId="81f189f0-3ed9-4f29-a7b1-770f7af93676" providerId="ADAL" clId="{E0DC2C09-EEDF-4B0C-ABE5-5BFC4FB651FA}" dt="2021-03-02T16:46:21.342" v="181"/>
            <ac:picMkLst>
              <pc:docMk/>
              <pc:sldMasterMk cId="792883523" sldId="2147483648"/>
              <pc:sldLayoutMk cId="47689872" sldId="2147483663"/>
              <ac:picMk id="4" creationId="{82C53018-B81F-430B-930B-411C06A7F99F}"/>
            </ac:picMkLst>
          </pc:picChg>
        </pc:sldLayoutChg>
        <pc:sldLayoutChg chg="addSp delSp modSp mod">
          <pc:chgData name="Adrian Kisliuk" userId="81f189f0-3ed9-4f29-a7b1-770f7af93676" providerId="ADAL" clId="{E0DC2C09-EEDF-4B0C-ABE5-5BFC4FB651FA}" dt="2021-03-03T07:04:30.846" v="1089"/>
          <pc:sldLayoutMkLst>
            <pc:docMk/>
            <pc:sldMasterMk cId="792883523" sldId="2147483648"/>
            <pc:sldLayoutMk cId="1388551844" sldId="2147483664"/>
          </pc:sldLayoutMkLst>
          <pc:graphicFrameChg chg="add del mod modVis">
            <ac:chgData name="Adrian Kisliuk" userId="81f189f0-3ed9-4f29-a7b1-770f7af93676" providerId="ADAL" clId="{E0DC2C09-EEDF-4B0C-ABE5-5BFC4FB651FA}" dt="2021-03-03T07:04:30.846" v="1089"/>
            <ac:graphicFrameMkLst>
              <pc:docMk/>
              <pc:sldMasterMk cId="792883523" sldId="2147483648"/>
              <pc:sldLayoutMk cId="1388551844" sldId="2147483664"/>
              <ac:graphicFrameMk id="2" creationId="{EFAB2678-C1DF-49F7-831F-DA8FDF9FBF5C}"/>
            </ac:graphicFrameMkLst>
          </pc:graphicFrameChg>
        </pc:sldLayoutChg>
        <pc:sldLayoutChg chg="addSp delSp modSp mod">
          <pc:chgData name="Adrian Kisliuk" userId="81f189f0-3ed9-4f29-a7b1-770f7af93676" providerId="ADAL" clId="{E0DC2C09-EEDF-4B0C-ABE5-5BFC4FB651FA}" dt="2021-03-03T07:04:30.846" v="1089"/>
          <pc:sldLayoutMkLst>
            <pc:docMk/>
            <pc:sldMasterMk cId="792883523" sldId="2147483648"/>
            <pc:sldLayoutMk cId="2915991579" sldId="2147483665"/>
          </pc:sldLayoutMkLst>
          <pc:graphicFrameChg chg="add del mod modVis">
            <ac:chgData name="Adrian Kisliuk" userId="81f189f0-3ed9-4f29-a7b1-770f7af93676" providerId="ADAL" clId="{E0DC2C09-EEDF-4B0C-ABE5-5BFC4FB651FA}" dt="2021-03-03T07:04:30.846" v="1089"/>
            <ac:graphicFrameMkLst>
              <pc:docMk/>
              <pc:sldMasterMk cId="792883523" sldId="2147483648"/>
              <pc:sldLayoutMk cId="2915991579" sldId="2147483665"/>
              <ac:graphicFrameMk id="2" creationId="{9B00F449-4EC8-4C3C-843B-9692FA6D3FA3}"/>
            </ac:graphicFrameMkLst>
          </pc:graphicFrameChg>
        </pc:sldLayoutChg>
        <pc:sldLayoutChg chg="addSp delSp modSp mod">
          <pc:chgData name="Adrian Kisliuk" userId="81f189f0-3ed9-4f29-a7b1-770f7af93676" providerId="ADAL" clId="{E0DC2C09-EEDF-4B0C-ABE5-5BFC4FB651FA}" dt="2021-03-03T07:04:30.846" v="1089"/>
          <pc:sldLayoutMkLst>
            <pc:docMk/>
            <pc:sldMasterMk cId="792883523" sldId="2147483648"/>
            <pc:sldLayoutMk cId="1603612521" sldId="2147483666"/>
          </pc:sldLayoutMkLst>
          <pc:graphicFrameChg chg="add del mod modVis">
            <ac:chgData name="Adrian Kisliuk" userId="81f189f0-3ed9-4f29-a7b1-770f7af93676" providerId="ADAL" clId="{E0DC2C09-EEDF-4B0C-ABE5-5BFC4FB651FA}" dt="2021-03-03T07:04:30.846" v="1089"/>
            <ac:graphicFrameMkLst>
              <pc:docMk/>
              <pc:sldMasterMk cId="792883523" sldId="2147483648"/>
              <pc:sldLayoutMk cId="1603612521" sldId="2147483666"/>
              <ac:graphicFrameMk id="2" creationId="{F1A91747-798D-484D-82E2-01B5B7FB097F}"/>
            </ac:graphicFrameMkLst>
          </pc:graphicFrameChg>
        </pc:sldLayoutChg>
        <pc:sldLayoutChg chg="addSp delSp modSp mod">
          <pc:chgData name="Adrian Kisliuk" userId="81f189f0-3ed9-4f29-a7b1-770f7af93676" providerId="ADAL" clId="{E0DC2C09-EEDF-4B0C-ABE5-5BFC4FB651FA}" dt="2021-03-03T07:04:30.846" v="1089"/>
          <pc:sldLayoutMkLst>
            <pc:docMk/>
            <pc:sldMasterMk cId="792883523" sldId="2147483648"/>
            <pc:sldLayoutMk cId="368235614" sldId="2147483667"/>
          </pc:sldLayoutMkLst>
          <pc:graphicFrameChg chg="add del mod modVis">
            <ac:chgData name="Adrian Kisliuk" userId="81f189f0-3ed9-4f29-a7b1-770f7af93676" providerId="ADAL" clId="{E0DC2C09-EEDF-4B0C-ABE5-5BFC4FB651FA}" dt="2021-03-03T07:04:30.846" v="1089"/>
            <ac:graphicFrameMkLst>
              <pc:docMk/>
              <pc:sldMasterMk cId="792883523" sldId="2147483648"/>
              <pc:sldLayoutMk cId="368235614" sldId="2147483667"/>
              <ac:graphicFrameMk id="2" creationId="{2ADBBD76-15DB-459F-9EA8-C6863628ABE6}"/>
            </ac:graphicFrameMkLst>
          </pc:graphicFrameChg>
        </pc:sldLayoutChg>
        <pc:sldLayoutChg chg="addSp delSp modSp mod">
          <pc:chgData name="Adrian Kisliuk" userId="81f189f0-3ed9-4f29-a7b1-770f7af93676" providerId="ADAL" clId="{E0DC2C09-EEDF-4B0C-ABE5-5BFC4FB651FA}" dt="2021-03-03T07:04:30.846" v="1089"/>
          <pc:sldLayoutMkLst>
            <pc:docMk/>
            <pc:sldMasterMk cId="792883523" sldId="2147483648"/>
            <pc:sldLayoutMk cId="1431507454" sldId="2147483668"/>
          </pc:sldLayoutMkLst>
          <pc:graphicFrameChg chg="add del mod modVis">
            <ac:chgData name="Adrian Kisliuk" userId="81f189f0-3ed9-4f29-a7b1-770f7af93676" providerId="ADAL" clId="{E0DC2C09-EEDF-4B0C-ABE5-5BFC4FB651FA}" dt="2021-03-03T07:04:30.846" v="1089"/>
            <ac:graphicFrameMkLst>
              <pc:docMk/>
              <pc:sldMasterMk cId="792883523" sldId="2147483648"/>
              <pc:sldLayoutMk cId="1431507454" sldId="2147483668"/>
              <ac:graphicFrameMk id="2" creationId="{3E4A4408-AF9A-43C3-A07D-A07CF570084C}"/>
            </ac:graphicFrameMkLst>
          </pc:graphicFrameChg>
        </pc:sldLayoutChg>
        <pc:sldLayoutChg chg="addSp delSp modSp mod">
          <pc:chgData name="Adrian Kisliuk" userId="81f189f0-3ed9-4f29-a7b1-770f7af93676" providerId="ADAL" clId="{E0DC2C09-EEDF-4B0C-ABE5-5BFC4FB651FA}" dt="2021-03-03T07:04:30.846" v="1089"/>
          <pc:sldLayoutMkLst>
            <pc:docMk/>
            <pc:sldMasterMk cId="792883523" sldId="2147483648"/>
            <pc:sldLayoutMk cId="2569502479" sldId="2147483669"/>
          </pc:sldLayoutMkLst>
          <pc:graphicFrameChg chg="add del mod modVis">
            <ac:chgData name="Adrian Kisliuk" userId="81f189f0-3ed9-4f29-a7b1-770f7af93676" providerId="ADAL" clId="{E0DC2C09-EEDF-4B0C-ABE5-5BFC4FB651FA}" dt="2021-03-03T07:04:30.846" v="1089"/>
            <ac:graphicFrameMkLst>
              <pc:docMk/>
              <pc:sldMasterMk cId="792883523" sldId="2147483648"/>
              <pc:sldLayoutMk cId="2569502479" sldId="2147483669"/>
              <ac:graphicFrameMk id="2" creationId="{98EADCB8-C4B5-4DC7-8CE6-351EDB7187CC}"/>
            </ac:graphicFrameMkLst>
          </pc:graphicFrameChg>
        </pc:sldLayoutChg>
      </pc:sldMasterChg>
      <pc:sldMasterChg chg="addSp modSp new del mod addSldLayout delSldLayout">
        <pc:chgData name="Adrian Kisliuk" userId="81f189f0-3ed9-4f29-a7b1-770f7af93676" providerId="ADAL" clId="{E0DC2C09-EEDF-4B0C-ABE5-5BFC4FB651FA}" dt="2021-03-02T16:45:51.841" v="179" actId="6938"/>
        <pc:sldMasterMkLst>
          <pc:docMk/>
          <pc:sldMasterMk cId="309726812" sldId="2147483663"/>
        </pc:sldMasterMkLst>
        <pc:spChg chg="add mod">
          <ac:chgData name="Adrian Kisliuk" userId="81f189f0-3ed9-4f29-a7b1-770f7af93676" providerId="ADAL" clId="{E0DC2C09-EEDF-4B0C-ABE5-5BFC4FB651FA}" dt="2021-03-02T16:45:49.172" v="178"/>
          <ac:spMkLst>
            <pc:docMk/>
            <pc:sldMasterMk cId="309726812" sldId="2147483663"/>
            <ac:spMk id="2" creationId="{306EBA03-68E7-4CC0-8BD8-BC7253AC5952}"/>
          </ac:spMkLst>
        </pc:spChg>
        <pc:spChg chg="add mod">
          <ac:chgData name="Adrian Kisliuk" userId="81f189f0-3ed9-4f29-a7b1-770f7af93676" providerId="ADAL" clId="{E0DC2C09-EEDF-4B0C-ABE5-5BFC4FB651FA}" dt="2021-03-02T16:45:49.172" v="178"/>
          <ac:spMkLst>
            <pc:docMk/>
            <pc:sldMasterMk cId="309726812" sldId="2147483663"/>
            <ac:spMk id="3" creationId="{983EA51A-B2CD-415C-B6E6-C86C5165B7D4}"/>
          </ac:spMkLst>
        </pc:spChg>
        <pc:spChg chg="add mod">
          <ac:chgData name="Adrian Kisliuk" userId="81f189f0-3ed9-4f29-a7b1-770f7af93676" providerId="ADAL" clId="{E0DC2C09-EEDF-4B0C-ABE5-5BFC4FB651FA}" dt="2021-03-02T16:45:49.172" v="178"/>
          <ac:spMkLst>
            <pc:docMk/>
            <pc:sldMasterMk cId="309726812" sldId="2147483663"/>
            <ac:spMk id="4" creationId="{6E60B9BD-A6B3-44E3-85CD-28A21E46049B}"/>
          </ac:spMkLst>
        </pc:spChg>
        <pc:spChg chg="add mod">
          <ac:chgData name="Adrian Kisliuk" userId="81f189f0-3ed9-4f29-a7b1-770f7af93676" providerId="ADAL" clId="{E0DC2C09-EEDF-4B0C-ABE5-5BFC4FB651FA}" dt="2021-03-02T16:45:49.172" v="178"/>
          <ac:spMkLst>
            <pc:docMk/>
            <pc:sldMasterMk cId="309726812" sldId="2147483663"/>
            <ac:spMk id="5" creationId="{E9418547-9E53-43BC-93C5-3FBA6B544576}"/>
          </ac:spMkLst>
        </pc:spChg>
        <pc:spChg chg="add mod">
          <ac:chgData name="Adrian Kisliuk" userId="81f189f0-3ed9-4f29-a7b1-770f7af93676" providerId="ADAL" clId="{E0DC2C09-EEDF-4B0C-ABE5-5BFC4FB651FA}" dt="2021-03-02T16:45:49.172" v="178"/>
          <ac:spMkLst>
            <pc:docMk/>
            <pc:sldMasterMk cId="309726812" sldId="2147483663"/>
            <ac:spMk id="6" creationId="{E8E6C6AC-4E4E-4F0D-B838-86D13280B8F5}"/>
          </ac:spMkLst>
        </pc:spChg>
        <pc:sldLayoutChg chg="new del replId">
          <pc:chgData name="Adrian Kisliuk" userId="81f189f0-3ed9-4f29-a7b1-770f7af93676" providerId="ADAL" clId="{E0DC2C09-EEDF-4B0C-ABE5-5BFC4FB651FA}" dt="2021-03-02T16:45:51.841" v="179" actId="6938"/>
          <pc:sldLayoutMkLst>
            <pc:docMk/>
            <pc:sldMasterMk cId="309726812" sldId="2147483663"/>
            <pc:sldLayoutMk cId="2891181543" sldId="2147483664"/>
          </pc:sldLayoutMkLst>
        </pc:sldLayoutChg>
        <pc:sldLayoutChg chg="new del replId">
          <pc:chgData name="Adrian Kisliuk" userId="81f189f0-3ed9-4f29-a7b1-770f7af93676" providerId="ADAL" clId="{E0DC2C09-EEDF-4B0C-ABE5-5BFC4FB651FA}" dt="2021-03-02T16:45:51.841" v="179" actId="6938"/>
          <pc:sldLayoutMkLst>
            <pc:docMk/>
            <pc:sldMasterMk cId="309726812" sldId="2147483663"/>
            <pc:sldLayoutMk cId="3029398528" sldId="2147483665"/>
          </pc:sldLayoutMkLst>
        </pc:sldLayoutChg>
        <pc:sldLayoutChg chg="new del replId">
          <pc:chgData name="Adrian Kisliuk" userId="81f189f0-3ed9-4f29-a7b1-770f7af93676" providerId="ADAL" clId="{E0DC2C09-EEDF-4B0C-ABE5-5BFC4FB651FA}" dt="2021-03-02T16:45:51.841" v="179" actId="6938"/>
          <pc:sldLayoutMkLst>
            <pc:docMk/>
            <pc:sldMasterMk cId="309726812" sldId="2147483663"/>
            <pc:sldLayoutMk cId="960533830" sldId="2147483666"/>
          </pc:sldLayoutMkLst>
        </pc:sldLayoutChg>
        <pc:sldLayoutChg chg="new del replId">
          <pc:chgData name="Adrian Kisliuk" userId="81f189f0-3ed9-4f29-a7b1-770f7af93676" providerId="ADAL" clId="{E0DC2C09-EEDF-4B0C-ABE5-5BFC4FB651FA}" dt="2021-03-02T16:45:51.841" v="179" actId="6938"/>
          <pc:sldLayoutMkLst>
            <pc:docMk/>
            <pc:sldMasterMk cId="309726812" sldId="2147483663"/>
            <pc:sldLayoutMk cId="432193986" sldId="2147483667"/>
          </pc:sldLayoutMkLst>
        </pc:sldLayoutChg>
        <pc:sldLayoutChg chg="new del replId">
          <pc:chgData name="Adrian Kisliuk" userId="81f189f0-3ed9-4f29-a7b1-770f7af93676" providerId="ADAL" clId="{E0DC2C09-EEDF-4B0C-ABE5-5BFC4FB651FA}" dt="2021-03-02T16:45:51.841" v="179" actId="6938"/>
          <pc:sldLayoutMkLst>
            <pc:docMk/>
            <pc:sldMasterMk cId="309726812" sldId="2147483663"/>
            <pc:sldLayoutMk cId="1961441653" sldId="2147483668"/>
          </pc:sldLayoutMkLst>
        </pc:sldLayoutChg>
        <pc:sldLayoutChg chg="new del replId">
          <pc:chgData name="Adrian Kisliuk" userId="81f189f0-3ed9-4f29-a7b1-770f7af93676" providerId="ADAL" clId="{E0DC2C09-EEDF-4B0C-ABE5-5BFC4FB651FA}" dt="2021-03-02T16:45:51.841" v="179" actId="6938"/>
          <pc:sldLayoutMkLst>
            <pc:docMk/>
            <pc:sldMasterMk cId="309726812" sldId="2147483663"/>
            <pc:sldLayoutMk cId="51225497" sldId="2147483669"/>
          </pc:sldLayoutMkLst>
        </pc:sldLayoutChg>
        <pc:sldLayoutChg chg="new del replId">
          <pc:chgData name="Adrian Kisliuk" userId="81f189f0-3ed9-4f29-a7b1-770f7af93676" providerId="ADAL" clId="{E0DC2C09-EEDF-4B0C-ABE5-5BFC4FB651FA}" dt="2021-03-02T16:45:51.841" v="179" actId="6938"/>
          <pc:sldLayoutMkLst>
            <pc:docMk/>
            <pc:sldMasterMk cId="309726812" sldId="2147483663"/>
            <pc:sldLayoutMk cId="3067227364" sldId="2147483670"/>
          </pc:sldLayoutMkLst>
        </pc:sldLayoutChg>
        <pc:sldLayoutChg chg="new del replId">
          <pc:chgData name="Adrian Kisliuk" userId="81f189f0-3ed9-4f29-a7b1-770f7af93676" providerId="ADAL" clId="{E0DC2C09-EEDF-4B0C-ABE5-5BFC4FB651FA}" dt="2021-03-02T16:45:51.841" v="179" actId="6938"/>
          <pc:sldLayoutMkLst>
            <pc:docMk/>
            <pc:sldMasterMk cId="309726812" sldId="2147483663"/>
            <pc:sldLayoutMk cId="4002948743" sldId="2147483671"/>
          </pc:sldLayoutMkLst>
        </pc:sldLayoutChg>
        <pc:sldLayoutChg chg="new del replId">
          <pc:chgData name="Adrian Kisliuk" userId="81f189f0-3ed9-4f29-a7b1-770f7af93676" providerId="ADAL" clId="{E0DC2C09-EEDF-4B0C-ABE5-5BFC4FB651FA}" dt="2021-03-02T16:45:51.841" v="179" actId="6938"/>
          <pc:sldLayoutMkLst>
            <pc:docMk/>
            <pc:sldMasterMk cId="309726812" sldId="2147483663"/>
            <pc:sldLayoutMk cId="4041853154" sldId="2147483672"/>
          </pc:sldLayoutMkLst>
        </pc:sldLayoutChg>
        <pc:sldLayoutChg chg="new del replId">
          <pc:chgData name="Adrian Kisliuk" userId="81f189f0-3ed9-4f29-a7b1-770f7af93676" providerId="ADAL" clId="{E0DC2C09-EEDF-4B0C-ABE5-5BFC4FB651FA}" dt="2021-03-02T16:45:51.841" v="179" actId="6938"/>
          <pc:sldLayoutMkLst>
            <pc:docMk/>
            <pc:sldMasterMk cId="309726812" sldId="2147483663"/>
            <pc:sldLayoutMk cId="1474122514" sldId="2147483673"/>
          </pc:sldLayoutMkLst>
        </pc:sldLayoutChg>
        <pc:sldLayoutChg chg="new del replId">
          <pc:chgData name="Adrian Kisliuk" userId="81f189f0-3ed9-4f29-a7b1-770f7af93676" providerId="ADAL" clId="{E0DC2C09-EEDF-4B0C-ABE5-5BFC4FB651FA}" dt="2021-03-02T16:45:51.841" v="179" actId="6938"/>
          <pc:sldLayoutMkLst>
            <pc:docMk/>
            <pc:sldMasterMk cId="309726812" sldId="2147483663"/>
            <pc:sldLayoutMk cId="2041140326" sldId="2147483674"/>
          </pc:sldLayoutMkLst>
        </pc:sldLayoutChg>
      </pc:sldMasterChg>
    </pc:docChg>
  </pc:docChgLst>
  <pc:docChgLst>
    <pc:chgData name="Adrian Kisliuk" userId="81f189f0-3ed9-4f29-a7b1-770f7af93676" providerId="ADAL" clId="{3D08CBD4-1277-4D40-B4F5-04FB89DD7FB3}"/>
    <pc:docChg chg="delSld modSld sldOrd">
      <pc:chgData name="Adrian Kisliuk" userId="81f189f0-3ed9-4f29-a7b1-770f7af93676" providerId="ADAL" clId="{3D08CBD4-1277-4D40-B4F5-04FB89DD7FB3}" dt="2021-02-11T16:13:42.180" v="2"/>
      <pc:docMkLst>
        <pc:docMk/>
      </pc:docMkLst>
      <pc:sldChg chg="ord">
        <pc:chgData name="Adrian Kisliuk" userId="81f189f0-3ed9-4f29-a7b1-770f7af93676" providerId="ADAL" clId="{3D08CBD4-1277-4D40-B4F5-04FB89DD7FB3}" dt="2021-02-11T16:13:42.180" v="2"/>
        <pc:sldMkLst>
          <pc:docMk/>
          <pc:sldMk cId="1207129849" sldId="757"/>
        </pc:sldMkLst>
      </pc:sldChg>
      <pc:sldChg chg="del">
        <pc:chgData name="Adrian Kisliuk" userId="81f189f0-3ed9-4f29-a7b1-770f7af93676" providerId="ADAL" clId="{3D08CBD4-1277-4D40-B4F5-04FB89DD7FB3}" dt="2021-02-11T16:13:33.751" v="0" actId="47"/>
        <pc:sldMkLst>
          <pc:docMk/>
          <pc:sldMk cId="3998807522" sldId="812"/>
        </pc:sldMkLst>
      </pc:sldChg>
    </pc:docChg>
  </pc:docChgLst>
  <pc:docChgLst>
    <pc:chgData name="Kümmerle, Markus" userId="edb588ad-b118-44cb-93b6-335b967c9009" providerId="ADAL" clId="{5734322F-219C-4FEB-9250-AFA8FA47056E}"/>
    <pc:docChg chg="custSel delSld modSld">
      <pc:chgData name="Kümmerle, Markus" userId="edb588ad-b118-44cb-93b6-335b967c9009" providerId="ADAL" clId="{5734322F-219C-4FEB-9250-AFA8FA47056E}" dt="2021-03-25T10:17:32.452" v="467" actId="47"/>
      <pc:docMkLst>
        <pc:docMk/>
      </pc:docMkLst>
      <pc:sldChg chg="addSp delSp modSp mod">
        <pc:chgData name="Kümmerle, Markus" userId="edb588ad-b118-44cb-93b6-335b967c9009" providerId="ADAL" clId="{5734322F-219C-4FEB-9250-AFA8FA47056E}" dt="2021-03-25T08:39:57.175" v="32" actId="1076"/>
        <pc:sldMkLst>
          <pc:docMk/>
          <pc:sldMk cId="1161844579" sldId="821"/>
        </pc:sldMkLst>
        <pc:spChg chg="add del">
          <ac:chgData name="Kümmerle, Markus" userId="edb588ad-b118-44cb-93b6-335b967c9009" providerId="ADAL" clId="{5734322F-219C-4FEB-9250-AFA8FA47056E}" dt="2021-03-25T08:37:40.852" v="1" actId="478"/>
          <ac:spMkLst>
            <pc:docMk/>
            <pc:sldMk cId="1161844579" sldId="821"/>
            <ac:spMk id="3" creationId="{FE9C20F6-045F-4AFC-8D29-E2AA9CB4C9C7}"/>
          </ac:spMkLst>
        </pc:spChg>
        <pc:spChg chg="add del">
          <ac:chgData name="Kümmerle, Markus" userId="edb588ad-b118-44cb-93b6-335b967c9009" providerId="ADAL" clId="{5734322F-219C-4FEB-9250-AFA8FA47056E}" dt="2021-03-25T08:38:04.777" v="3" actId="478"/>
          <ac:spMkLst>
            <pc:docMk/>
            <pc:sldMk cId="1161844579" sldId="821"/>
            <ac:spMk id="5" creationId="{8AC1999D-00FC-49A0-8913-0BFBDFFCC248}"/>
          </ac:spMkLst>
        </pc:spChg>
        <pc:spChg chg="add mod">
          <ac:chgData name="Kümmerle, Markus" userId="edb588ad-b118-44cb-93b6-335b967c9009" providerId="ADAL" clId="{5734322F-219C-4FEB-9250-AFA8FA47056E}" dt="2021-03-25T08:39:57.175" v="32" actId="1076"/>
          <ac:spMkLst>
            <pc:docMk/>
            <pc:sldMk cId="1161844579" sldId="821"/>
            <ac:spMk id="7" creationId="{FAF33953-BB45-4B3C-8F18-8F8167379D1B}"/>
          </ac:spMkLst>
        </pc:spChg>
      </pc:sldChg>
      <pc:sldChg chg="modSp mod">
        <pc:chgData name="Kümmerle, Markus" userId="edb588ad-b118-44cb-93b6-335b967c9009" providerId="ADAL" clId="{5734322F-219C-4FEB-9250-AFA8FA47056E}" dt="2021-03-25T10:17:27.495" v="466" actId="20577"/>
        <pc:sldMkLst>
          <pc:docMk/>
          <pc:sldMk cId="1129299907" sldId="848"/>
        </pc:sldMkLst>
        <pc:spChg chg="mod">
          <ac:chgData name="Kümmerle, Markus" userId="edb588ad-b118-44cb-93b6-335b967c9009" providerId="ADAL" clId="{5734322F-219C-4FEB-9250-AFA8FA47056E}" dt="2021-03-25T10:17:27.495" v="466" actId="20577"/>
          <ac:spMkLst>
            <pc:docMk/>
            <pc:sldMk cId="1129299907" sldId="848"/>
            <ac:spMk id="26" creationId="{A8B42BE8-34B0-4E9E-B241-53EFE4839F18}"/>
          </ac:spMkLst>
        </pc:spChg>
      </pc:sldChg>
      <pc:sldChg chg="del">
        <pc:chgData name="Kümmerle, Markus" userId="edb588ad-b118-44cb-93b6-335b967c9009" providerId="ADAL" clId="{5734322F-219C-4FEB-9250-AFA8FA47056E}" dt="2021-03-25T10:17:32.452" v="467" actId="47"/>
        <pc:sldMkLst>
          <pc:docMk/>
          <pc:sldMk cId="1854473173" sldId="849"/>
        </pc:sldMkLst>
      </pc:sldChg>
    </pc:docChg>
  </pc:docChgLst>
  <pc:docChgLst>
    <pc:chgData name="Adrian Kisliuk" userId="81f189f0-3ed9-4f29-a7b1-770f7af93676" providerId="ADAL" clId="{BFBC3AF9-BFA5-49F1-B3E5-074FFE89A120}"/>
    <pc:docChg chg="undo custSel addSld delSld modSld sldOrd">
      <pc:chgData name="Adrian Kisliuk" userId="81f189f0-3ed9-4f29-a7b1-770f7af93676" providerId="ADAL" clId="{BFBC3AF9-BFA5-49F1-B3E5-074FFE89A120}" dt="2021-02-08T13:55:32.030" v="91" actId="47"/>
      <pc:docMkLst>
        <pc:docMk/>
      </pc:docMkLst>
      <pc:sldChg chg="del">
        <pc:chgData name="Adrian Kisliuk" userId="81f189f0-3ed9-4f29-a7b1-770f7af93676" providerId="ADAL" clId="{BFBC3AF9-BFA5-49F1-B3E5-074FFE89A120}" dt="2021-02-07T14:26:13.438" v="0" actId="47"/>
        <pc:sldMkLst>
          <pc:docMk/>
          <pc:sldMk cId="1000530360" sldId="306"/>
        </pc:sldMkLst>
      </pc:sldChg>
      <pc:sldChg chg="modSp mod">
        <pc:chgData name="Adrian Kisliuk" userId="81f189f0-3ed9-4f29-a7b1-770f7af93676" providerId="ADAL" clId="{BFBC3AF9-BFA5-49F1-B3E5-074FFE89A120}" dt="2021-02-07T14:28:22.768" v="15" actId="20577"/>
        <pc:sldMkLst>
          <pc:docMk/>
          <pc:sldMk cId="3888384040" sldId="474"/>
        </pc:sldMkLst>
        <pc:spChg chg="mod">
          <ac:chgData name="Adrian Kisliuk" userId="81f189f0-3ed9-4f29-a7b1-770f7af93676" providerId="ADAL" clId="{BFBC3AF9-BFA5-49F1-B3E5-074FFE89A120}" dt="2021-02-07T14:28:22.768" v="15" actId="20577"/>
          <ac:spMkLst>
            <pc:docMk/>
            <pc:sldMk cId="3888384040" sldId="474"/>
            <ac:spMk id="10" creationId="{00000000-0000-0000-0000-000000000000}"/>
          </ac:spMkLst>
        </pc:spChg>
      </pc:sldChg>
      <pc:sldChg chg="modSp mod">
        <pc:chgData name="Adrian Kisliuk" userId="81f189f0-3ed9-4f29-a7b1-770f7af93676" providerId="ADAL" clId="{BFBC3AF9-BFA5-49F1-B3E5-074FFE89A120}" dt="2021-02-07T14:26:32.512" v="6" actId="1076"/>
        <pc:sldMkLst>
          <pc:docMk/>
          <pc:sldMk cId="1562960636" sldId="772"/>
        </pc:sldMkLst>
        <pc:picChg chg="mod">
          <ac:chgData name="Adrian Kisliuk" userId="81f189f0-3ed9-4f29-a7b1-770f7af93676" providerId="ADAL" clId="{BFBC3AF9-BFA5-49F1-B3E5-074FFE89A120}" dt="2021-02-07T14:26:32.512" v="6" actId="1076"/>
          <ac:picMkLst>
            <pc:docMk/>
            <pc:sldMk cId="1562960636" sldId="772"/>
            <ac:picMk id="4" creationId="{422C2EF3-18ED-4C28-AF83-BE2DA3162F61}"/>
          </ac:picMkLst>
        </pc:picChg>
      </pc:sldChg>
      <pc:sldChg chg="add">
        <pc:chgData name="Adrian Kisliuk" userId="81f189f0-3ed9-4f29-a7b1-770f7af93676" providerId="ADAL" clId="{BFBC3AF9-BFA5-49F1-B3E5-074FFE89A120}" dt="2021-02-08T11:34:33.461" v="18"/>
        <pc:sldMkLst>
          <pc:docMk/>
          <pc:sldMk cId="2783263837" sldId="790"/>
        </pc:sldMkLst>
      </pc:sldChg>
      <pc:sldChg chg="add">
        <pc:chgData name="Adrian Kisliuk" userId="81f189f0-3ed9-4f29-a7b1-770f7af93676" providerId="ADAL" clId="{BFBC3AF9-BFA5-49F1-B3E5-074FFE89A120}" dt="2021-02-08T13:55:30.261" v="90"/>
        <pc:sldMkLst>
          <pc:docMk/>
          <pc:sldMk cId="633585633" sldId="792"/>
        </pc:sldMkLst>
      </pc:sldChg>
      <pc:sldChg chg="modSp mod">
        <pc:chgData name="Adrian Kisliuk" userId="81f189f0-3ed9-4f29-a7b1-770f7af93676" providerId="ADAL" clId="{BFBC3AF9-BFA5-49F1-B3E5-074FFE89A120}" dt="2021-02-08T13:43:15.323" v="89" actId="20577"/>
        <pc:sldMkLst>
          <pc:docMk/>
          <pc:sldMk cId="2407910274" sldId="794"/>
        </pc:sldMkLst>
        <pc:graphicFrameChg chg="modGraphic">
          <ac:chgData name="Adrian Kisliuk" userId="81f189f0-3ed9-4f29-a7b1-770f7af93676" providerId="ADAL" clId="{BFBC3AF9-BFA5-49F1-B3E5-074FFE89A120}" dt="2021-02-08T13:43:15.323" v="89" actId="20577"/>
          <ac:graphicFrameMkLst>
            <pc:docMk/>
            <pc:sldMk cId="2407910274" sldId="794"/>
            <ac:graphicFrameMk id="11" creationId="{FF10CA16-74F9-4260-93E9-F994C8B3E186}"/>
          </ac:graphicFrameMkLst>
        </pc:graphicFrameChg>
      </pc:sldChg>
      <pc:sldChg chg="del">
        <pc:chgData name="Adrian Kisliuk" userId="81f189f0-3ed9-4f29-a7b1-770f7af93676" providerId="ADAL" clId="{BFBC3AF9-BFA5-49F1-B3E5-074FFE89A120}" dt="2021-02-08T11:34:35.064" v="19" actId="47"/>
        <pc:sldMkLst>
          <pc:docMk/>
          <pc:sldMk cId="2409535806" sldId="795"/>
        </pc:sldMkLst>
      </pc:sldChg>
      <pc:sldChg chg="modSp mod">
        <pc:chgData name="Adrian Kisliuk" userId="81f189f0-3ed9-4f29-a7b1-770f7af93676" providerId="ADAL" clId="{BFBC3AF9-BFA5-49F1-B3E5-074FFE89A120}" dt="2021-02-07T14:27:19.755" v="7" actId="20577"/>
        <pc:sldMkLst>
          <pc:docMk/>
          <pc:sldMk cId="1488434264" sldId="796"/>
        </pc:sldMkLst>
        <pc:spChg chg="mod">
          <ac:chgData name="Adrian Kisliuk" userId="81f189f0-3ed9-4f29-a7b1-770f7af93676" providerId="ADAL" clId="{BFBC3AF9-BFA5-49F1-B3E5-074FFE89A120}" dt="2021-02-07T14:27:19.755" v="7" actId="20577"/>
          <ac:spMkLst>
            <pc:docMk/>
            <pc:sldMk cId="1488434264" sldId="796"/>
            <ac:spMk id="8" creationId="{571B7D26-A47B-4A15-8A9D-886D9F58CB38}"/>
          </ac:spMkLst>
        </pc:spChg>
      </pc:sldChg>
      <pc:sldChg chg="del">
        <pc:chgData name="Adrian Kisliuk" userId="81f189f0-3ed9-4f29-a7b1-770f7af93676" providerId="ADAL" clId="{BFBC3AF9-BFA5-49F1-B3E5-074FFE89A120}" dt="2021-02-08T13:55:32.030" v="91" actId="47"/>
        <pc:sldMkLst>
          <pc:docMk/>
          <pc:sldMk cId="2425059267" sldId="797"/>
        </pc:sldMkLst>
      </pc:sldChg>
      <pc:sldChg chg="ord">
        <pc:chgData name="Adrian Kisliuk" userId="81f189f0-3ed9-4f29-a7b1-770f7af93676" providerId="ADAL" clId="{BFBC3AF9-BFA5-49F1-B3E5-074FFE89A120}" dt="2021-02-08T11:00:41.545" v="17"/>
        <pc:sldMkLst>
          <pc:docMk/>
          <pc:sldMk cId="1177755287" sldId="801"/>
        </pc:sldMkLst>
      </pc:sldChg>
    </pc:docChg>
  </pc:docChgLst>
  <pc:docChgLst>
    <pc:chgData name="Wirzius, Noel" userId="389ab01b-6fbd-4e02-8f1a-1be1e09c95e8" providerId="ADAL" clId="{C5517766-0BED-4640-B73B-2121D603CB25}"/>
    <pc:docChg chg="undo custSel modSld sldOrd">
      <pc:chgData name="Wirzius, Noel" userId="389ab01b-6fbd-4e02-8f1a-1be1e09c95e8" providerId="ADAL" clId="{C5517766-0BED-4640-B73B-2121D603CB25}" dt="2021-04-30T08:14:43.224" v="1084" actId="20578"/>
      <pc:docMkLst>
        <pc:docMk/>
      </pc:docMkLst>
      <pc:sldChg chg="ord">
        <pc:chgData name="Wirzius, Noel" userId="389ab01b-6fbd-4e02-8f1a-1be1e09c95e8" providerId="ADAL" clId="{C5517766-0BED-4640-B73B-2121D603CB25}" dt="2021-04-30T08:14:43.224" v="1084" actId="20578"/>
        <pc:sldMkLst>
          <pc:docMk/>
          <pc:sldMk cId="3888384040" sldId="474"/>
        </pc:sldMkLst>
      </pc:sldChg>
      <pc:sldChg chg="modSp mod">
        <pc:chgData name="Wirzius, Noel" userId="389ab01b-6fbd-4e02-8f1a-1be1e09c95e8" providerId="ADAL" clId="{C5517766-0BED-4640-B73B-2121D603CB25}" dt="2021-04-20T09:51:41.767" v="1080" actId="20577"/>
        <pc:sldMkLst>
          <pc:docMk/>
          <pc:sldMk cId="3217164513" sldId="833"/>
        </pc:sldMkLst>
        <pc:spChg chg="mod">
          <ac:chgData name="Wirzius, Noel" userId="389ab01b-6fbd-4e02-8f1a-1be1e09c95e8" providerId="ADAL" clId="{C5517766-0BED-4640-B73B-2121D603CB25}" dt="2021-04-20T09:51:41.767" v="1080" actId="20577"/>
          <ac:spMkLst>
            <pc:docMk/>
            <pc:sldMk cId="3217164513" sldId="833"/>
            <ac:spMk id="68" creationId="{7674B0DD-BBB7-4A0E-8EE6-DC95C81BD1AF}"/>
          </ac:spMkLst>
        </pc:spChg>
      </pc:sldChg>
      <pc:sldChg chg="modCm">
        <pc:chgData name="Wirzius, Noel" userId="389ab01b-6fbd-4e02-8f1a-1be1e09c95e8" providerId="ADAL" clId="{C5517766-0BED-4640-B73B-2121D603CB25}" dt="2021-04-20T09:51:14.523" v="1079"/>
        <pc:sldMkLst>
          <pc:docMk/>
          <pc:sldMk cId="1758910654" sldId="872"/>
        </pc:sldMkLst>
      </pc:sldChg>
      <pc:sldChg chg="modSp mod">
        <pc:chgData name="Wirzius, Noel" userId="389ab01b-6fbd-4e02-8f1a-1be1e09c95e8" providerId="ADAL" clId="{C5517766-0BED-4640-B73B-2121D603CB25}" dt="2021-04-16T10:34:23.843" v="928" actId="20577"/>
        <pc:sldMkLst>
          <pc:docMk/>
          <pc:sldMk cId="3017263479" sldId="884"/>
        </pc:sldMkLst>
        <pc:spChg chg="mod">
          <ac:chgData name="Wirzius, Noel" userId="389ab01b-6fbd-4e02-8f1a-1be1e09c95e8" providerId="ADAL" clId="{C5517766-0BED-4640-B73B-2121D603CB25}" dt="2021-04-16T10:34:23.843" v="928" actId="20577"/>
          <ac:spMkLst>
            <pc:docMk/>
            <pc:sldMk cId="3017263479" sldId="884"/>
            <ac:spMk id="22" creationId="{96692CBC-CB2D-4D62-80F0-0010A89CD6A4}"/>
          </ac:spMkLst>
        </pc:spChg>
      </pc:sldChg>
      <pc:sldChg chg="addSp delSp modSp mod">
        <pc:chgData name="Wirzius, Noel" userId="389ab01b-6fbd-4e02-8f1a-1be1e09c95e8" providerId="ADAL" clId="{C5517766-0BED-4640-B73B-2121D603CB25}" dt="2021-04-16T10:39:33.787" v="1075" actId="20577"/>
        <pc:sldMkLst>
          <pc:docMk/>
          <pc:sldMk cId="3195984845" sldId="885"/>
        </pc:sldMkLst>
        <pc:spChg chg="del">
          <ac:chgData name="Wirzius, Noel" userId="389ab01b-6fbd-4e02-8f1a-1be1e09c95e8" providerId="ADAL" clId="{C5517766-0BED-4640-B73B-2121D603CB25}" dt="2021-04-16T10:21:16.940" v="1" actId="478"/>
          <ac:spMkLst>
            <pc:docMk/>
            <pc:sldMk cId="3195984845" sldId="885"/>
            <ac:spMk id="12" creationId="{13DDFB9B-B73F-4BDD-9450-596059F82F6F}"/>
          </ac:spMkLst>
        </pc:spChg>
        <pc:spChg chg="mod ord">
          <ac:chgData name="Wirzius, Noel" userId="389ab01b-6fbd-4e02-8f1a-1be1e09c95e8" providerId="ADAL" clId="{C5517766-0BED-4640-B73B-2121D603CB25}" dt="2021-04-16T10:22:37.457" v="21" actId="1076"/>
          <ac:spMkLst>
            <pc:docMk/>
            <pc:sldMk cId="3195984845" sldId="885"/>
            <ac:spMk id="19" creationId="{153306F1-2A0E-4D68-BA66-B8AF04BFEC63}"/>
          </ac:spMkLst>
        </pc:spChg>
        <pc:spChg chg="del">
          <ac:chgData name="Wirzius, Noel" userId="389ab01b-6fbd-4e02-8f1a-1be1e09c95e8" providerId="ADAL" clId="{C5517766-0BED-4640-B73B-2121D603CB25}" dt="2021-04-16T10:21:16.940" v="1" actId="478"/>
          <ac:spMkLst>
            <pc:docMk/>
            <pc:sldMk cId="3195984845" sldId="885"/>
            <ac:spMk id="23" creationId="{624170FD-30D4-4052-9186-927A77A3C792}"/>
          </ac:spMkLst>
        </pc:spChg>
        <pc:spChg chg="del">
          <ac:chgData name="Wirzius, Noel" userId="389ab01b-6fbd-4e02-8f1a-1be1e09c95e8" providerId="ADAL" clId="{C5517766-0BED-4640-B73B-2121D603CB25}" dt="2021-04-16T10:21:16.940" v="1" actId="478"/>
          <ac:spMkLst>
            <pc:docMk/>
            <pc:sldMk cId="3195984845" sldId="885"/>
            <ac:spMk id="24" creationId="{CC6C6EE1-EACB-4F1C-9536-D61F24ED4CC5}"/>
          </ac:spMkLst>
        </pc:spChg>
        <pc:spChg chg="del">
          <ac:chgData name="Wirzius, Noel" userId="389ab01b-6fbd-4e02-8f1a-1be1e09c95e8" providerId="ADAL" clId="{C5517766-0BED-4640-B73B-2121D603CB25}" dt="2021-04-16T10:21:16.940" v="1" actId="478"/>
          <ac:spMkLst>
            <pc:docMk/>
            <pc:sldMk cId="3195984845" sldId="885"/>
            <ac:spMk id="26" creationId="{548F08B3-6FD0-4D69-8E3A-FB7B859A81BE}"/>
          </ac:spMkLst>
        </pc:spChg>
        <pc:spChg chg="del">
          <ac:chgData name="Wirzius, Noel" userId="389ab01b-6fbd-4e02-8f1a-1be1e09c95e8" providerId="ADAL" clId="{C5517766-0BED-4640-B73B-2121D603CB25}" dt="2021-04-16T10:21:16.940" v="1" actId="478"/>
          <ac:spMkLst>
            <pc:docMk/>
            <pc:sldMk cId="3195984845" sldId="885"/>
            <ac:spMk id="27" creationId="{5ACC94EB-85FC-42C8-8F08-2B6132FC2B9A}"/>
          </ac:spMkLst>
        </pc:spChg>
        <pc:spChg chg="del">
          <ac:chgData name="Wirzius, Noel" userId="389ab01b-6fbd-4e02-8f1a-1be1e09c95e8" providerId="ADAL" clId="{C5517766-0BED-4640-B73B-2121D603CB25}" dt="2021-04-16T10:21:16.940" v="1" actId="478"/>
          <ac:spMkLst>
            <pc:docMk/>
            <pc:sldMk cId="3195984845" sldId="885"/>
            <ac:spMk id="36" creationId="{12D829DC-FB4B-431C-B657-DE96D45F67BB}"/>
          </ac:spMkLst>
        </pc:spChg>
        <pc:spChg chg="del">
          <ac:chgData name="Wirzius, Noel" userId="389ab01b-6fbd-4e02-8f1a-1be1e09c95e8" providerId="ADAL" clId="{C5517766-0BED-4640-B73B-2121D603CB25}" dt="2021-04-16T10:21:16.940" v="1" actId="478"/>
          <ac:spMkLst>
            <pc:docMk/>
            <pc:sldMk cId="3195984845" sldId="885"/>
            <ac:spMk id="37" creationId="{5DFEC39C-CE07-4ECC-94CF-97BC683ABE78}"/>
          </ac:spMkLst>
        </pc:spChg>
        <pc:spChg chg="del">
          <ac:chgData name="Wirzius, Noel" userId="389ab01b-6fbd-4e02-8f1a-1be1e09c95e8" providerId="ADAL" clId="{C5517766-0BED-4640-B73B-2121D603CB25}" dt="2021-04-16T10:21:16.940" v="1" actId="478"/>
          <ac:spMkLst>
            <pc:docMk/>
            <pc:sldMk cId="3195984845" sldId="885"/>
            <ac:spMk id="38" creationId="{1CB22556-81D2-46B6-9C81-19EF13EA88F4}"/>
          </ac:spMkLst>
        </pc:spChg>
        <pc:spChg chg="del">
          <ac:chgData name="Wirzius, Noel" userId="389ab01b-6fbd-4e02-8f1a-1be1e09c95e8" providerId="ADAL" clId="{C5517766-0BED-4640-B73B-2121D603CB25}" dt="2021-04-16T10:21:16.940" v="1" actId="478"/>
          <ac:spMkLst>
            <pc:docMk/>
            <pc:sldMk cId="3195984845" sldId="885"/>
            <ac:spMk id="43" creationId="{7C6D2C2C-1AD2-4B2F-99F0-0B64A10AD713}"/>
          </ac:spMkLst>
        </pc:spChg>
        <pc:spChg chg="mod">
          <ac:chgData name="Wirzius, Noel" userId="389ab01b-6fbd-4e02-8f1a-1be1e09c95e8" providerId="ADAL" clId="{C5517766-0BED-4640-B73B-2121D603CB25}" dt="2021-04-16T10:22:30.334" v="20" actId="1076"/>
          <ac:spMkLst>
            <pc:docMk/>
            <pc:sldMk cId="3195984845" sldId="885"/>
            <ac:spMk id="44" creationId="{5BE3AE2B-4A0E-4204-B25A-B404EC4FDDA8}"/>
          </ac:spMkLst>
        </pc:spChg>
        <pc:spChg chg="add mod">
          <ac:chgData name="Wirzius, Noel" userId="389ab01b-6fbd-4e02-8f1a-1be1e09c95e8" providerId="ADAL" clId="{C5517766-0BED-4640-B73B-2121D603CB25}" dt="2021-04-16T10:22:37.457" v="21" actId="1076"/>
          <ac:spMkLst>
            <pc:docMk/>
            <pc:sldMk cId="3195984845" sldId="885"/>
            <ac:spMk id="45" creationId="{B56DBE83-7ABF-458F-AE37-A16EF1EED18D}"/>
          </ac:spMkLst>
        </pc:spChg>
        <pc:spChg chg="mod">
          <ac:chgData name="Wirzius, Noel" userId="389ab01b-6fbd-4e02-8f1a-1be1e09c95e8" providerId="ADAL" clId="{C5517766-0BED-4640-B73B-2121D603CB25}" dt="2021-04-16T10:23:04.148" v="28" actId="1076"/>
          <ac:spMkLst>
            <pc:docMk/>
            <pc:sldMk cId="3195984845" sldId="885"/>
            <ac:spMk id="47" creationId="{37DFF5F4-D527-4405-AC09-3CCCB46550F7}"/>
          </ac:spMkLst>
        </pc:spChg>
        <pc:spChg chg="add del mod">
          <ac:chgData name="Wirzius, Noel" userId="389ab01b-6fbd-4e02-8f1a-1be1e09c95e8" providerId="ADAL" clId="{C5517766-0BED-4640-B73B-2121D603CB25}" dt="2021-04-16T10:23:18.168" v="30"/>
          <ac:spMkLst>
            <pc:docMk/>
            <pc:sldMk cId="3195984845" sldId="885"/>
            <ac:spMk id="50" creationId="{92053DA0-3DC9-43E7-8EFF-2FC4373F1937}"/>
          </ac:spMkLst>
        </pc:spChg>
        <pc:spChg chg="add del mod">
          <ac:chgData name="Wirzius, Noel" userId="389ab01b-6fbd-4e02-8f1a-1be1e09c95e8" providerId="ADAL" clId="{C5517766-0BED-4640-B73B-2121D603CB25}" dt="2021-04-16T10:23:18.168" v="30"/>
          <ac:spMkLst>
            <pc:docMk/>
            <pc:sldMk cId="3195984845" sldId="885"/>
            <ac:spMk id="51" creationId="{754AA8D3-4210-47E0-B905-5058655DEE64}"/>
          </ac:spMkLst>
        </pc:spChg>
        <pc:spChg chg="add del mod">
          <ac:chgData name="Wirzius, Noel" userId="389ab01b-6fbd-4e02-8f1a-1be1e09c95e8" providerId="ADAL" clId="{C5517766-0BED-4640-B73B-2121D603CB25}" dt="2021-04-16T10:23:18.168" v="30"/>
          <ac:spMkLst>
            <pc:docMk/>
            <pc:sldMk cId="3195984845" sldId="885"/>
            <ac:spMk id="52" creationId="{E62D3F2F-484E-4AA7-B31B-86D82795A753}"/>
          </ac:spMkLst>
        </pc:spChg>
        <pc:spChg chg="add del mod">
          <ac:chgData name="Wirzius, Noel" userId="389ab01b-6fbd-4e02-8f1a-1be1e09c95e8" providerId="ADAL" clId="{C5517766-0BED-4640-B73B-2121D603CB25}" dt="2021-04-16T10:23:18.168" v="30"/>
          <ac:spMkLst>
            <pc:docMk/>
            <pc:sldMk cId="3195984845" sldId="885"/>
            <ac:spMk id="54" creationId="{A774772E-A67F-43A4-9A65-0C872A66BD1D}"/>
          </ac:spMkLst>
        </pc:spChg>
        <pc:spChg chg="add del mod">
          <ac:chgData name="Wirzius, Noel" userId="389ab01b-6fbd-4e02-8f1a-1be1e09c95e8" providerId="ADAL" clId="{C5517766-0BED-4640-B73B-2121D603CB25}" dt="2021-04-16T10:23:18.168" v="30"/>
          <ac:spMkLst>
            <pc:docMk/>
            <pc:sldMk cId="3195984845" sldId="885"/>
            <ac:spMk id="55" creationId="{8CD5B0CD-71C0-4CAF-A42D-D715F2A29C23}"/>
          </ac:spMkLst>
        </pc:spChg>
        <pc:spChg chg="add del mod">
          <ac:chgData name="Wirzius, Noel" userId="389ab01b-6fbd-4e02-8f1a-1be1e09c95e8" providerId="ADAL" clId="{C5517766-0BED-4640-B73B-2121D603CB25}" dt="2021-04-16T10:23:18.168" v="30"/>
          <ac:spMkLst>
            <pc:docMk/>
            <pc:sldMk cId="3195984845" sldId="885"/>
            <ac:spMk id="57" creationId="{4BB38CF0-F670-4D25-A23C-0E5AF36BC254}"/>
          </ac:spMkLst>
        </pc:spChg>
        <pc:spChg chg="add mod">
          <ac:chgData name="Wirzius, Noel" userId="389ab01b-6fbd-4e02-8f1a-1be1e09c95e8" providerId="ADAL" clId="{C5517766-0BED-4640-B73B-2121D603CB25}" dt="2021-04-16T10:23:26.383" v="33" actId="14100"/>
          <ac:spMkLst>
            <pc:docMk/>
            <pc:sldMk cId="3195984845" sldId="885"/>
            <ac:spMk id="62" creationId="{F18AB5D4-6684-476B-9E01-D52F3C475B9D}"/>
          </ac:spMkLst>
        </pc:spChg>
        <pc:spChg chg="add mod">
          <ac:chgData name="Wirzius, Noel" userId="389ab01b-6fbd-4e02-8f1a-1be1e09c95e8" providerId="ADAL" clId="{C5517766-0BED-4640-B73B-2121D603CB25}" dt="2021-04-16T10:23:26.383" v="33" actId="14100"/>
          <ac:spMkLst>
            <pc:docMk/>
            <pc:sldMk cId="3195984845" sldId="885"/>
            <ac:spMk id="63" creationId="{156E2940-6C2C-441A-A0D1-AEFC1F642EB9}"/>
          </ac:spMkLst>
        </pc:spChg>
        <pc:spChg chg="add mod">
          <ac:chgData name="Wirzius, Noel" userId="389ab01b-6fbd-4e02-8f1a-1be1e09c95e8" providerId="ADAL" clId="{C5517766-0BED-4640-B73B-2121D603CB25}" dt="2021-04-16T10:23:26.383" v="33" actId="14100"/>
          <ac:spMkLst>
            <pc:docMk/>
            <pc:sldMk cId="3195984845" sldId="885"/>
            <ac:spMk id="64" creationId="{57B5D130-FC55-4C74-87D8-90821A179825}"/>
          </ac:spMkLst>
        </pc:spChg>
        <pc:spChg chg="add mod">
          <ac:chgData name="Wirzius, Noel" userId="389ab01b-6fbd-4e02-8f1a-1be1e09c95e8" providerId="ADAL" clId="{C5517766-0BED-4640-B73B-2121D603CB25}" dt="2021-04-16T10:23:26.383" v="33" actId="14100"/>
          <ac:spMkLst>
            <pc:docMk/>
            <pc:sldMk cId="3195984845" sldId="885"/>
            <ac:spMk id="65" creationId="{7602D122-9C28-4E79-B955-831037F7C36D}"/>
          </ac:spMkLst>
        </pc:spChg>
        <pc:spChg chg="add mod">
          <ac:chgData name="Wirzius, Noel" userId="389ab01b-6fbd-4e02-8f1a-1be1e09c95e8" providerId="ADAL" clId="{C5517766-0BED-4640-B73B-2121D603CB25}" dt="2021-04-16T10:23:26.383" v="33" actId="14100"/>
          <ac:spMkLst>
            <pc:docMk/>
            <pc:sldMk cId="3195984845" sldId="885"/>
            <ac:spMk id="66" creationId="{DDF02AEA-B6ED-4260-8A2A-3A103611319E}"/>
          </ac:spMkLst>
        </pc:spChg>
        <pc:spChg chg="del">
          <ac:chgData name="Wirzius, Noel" userId="389ab01b-6fbd-4e02-8f1a-1be1e09c95e8" providerId="ADAL" clId="{C5517766-0BED-4640-B73B-2121D603CB25}" dt="2021-04-16T10:22:11.820" v="16" actId="478"/>
          <ac:spMkLst>
            <pc:docMk/>
            <pc:sldMk cId="3195984845" sldId="885"/>
            <ac:spMk id="67" creationId="{6E0184C5-B967-4FCF-B023-8892F4ABBFB5}"/>
          </ac:spMkLst>
        </pc:spChg>
        <pc:spChg chg="add mod">
          <ac:chgData name="Wirzius, Noel" userId="389ab01b-6fbd-4e02-8f1a-1be1e09c95e8" providerId="ADAL" clId="{C5517766-0BED-4640-B73B-2121D603CB25}" dt="2021-04-16T10:23:26.383" v="33" actId="14100"/>
          <ac:spMkLst>
            <pc:docMk/>
            <pc:sldMk cId="3195984845" sldId="885"/>
            <ac:spMk id="68" creationId="{B2A5A05B-7AD7-4E6A-98D1-FE7D987B4310}"/>
          </ac:spMkLst>
        </pc:spChg>
        <pc:spChg chg="del">
          <ac:chgData name="Wirzius, Noel" userId="389ab01b-6fbd-4e02-8f1a-1be1e09c95e8" providerId="ADAL" clId="{C5517766-0BED-4640-B73B-2121D603CB25}" dt="2021-04-16T10:21:19.842" v="2" actId="478"/>
          <ac:spMkLst>
            <pc:docMk/>
            <pc:sldMk cId="3195984845" sldId="885"/>
            <ac:spMk id="69" creationId="{EF23AA6E-069F-4349-A89F-7238D05307BE}"/>
          </ac:spMkLst>
        </pc:spChg>
        <pc:spChg chg="del">
          <ac:chgData name="Wirzius, Noel" userId="389ab01b-6fbd-4e02-8f1a-1be1e09c95e8" providerId="ADAL" clId="{C5517766-0BED-4640-B73B-2121D603CB25}" dt="2021-04-16T10:21:16.940" v="1" actId="478"/>
          <ac:spMkLst>
            <pc:docMk/>
            <pc:sldMk cId="3195984845" sldId="885"/>
            <ac:spMk id="70" creationId="{EE66E68C-AC94-4FD2-96ED-8D8997ABB572}"/>
          </ac:spMkLst>
        </pc:spChg>
        <pc:spChg chg="del">
          <ac:chgData name="Wirzius, Noel" userId="389ab01b-6fbd-4e02-8f1a-1be1e09c95e8" providerId="ADAL" clId="{C5517766-0BED-4640-B73B-2121D603CB25}" dt="2021-04-16T10:21:19.842" v="2" actId="478"/>
          <ac:spMkLst>
            <pc:docMk/>
            <pc:sldMk cId="3195984845" sldId="885"/>
            <ac:spMk id="71" creationId="{61B29BA6-3764-49FF-9F42-FB0CDC7E8FFB}"/>
          </ac:spMkLst>
        </pc:spChg>
        <pc:spChg chg="del">
          <ac:chgData name="Wirzius, Noel" userId="389ab01b-6fbd-4e02-8f1a-1be1e09c95e8" providerId="ADAL" clId="{C5517766-0BED-4640-B73B-2121D603CB25}" dt="2021-04-16T10:22:11.820" v="16" actId="478"/>
          <ac:spMkLst>
            <pc:docMk/>
            <pc:sldMk cId="3195984845" sldId="885"/>
            <ac:spMk id="72" creationId="{36059C90-DBC1-45FB-9E74-3747AAEBEE5F}"/>
          </ac:spMkLst>
        </pc:spChg>
        <pc:spChg chg="add mod">
          <ac:chgData name="Wirzius, Noel" userId="389ab01b-6fbd-4e02-8f1a-1be1e09c95e8" providerId="ADAL" clId="{C5517766-0BED-4640-B73B-2121D603CB25}" dt="2021-04-16T10:23:53.954" v="37" actId="1076"/>
          <ac:spMkLst>
            <pc:docMk/>
            <pc:sldMk cId="3195984845" sldId="885"/>
            <ac:spMk id="78" creationId="{EFEAE6C7-D080-4E3D-B0AE-2FF273F24A55}"/>
          </ac:spMkLst>
        </pc:spChg>
        <pc:spChg chg="add mod">
          <ac:chgData name="Wirzius, Noel" userId="389ab01b-6fbd-4e02-8f1a-1be1e09c95e8" providerId="ADAL" clId="{C5517766-0BED-4640-B73B-2121D603CB25}" dt="2021-04-16T10:24:37.983" v="45" actId="1076"/>
          <ac:spMkLst>
            <pc:docMk/>
            <pc:sldMk cId="3195984845" sldId="885"/>
            <ac:spMk id="79" creationId="{6D2871DB-9866-401C-A93C-3E81744868D8}"/>
          </ac:spMkLst>
        </pc:spChg>
        <pc:spChg chg="add mod">
          <ac:chgData name="Wirzius, Noel" userId="389ab01b-6fbd-4e02-8f1a-1be1e09c95e8" providerId="ADAL" clId="{C5517766-0BED-4640-B73B-2121D603CB25}" dt="2021-04-16T10:24:41.297" v="46" actId="1076"/>
          <ac:spMkLst>
            <pc:docMk/>
            <pc:sldMk cId="3195984845" sldId="885"/>
            <ac:spMk id="80" creationId="{D62AAF46-5EF5-478D-A773-32134FFE6F46}"/>
          </ac:spMkLst>
        </pc:spChg>
        <pc:spChg chg="del">
          <ac:chgData name="Wirzius, Noel" userId="389ab01b-6fbd-4e02-8f1a-1be1e09c95e8" providerId="ADAL" clId="{C5517766-0BED-4640-B73B-2121D603CB25}" dt="2021-04-16T10:21:16.940" v="1" actId="478"/>
          <ac:spMkLst>
            <pc:docMk/>
            <pc:sldMk cId="3195984845" sldId="885"/>
            <ac:spMk id="81" creationId="{552775DB-5997-454C-9151-C8164EC41734}"/>
          </ac:spMkLst>
        </pc:spChg>
        <pc:spChg chg="del">
          <ac:chgData name="Wirzius, Noel" userId="389ab01b-6fbd-4e02-8f1a-1be1e09c95e8" providerId="ADAL" clId="{C5517766-0BED-4640-B73B-2121D603CB25}" dt="2021-04-16T10:21:16.940" v="1" actId="478"/>
          <ac:spMkLst>
            <pc:docMk/>
            <pc:sldMk cId="3195984845" sldId="885"/>
            <ac:spMk id="82" creationId="{BFFE17F6-4064-4957-86F3-32341E45A770}"/>
          </ac:spMkLst>
        </pc:spChg>
        <pc:spChg chg="del">
          <ac:chgData name="Wirzius, Noel" userId="389ab01b-6fbd-4e02-8f1a-1be1e09c95e8" providerId="ADAL" clId="{C5517766-0BED-4640-B73B-2121D603CB25}" dt="2021-04-16T10:21:16.940" v="1" actId="478"/>
          <ac:spMkLst>
            <pc:docMk/>
            <pc:sldMk cId="3195984845" sldId="885"/>
            <ac:spMk id="83" creationId="{A7F4A503-1623-463F-B66A-90F98586D750}"/>
          </ac:spMkLst>
        </pc:spChg>
        <pc:spChg chg="add mod">
          <ac:chgData name="Wirzius, Noel" userId="389ab01b-6fbd-4e02-8f1a-1be1e09c95e8" providerId="ADAL" clId="{C5517766-0BED-4640-B73B-2121D603CB25}" dt="2021-04-16T10:23:46.697" v="35" actId="1076"/>
          <ac:spMkLst>
            <pc:docMk/>
            <pc:sldMk cId="3195984845" sldId="885"/>
            <ac:spMk id="84" creationId="{820BF3EB-52AC-44BA-BCD7-DC74E953293F}"/>
          </ac:spMkLst>
        </pc:spChg>
        <pc:spChg chg="add mod">
          <ac:chgData name="Wirzius, Noel" userId="389ab01b-6fbd-4e02-8f1a-1be1e09c95e8" providerId="ADAL" clId="{C5517766-0BED-4640-B73B-2121D603CB25}" dt="2021-04-16T10:24:05.218" v="40" actId="1076"/>
          <ac:spMkLst>
            <pc:docMk/>
            <pc:sldMk cId="3195984845" sldId="885"/>
            <ac:spMk id="85" creationId="{03CC42B1-AE7E-4FE1-B0F3-05F1DD488C48}"/>
          </ac:spMkLst>
        </pc:spChg>
        <pc:spChg chg="add mod">
          <ac:chgData name="Wirzius, Noel" userId="389ab01b-6fbd-4e02-8f1a-1be1e09c95e8" providerId="ADAL" clId="{C5517766-0BED-4640-B73B-2121D603CB25}" dt="2021-04-16T10:24:33.438" v="44" actId="1076"/>
          <ac:spMkLst>
            <pc:docMk/>
            <pc:sldMk cId="3195984845" sldId="885"/>
            <ac:spMk id="86" creationId="{534A0847-4210-41A6-91D9-69534E471020}"/>
          </ac:spMkLst>
        </pc:spChg>
        <pc:spChg chg="add mod">
          <ac:chgData name="Wirzius, Noel" userId="389ab01b-6fbd-4e02-8f1a-1be1e09c95e8" providerId="ADAL" clId="{C5517766-0BED-4640-B73B-2121D603CB25}" dt="2021-04-16T10:26:44.152" v="76" actId="1076"/>
          <ac:spMkLst>
            <pc:docMk/>
            <pc:sldMk cId="3195984845" sldId="885"/>
            <ac:spMk id="101" creationId="{EE6AC1A2-B80F-47EA-935A-F7DEDD1A4F12}"/>
          </ac:spMkLst>
        </pc:spChg>
        <pc:spChg chg="add mod">
          <ac:chgData name="Wirzius, Noel" userId="389ab01b-6fbd-4e02-8f1a-1be1e09c95e8" providerId="ADAL" clId="{C5517766-0BED-4640-B73B-2121D603CB25}" dt="2021-04-16T10:26:44.152" v="76" actId="1076"/>
          <ac:spMkLst>
            <pc:docMk/>
            <pc:sldMk cId="3195984845" sldId="885"/>
            <ac:spMk id="104" creationId="{AF5820CE-AD0B-4BF7-A703-422E6ACED06D}"/>
          </ac:spMkLst>
        </pc:spChg>
        <pc:spChg chg="add mod">
          <ac:chgData name="Wirzius, Noel" userId="389ab01b-6fbd-4e02-8f1a-1be1e09c95e8" providerId="ADAL" clId="{C5517766-0BED-4640-B73B-2121D603CB25}" dt="2021-04-16T10:26:44.152" v="76" actId="1076"/>
          <ac:spMkLst>
            <pc:docMk/>
            <pc:sldMk cId="3195984845" sldId="885"/>
            <ac:spMk id="105" creationId="{CBA00073-9497-48E6-BB0D-55BEBABCF4F6}"/>
          </ac:spMkLst>
        </pc:spChg>
        <pc:spChg chg="add mod">
          <ac:chgData name="Wirzius, Noel" userId="389ab01b-6fbd-4e02-8f1a-1be1e09c95e8" providerId="ADAL" clId="{C5517766-0BED-4640-B73B-2121D603CB25}" dt="2021-04-16T10:39:33.787" v="1075" actId="20577"/>
          <ac:spMkLst>
            <pc:docMk/>
            <pc:sldMk cId="3195984845" sldId="885"/>
            <ac:spMk id="106" creationId="{DFECCB21-F97F-4D65-AE80-E5A36BB44075}"/>
          </ac:spMkLst>
        </pc:spChg>
        <pc:picChg chg="del">
          <ac:chgData name="Wirzius, Noel" userId="389ab01b-6fbd-4e02-8f1a-1be1e09c95e8" providerId="ADAL" clId="{C5517766-0BED-4640-B73B-2121D603CB25}" dt="2021-04-16T10:21:16.940" v="1" actId="478"/>
          <ac:picMkLst>
            <pc:docMk/>
            <pc:sldMk cId="3195984845" sldId="885"/>
            <ac:picMk id="16" creationId="{F29F1F7C-0D26-41DF-AC6A-9886F949FEC9}"/>
          </ac:picMkLst>
        </pc:picChg>
        <pc:picChg chg="mod">
          <ac:chgData name="Wirzius, Noel" userId="389ab01b-6fbd-4e02-8f1a-1be1e09c95e8" providerId="ADAL" clId="{C5517766-0BED-4640-B73B-2121D603CB25}" dt="2021-04-16T10:22:51.118" v="23" actId="1076"/>
          <ac:picMkLst>
            <pc:docMk/>
            <pc:sldMk cId="3195984845" sldId="885"/>
            <ac:picMk id="33" creationId="{FDFCE72B-4FE7-427A-8A4C-F087F18E34A5}"/>
          </ac:picMkLst>
        </pc:picChg>
        <pc:picChg chg="add mod">
          <ac:chgData name="Wirzius, Noel" userId="389ab01b-6fbd-4e02-8f1a-1be1e09c95e8" providerId="ADAL" clId="{C5517766-0BED-4640-B73B-2121D603CB25}" dt="2021-04-16T10:26:44.152" v="76" actId="1076"/>
          <ac:picMkLst>
            <pc:docMk/>
            <pc:sldMk cId="3195984845" sldId="885"/>
            <ac:picMk id="100" creationId="{508DCD31-2611-4665-9E3D-3EC2CE6FD3BA}"/>
          </ac:picMkLst>
        </pc:picChg>
        <pc:picChg chg="mod">
          <ac:chgData name="Wirzius, Noel" userId="389ab01b-6fbd-4e02-8f1a-1be1e09c95e8" providerId="ADAL" clId="{C5517766-0BED-4640-B73B-2121D603CB25}" dt="2021-04-16T10:22:49.230" v="22" actId="1076"/>
          <ac:picMkLst>
            <pc:docMk/>
            <pc:sldMk cId="3195984845" sldId="885"/>
            <ac:picMk id="1026" creationId="{92BEDCD2-D9FA-492D-9738-4357A3D8F149}"/>
          </ac:picMkLst>
        </pc:picChg>
        <pc:cxnChg chg="del">
          <ac:chgData name="Wirzius, Noel" userId="389ab01b-6fbd-4e02-8f1a-1be1e09c95e8" providerId="ADAL" clId="{C5517766-0BED-4640-B73B-2121D603CB25}" dt="2021-04-16T10:21:16.940" v="1" actId="478"/>
          <ac:cxnSpMkLst>
            <pc:docMk/>
            <pc:sldMk cId="3195984845" sldId="885"/>
            <ac:cxnSpMk id="5" creationId="{A4C623EE-5F8C-43C6-BD7F-4F7F0804E80E}"/>
          </ac:cxnSpMkLst>
        </pc:cxnChg>
        <pc:cxnChg chg="del">
          <ac:chgData name="Wirzius, Noel" userId="389ab01b-6fbd-4e02-8f1a-1be1e09c95e8" providerId="ADAL" clId="{C5517766-0BED-4640-B73B-2121D603CB25}" dt="2021-04-16T10:21:16.940" v="1" actId="478"/>
          <ac:cxnSpMkLst>
            <pc:docMk/>
            <pc:sldMk cId="3195984845" sldId="885"/>
            <ac:cxnSpMk id="21" creationId="{9362684C-436C-45A6-9F89-A22C41EF495B}"/>
          </ac:cxnSpMkLst>
        </pc:cxnChg>
        <pc:cxnChg chg="add mod">
          <ac:chgData name="Wirzius, Noel" userId="389ab01b-6fbd-4e02-8f1a-1be1e09c95e8" providerId="ADAL" clId="{C5517766-0BED-4640-B73B-2121D603CB25}" dt="2021-04-16T10:26:03.625" v="68" actId="1076"/>
          <ac:cxnSpMkLst>
            <pc:docMk/>
            <pc:sldMk cId="3195984845" sldId="885"/>
            <ac:cxnSpMk id="28" creationId="{D58FBF2D-9638-4C4C-9995-1A16B6764B8D}"/>
          </ac:cxnSpMkLst>
        </pc:cxnChg>
        <pc:cxnChg chg="del">
          <ac:chgData name="Wirzius, Noel" userId="389ab01b-6fbd-4e02-8f1a-1be1e09c95e8" providerId="ADAL" clId="{C5517766-0BED-4640-B73B-2121D603CB25}" dt="2021-04-16T10:21:16.940" v="1" actId="478"/>
          <ac:cxnSpMkLst>
            <pc:docMk/>
            <pc:sldMk cId="3195984845" sldId="885"/>
            <ac:cxnSpMk id="29" creationId="{AD8299C5-A83B-4DE8-827B-CBDF6ED21028}"/>
          </ac:cxnSpMkLst>
        </pc:cxnChg>
        <pc:cxnChg chg="del mod">
          <ac:chgData name="Wirzius, Noel" userId="389ab01b-6fbd-4e02-8f1a-1be1e09c95e8" providerId="ADAL" clId="{C5517766-0BED-4640-B73B-2121D603CB25}" dt="2021-04-16T10:21:16.940" v="1" actId="478"/>
          <ac:cxnSpMkLst>
            <pc:docMk/>
            <pc:sldMk cId="3195984845" sldId="885"/>
            <ac:cxnSpMk id="42" creationId="{676C73C1-54DC-4F4E-9EFE-41B1016206C2}"/>
          </ac:cxnSpMkLst>
        </pc:cxnChg>
        <pc:cxnChg chg="add mod">
          <ac:chgData name="Wirzius, Noel" userId="389ab01b-6fbd-4e02-8f1a-1be1e09c95e8" providerId="ADAL" clId="{C5517766-0BED-4640-B73B-2121D603CB25}" dt="2021-04-16T10:22:56.520" v="25" actId="1076"/>
          <ac:cxnSpMkLst>
            <pc:docMk/>
            <pc:sldMk cId="3195984845" sldId="885"/>
            <ac:cxnSpMk id="46" creationId="{9CF4C57B-F2C2-4AD4-9E6C-5A566055A0AC}"/>
          </ac:cxnSpMkLst>
        </pc:cxnChg>
        <pc:cxnChg chg="mod ord">
          <ac:chgData name="Wirzius, Noel" userId="389ab01b-6fbd-4e02-8f1a-1be1e09c95e8" providerId="ADAL" clId="{C5517766-0BED-4640-B73B-2121D603CB25}" dt="2021-04-16T10:22:21.009" v="18" actId="1076"/>
          <ac:cxnSpMkLst>
            <pc:docMk/>
            <pc:sldMk cId="3195984845" sldId="885"/>
            <ac:cxnSpMk id="48" creationId="{1050C63E-5585-4A11-B1EC-F7EDA319A04E}"/>
          </ac:cxnSpMkLst>
        </pc:cxnChg>
        <pc:cxnChg chg="add mod">
          <ac:chgData name="Wirzius, Noel" userId="389ab01b-6fbd-4e02-8f1a-1be1e09c95e8" providerId="ADAL" clId="{C5517766-0BED-4640-B73B-2121D603CB25}" dt="2021-04-16T10:23:00.348" v="27" actId="1076"/>
          <ac:cxnSpMkLst>
            <pc:docMk/>
            <pc:sldMk cId="3195984845" sldId="885"/>
            <ac:cxnSpMk id="49" creationId="{122C71A5-4FC6-4AFC-A80C-49393EFA0349}"/>
          </ac:cxnSpMkLst>
        </pc:cxnChg>
        <pc:cxnChg chg="del mod">
          <ac:chgData name="Wirzius, Noel" userId="389ab01b-6fbd-4e02-8f1a-1be1e09c95e8" providerId="ADAL" clId="{C5517766-0BED-4640-B73B-2121D603CB25}" dt="2021-04-16T10:21:25.249" v="3" actId="478"/>
          <ac:cxnSpMkLst>
            <pc:docMk/>
            <pc:sldMk cId="3195984845" sldId="885"/>
            <ac:cxnSpMk id="53" creationId="{AD39E464-4ACC-414D-B567-513C379969E3}"/>
          </ac:cxnSpMkLst>
        </pc:cxnChg>
        <pc:cxnChg chg="del mod">
          <ac:chgData name="Wirzius, Noel" userId="389ab01b-6fbd-4e02-8f1a-1be1e09c95e8" providerId="ADAL" clId="{C5517766-0BED-4640-B73B-2121D603CB25}" dt="2021-04-16T10:21:27.039" v="4" actId="478"/>
          <ac:cxnSpMkLst>
            <pc:docMk/>
            <pc:sldMk cId="3195984845" sldId="885"/>
            <ac:cxnSpMk id="56" creationId="{08E8E5E4-67B7-4DAF-A6CC-D2743D94A973}"/>
          </ac:cxnSpMkLst>
        </pc:cxnChg>
        <pc:cxnChg chg="add del mod">
          <ac:chgData name="Wirzius, Noel" userId="389ab01b-6fbd-4e02-8f1a-1be1e09c95e8" providerId="ADAL" clId="{C5517766-0BED-4640-B73B-2121D603CB25}" dt="2021-04-16T10:23:18.168" v="30"/>
          <ac:cxnSpMkLst>
            <pc:docMk/>
            <pc:sldMk cId="3195984845" sldId="885"/>
            <ac:cxnSpMk id="58" creationId="{13CF13D8-DE90-410D-A2D4-96B43D368F41}"/>
          </ac:cxnSpMkLst>
        </pc:cxnChg>
        <pc:cxnChg chg="add del mod">
          <ac:chgData name="Wirzius, Noel" userId="389ab01b-6fbd-4e02-8f1a-1be1e09c95e8" providerId="ADAL" clId="{C5517766-0BED-4640-B73B-2121D603CB25}" dt="2021-04-16T10:23:18.168" v="30"/>
          <ac:cxnSpMkLst>
            <pc:docMk/>
            <pc:sldMk cId="3195984845" sldId="885"/>
            <ac:cxnSpMk id="59" creationId="{C30648B4-B2C8-4AB7-8DB7-4744DB25C133}"/>
          </ac:cxnSpMkLst>
        </pc:cxnChg>
        <pc:cxnChg chg="add del mod">
          <ac:chgData name="Wirzius, Noel" userId="389ab01b-6fbd-4e02-8f1a-1be1e09c95e8" providerId="ADAL" clId="{C5517766-0BED-4640-B73B-2121D603CB25}" dt="2021-04-16T10:23:18.168" v="30"/>
          <ac:cxnSpMkLst>
            <pc:docMk/>
            <pc:sldMk cId="3195984845" sldId="885"/>
            <ac:cxnSpMk id="60" creationId="{5F87D5B5-C6A3-4676-84C0-DABBD60F3088}"/>
          </ac:cxnSpMkLst>
        </pc:cxnChg>
        <pc:cxnChg chg="add del mod">
          <ac:chgData name="Wirzius, Noel" userId="389ab01b-6fbd-4e02-8f1a-1be1e09c95e8" providerId="ADAL" clId="{C5517766-0BED-4640-B73B-2121D603CB25}" dt="2021-04-16T10:23:18.168" v="30"/>
          <ac:cxnSpMkLst>
            <pc:docMk/>
            <pc:sldMk cId="3195984845" sldId="885"/>
            <ac:cxnSpMk id="61" creationId="{69C4C071-81D0-4362-9344-22DD7A0E7A1F}"/>
          </ac:cxnSpMkLst>
        </pc:cxnChg>
        <pc:cxnChg chg="add mod">
          <ac:chgData name="Wirzius, Noel" userId="389ab01b-6fbd-4e02-8f1a-1be1e09c95e8" providerId="ADAL" clId="{C5517766-0BED-4640-B73B-2121D603CB25}" dt="2021-04-16T10:23:23.467" v="32" actId="1076"/>
          <ac:cxnSpMkLst>
            <pc:docMk/>
            <pc:sldMk cId="3195984845" sldId="885"/>
            <ac:cxnSpMk id="73" creationId="{2F15BCFC-3FEE-4805-BA9A-B4BAB1ACA66D}"/>
          </ac:cxnSpMkLst>
        </pc:cxnChg>
        <pc:cxnChg chg="add mod">
          <ac:chgData name="Wirzius, Noel" userId="389ab01b-6fbd-4e02-8f1a-1be1e09c95e8" providerId="ADAL" clId="{C5517766-0BED-4640-B73B-2121D603CB25}" dt="2021-04-16T10:25:36.841" v="63" actId="14100"/>
          <ac:cxnSpMkLst>
            <pc:docMk/>
            <pc:sldMk cId="3195984845" sldId="885"/>
            <ac:cxnSpMk id="74" creationId="{A64193B5-2912-492F-A088-5824B259B522}"/>
          </ac:cxnSpMkLst>
        </pc:cxnChg>
        <pc:cxnChg chg="del mod">
          <ac:chgData name="Wirzius, Noel" userId="389ab01b-6fbd-4e02-8f1a-1be1e09c95e8" providerId="ADAL" clId="{C5517766-0BED-4640-B73B-2121D603CB25}" dt="2021-04-16T10:22:14.223" v="17" actId="478"/>
          <ac:cxnSpMkLst>
            <pc:docMk/>
            <pc:sldMk cId="3195984845" sldId="885"/>
            <ac:cxnSpMk id="75" creationId="{6E239FD2-9337-48F7-865C-32CBD5FCDFFF}"/>
          </ac:cxnSpMkLst>
        </pc:cxnChg>
        <pc:cxnChg chg="add mod">
          <ac:chgData name="Wirzius, Noel" userId="389ab01b-6fbd-4e02-8f1a-1be1e09c95e8" providerId="ADAL" clId="{C5517766-0BED-4640-B73B-2121D603CB25}" dt="2021-04-16T10:23:23.467" v="32" actId="1076"/>
          <ac:cxnSpMkLst>
            <pc:docMk/>
            <pc:sldMk cId="3195984845" sldId="885"/>
            <ac:cxnSpMk id="76" creationId="{DC08D9EC-D551-471F-87B4-5FF5B2216AB5}"/>
          </ac:cxnSpMkLst>
        </pc:cxnChg>
        <pc:cxnChg chg="add mod">
          <ac:chgData name="Wirzius, Noel" userId="389ab01b-6fbd-4e02-8f1a-1be1e09c95e8" providerId="ADAL" clId="{C5517766-0BED-4640-B73B-2121D603CB25}" dt="2021-04-16T10:23:23.467" v="32" actId="1076"/>
          <ac:cxnSpMkLst>
            <pc:docMk/>
            <pc:sldMk cId="3195984845" sldId="885"/>
            <ac:cxnSpMk id="77" creationId="{85831AFF-3A09-4D51-B790-683B1C245F79}"/>
          </ac:cxnSpMkLst>
        </pc:cxnChg>
        <pc:cxnChg chg="add del mod">
          <ac:chgData name="Wirzius, Noel" userId="389ab01b-6fbd-4e02-8f1a-1be1e09c95e8" providerId="ADAL" clId="{C5517766-0BED-4640-B73B-2121D603CB25}" dt="2021-04-16T10:23:55.757" v="38" actId="478"/>
          <ac:cxnSpMkLst>
            <pc:docMk/>
            <pc:sldMk cId="3195984845" sldId="885"/>
            <ac:cxnSpMk id="87" creationId="{6F490AF2-3D55-4FA9-855C-2904D5D60CFA}"/>
          </ac:cxnSpMkLst>
        </pc:cxnChg>
        <pc:cxnChg chg="add del mod">
          <ac:chgData name="Wirzius, Noel" userId="389ab01b-6fbd-4e02-8f1a-1be1e09c95e8" providerId="ADAL" clId="{C5517766-0BED-4640-B73B-2121D603CB25}" dt="2021-04-16T10:23:48.276" v="36" actId="478"/>
          <ac:cxnSpMkLst>
            <pc:docMk/>
            <pc:sldMk cId="3195984845" sldId="885"/>
            <ac:cxnSpMk id="88" creationId="{D4260B76-8342-4D72-88FE-9FC76135904C}"/>
          </ac:cxnSpMkLst>
        </pc:cxnChg>
        <pc:cxnChg chg="add del mod">
          <ac:chgData name="Wirzius, Noel" userId="389ab01b-6fbd-4e02-8f1a-1be1e09c95e8" providerId="ADAL" clId="{C5517766-0BED-4640-B73B-2121D603CB25}" dt="2021-04-16T10:24:29.375" v="43" actId="478"/>
          <ac:cxnSpMkLst>
            <pc:docMk/>
            <pc:sldMk cId="3195984845" sldId="885"/>
            <ac:cxnSpMk id="89" creationId="{50D7B600-D466-4043-964C-3F6D5F6822DA}"/>
          </ac:cxnSpMkLst>
        </pc:cxnChg>
        <pc:cxnChg chg="del mod">
          <ac:chgData name="Wirzius, Noel" userId="389ab01b-6fbd-4e02-8f1a-1be1e09c95e8" providerId="ADAL" clId="{C5517766-0BED-4640-B73B-2121D603CB25}" dt="2021-04-16T10:21:16.940" v="1" actId="478"/>
          <ac:cxnSpMkLst>
            <pc:docMk/>
            <pc:sldMk cId="3195984845" sldId="885"/>
            <ac:cxnSpMk id="90" creationId="{170F4735-1CEB-462F-AFD3-E7AF1B99D737}"/>
          </ac:cxnSpMkLst>
        </pc:cxnChg>
        <pc:cxnChg chg="add mod">
          <ac:chgData name="Wirzius, Noel" userId="389ab01b-6fbd-4e02-8f1a-1be1e09c95e8" providerId="ADAL" clId="{C5517766-0BED-4640-B73B-2121D603CB25}" dt="2021-04-16T10:25:44.165" v="65" actId="208"/>
          <ac:cxnSpMkLst>
            <pc:docMk/>
            <pc:sldMk cId="3195984845" sldId="885"/>
            <ac:cxnSpMk id="91" creationId="{416B026B-522D-40D0-B416-BE13D14998EE}"/>
          </ac:cxnSpMkLst>
        </pc:cxnChg>
        <pc:cxnChg chg="add del mod">
          <ac:chgData name="Wirzius, Noel" userId="389ab01b-6fbd-4e02-8f1a-1be1e09c95e8" providerId="ADAL" clId="{C5517766-0BED-4640-B73B-2121D603CB25}" dt="2021-04-16T10:25:33.761" v="62" actId="478"/>
          <ac:cxnSpMkLst>
            <pc:docMk/>
            <pc:sldMk cId="3195984845" sldId="885"/>
            <ac:cxnSpMk id="92" creationId="{8A6158D1-7455-4969-B9C6-FD7B2C3CB85B}"/>
          </ac:cxnSpMkLst>
        </pc:cxnChg>
        <pc:cxnChg chg="del mod">
          <ac:chgData name="Wirzius, Noel" userId="389ab01b-6fbd-4e02-8f1a-1be1e09c95e8" providerId="ADAL" clId="{C5517766-0BED-4640-B73B-2121D603CB25}" dt="2021-04-16T10:21:11.243" v="0" actId="478"/>
          <ac:cxnSpMkLst>
            <pc:docMk/>
            <pc:sldMk cId="3195984845" sldId="885"/>
            <ac:cxnSpMk id="93" creationId="{1416EC65-93AC-4B21-8796-1D3552EEE3AA}"/>
          </ac:cxnSpMkLst>
        </pc:cxnChg>
        <pc:cxnChg chg="add del mod">
          <ac:chgData name="Wirzius, Noel" userId="389ab01b-6fbd-4e02-8f1a-1be1e09c95e8" providerId="ADAL" clId="{C5517766-0BED-4640-B73B-2121D603CB25}" dt="2021-04-16T10:25:31.988" v="61" actId="478"/>
          <ac:cxnSpMkLst>
            <pc:docMk/>
            <pc:sldMk cId="3195984845" sldId="885"/>
            <ac:cxnSpMk id="94" creationId="{B19F3D70-B9B3-4B62-A3BA-982CBAD452C3}"/>
          </ac:cxnSpMkLst>
        </pc:cxnChg>
        <pc:cxnChg chg="add mod">
          <ac:chgData name="Wirzius, Noel" userId="389ab01b-6fbd-4e02-8f1a-1be1e09c95e8" providerId="ADAL" clId="{C5517766-0BED-4640-B73B-2121D603CB25}" dt="2021-04-16T10:26:08.286" v="70" actId="1076"/>
          <ac:cxnSpMkLst>
            <pc:docMk/>
            <pc:sldMk cId="3195984845" sldId="885"/>
            <ac:cxnSpMk id="95" creationId="{18279AC8-99C4-43D8-8637-ECF649236B69}"/>
          </ac:cxnSpMkLst>
        </pc:cxnChg>
        <pc:cxnChg chg="del mod">
          <ac:chgData name="Wirzius, Noel" userId="389ab01b-6fbd-4e02-8f1a-1be1e09c95e8" providerId="ADAL" clId="{C5517766-0BED-4640-B73B-2121D603CB25}" dt="2021-04-16T10:21:16.940" v="1" actId="478"/>
          <ac:cxnSpMkLst>
            <pc:docMk/>
            <pc:sldMk cId="3195984845" sldId="885"/>
            <ac:cxnSpMk id="96" creationId="{CFEFBC2F-A57B-4D23-9AD8-0177BFBAF3B8}"/>
          </ac:cxnSpMkLst>
        </pc:cxnChg>
        <pc:cxnChg chg="add mod">
          <ac:chgData name="Wirzius, Noel" userId="389ab01b-6fbd-4e02-8f1a-1be1e09c95e8" providerId="ADAL" clId="{C5517766-0BED-4640-B73B-2121D603CB25}" dt="2021-04-16T10:26:17.245" v="72" actId="1076"/>
          <ac:cxnSpMkLst>
            <pc:docMk/>
            <pc:sldMk cId="3195984845" sldId="885"/>
            <ac:cxnSpMk id="97" creationId="{06FDFB2F-A4D9-4714-B320-B8854CE04578}"/>
          </ac:cxnSpMkLst>
        </pc:cxnChg>
        <pc:cxnChg chg="add mod">
          <ac:chgData name="Wirzius, Noel" userId="389ab01b-6fbd-4e02-8f1a-1be1e09c95e8" providerId="ADAL" clId="{C5517766-0BED-4640-B73B-2121D603CB25}" dt="2021-04-16T10:26:23.311" v="74" actId="1076"/>
          <ac:cxnSpMkLst>
            <pc:docMk/>
            <pc:sldMk cId="3195984845" sldId="885"/>
            <ac:cxnSpMk id="98" creationId="{86E5678F-0B47-4BB4-A77A-80319C4DC25D}"/>
          </ac:cxnSpMkLst>
        </pc:cxnChg>
        <pc:cxnChg chg="add mod">
          <ac:chgData name="Wirzius, Noel" userId="389ab01b-6fbd-4e02-8f1a-1be1e09c95e8" providerId="ADAL" clId="{C5517766-0BED-4640-B73B-2121D603CB25}" dt="2021-04-16T10:26:20.471" v="73" actId="1076"/>
          <ac:cxnSpMkLst>
            <pc:docMk/>
            <pc:sldMk cId="3195984845" sldId="885"/>
            <ac:cxnSpMk id="99" creationId="{48DB8B6D-F8E7-4865-98CE-30E510E970FF}"/>
          </ac:cxnSpMkLst>
        </pc:cxnChg>
        <pc:cxnChg chg="add mod">
          <ac:chgData name="Wirzius, Noel" userId="389ab01b-6fbd-4e02-8f1a-1be1e09c95e8" providerId="ADAL" clId="{C5517766-0BED-4640-B73B-2121D603CB25}" dt="2021-04-16T10:26:44.152" v="76" actId="1076"/>
          <ac:cxnSpMkLst>
            <pc:docMk/>
            <pc:sldMk cId="3195984845" sldId="885"/>
            <ac:cxnSpMk id="102" creationId="{ECE6F4AA-770F-47EB-BE7C-C29A072092BC}"/>
          </ac:cxnSpMkLst>
        </pc:cxnChg>
        <pc:cxnChg chg="add mod">
          <ac:chgData name="Wirzius, Noel" userId="389ab01b-6fbd-4e02-8f1a-1be1e09c95e8" providerId="ADAL" clId="{C5517766-0BED-4640-B73B-2121D603CB25}" dt="2021-04-16T10:26:44.152" v="76" actId="1076"/>
          <ac:cxnSpMkLst>
            <pc:docMk/>
            <pc:sldMk cId="3195984845" sldId="885"/>
            <ac:cxnSpMk id="103" creationId="{DC4C5A09-C600-4328-B8BE-1F90893DA186}"/>
          </ac:cxnSpMkLst>
        </pc:cxnChg>
        <pc:cxnChg chg="del mod">
          <ac:chgData name="Wirzius, Noel" userId="389ab01b-6fbd-4e02-8f1a-1be1e09c95e8" providerId="ADAL" clId="{C5517766-0BED-4640-B73B-2121D603CB25}" dt="2021-04-16T10:21:16.940" v="1" actId="478"/>
          <ac:cxnSpMkLst>
            <pc:docMk/>
            <pc:sldMk cId="3195984845" sldId="885"/>
            <ac:cxnSpMk id="114" creationId="{9A803330-86A2-4C09-AD48-555222D89CF3}"/>
          </ac:cxnSpMkLst>
        </pc:cxnChg>
        <pc:cxnChg chg="del mod">
          <ac:chgData name="Wirzius, Noel" userId="389ab01b-6fbd-4e02-8f1a-1be1e09c95e8" providerId="ADAL" clId="{C5517766-0BED-4640-B73B-2121D603CB25}" dt="2021-04-16T10:21:16.940" v="1" actId="478"/>
          <ac:cxnSpMkLst>
            <pc:docMk/>
            <pc:sldMk cId="3195984845" sldId="885"/>
            <ac:cxnSpMk id="117" creationId="{F0F6DDE1-8831-404C-B915-33DE1AF72ED3}"/>
          </ac:cxnSpMkLst>
        </pc:cxnChg>
        <pc:cxnChg chg="del mod">
          <ac:chgData name="Wirzius, Noel" userId="389ab01b-6fbd-4e02-8f1a-1be1e09c95e8" providerId="ADAL" clId="{C5517766-0BED-4640-B73B-2121D603CB25}" dt="2021-04-16T10:22:11.820" v="16" actId="478"/>
          <ac:cxnSpMkLst>
            <pc:docMk/>
            <pc:sldMk cId="3195984845" sldId="885"/>
            <ac:cxnSpMk id="120" creationId="{659374FF-74A4-453A-AC6D-39E6A7DADD46}"/>
          </ac:cxnSpMkLst>
        </pc:cxnChg>
      </pc:sldChg>
      <pc:sldChg chg="addSp modSp mod">
        <pc:chgData name="Wirzius, Noel" userId="389ab01b-6fbd-4e02-8f1a-1be1e09c95e8" providerId="ADAL" clId="{C5517766-0BED-4640-B73B-2121D603CB25}" dt="2021-04-20T09:50:45.901" v="1078" actId="13926"/>
        <pc:sldMkLst>
          <pc:docMk/>
          <pc:sldMk cId="4134518933" sldId="894"/>
        </pc:sldMkLst>
        <pc:spChg chg="add mod">
          <ac:chgData name="Wirzius, Noel" userId="389ab01b-6fbd-4e02-8f1a-1be1e09c95e8" providerId="ADAL" clId="{C5517766-0BED-4640-B73B-2121D603CB25}" dt="2021-04-20T09:50:45.901" v="1078" actId="13926"/>
          <ac:spMkLst>
            <pc:docMk/>
            <pc:sldMk cId="4134518933" sldId="894"/>
            <ac:spMk id="5" creationId="{58220B0A-6490-4A72-886E-704DB9BD22FE}"/>
          </ac:spMkLst>
        </pc:spChg>
      </pc:sldChg>
      <pc:sldChg chg="modCm">
        <pc:chgData name="Wirzius, Noel" userId="389ab01b-6fbd-4e02-8f1a-1be1e09c95e8" providerId="ADAL" clId="{C5517766-0BED-4640-B73B-2121D603CB25}" dt="2021-04-23T08:06:31.874" v="1081"/>
        <pc:sldMkLst>
          <pc:docMk/>
          <pc:sldMk cId="2545986200" sldId="919"/>
        </pc:sldMkLst>
      </pc:sldChg>
    </pc:docChg>
  </pc:docChgLst>
  <pc:docChgLst>
    <pc:chgData name="Kisliuk, Adrian (ext)" userId="S::adrian.kisliuk@external.t-systems.com::6e619ce3-2643-4cdf-9a13-b4c269650021" providerId="AD" clId="Web-{A9B992BB-4E82-CF42-7650-DBAA4DAD4326}"/>
    <pc:docChg chg="modSld">
      <pc:chgData name="Kisliuk, Adrian (ext)" userId="S::adrian.kisliuk@external.t-systems.com::6e619ce3-2643-4cdf-9a13-b4c269650021" providerId="AD" clId="Web-{A9B992BB-4E82-CF42-7650-DBAA4DAD4326}" dt="2021-06-02T08:47:32.224" v="1"/>
      <pc:docMkLst>
        <pc:docMk/>
      </pc:docMkLst>
      <pc:sldChg chg="addSp delSp modSp">
        <pc:chgData name="Kisliuk, Adrian (ext)" userId="S::adrian.kisliuk@external.t-systems.com::6e619ce3-2643-4cdf-9a13-b4c269650021" providerId="AD" clId="Web-{A9B992BB-4E82-CF42-7650-DBAA4DAD4326}" dt="2021-06-02T08:47:32.224" v="1"/>
        <pc:sldMkLst>
          <pc:docMk/>
          <pc:sldMk cId="142025012" sldId="928"/>
        </pc:sldMkLst>
        <pc:picChg chg="add del mod">
          <ac:chgData name="Kisliuk, Adrian (ext)" userId="S::adrian.kisliuk@external.t-systems.com::6e619ce3-2643-4cdf-9a13-b4c269650021" providerId="AD" clId="Web-{A9B992BB-4E82-CF42-7650-DBAA4DAD4326}" dt="2021-06-02T08:47:32.224" v="1"/>
          <ac:picMkLst>
            <pc:docMk/>
            <pc:sldMk cId="142025012" sldId="928"/>
            <ac:picMk id="6" creationId="{C90D445A-85C6-4FC6-88FA-B88084FDB02F}"/>
          </ac:picMkLst>
        </pc:picChg>
      </pc:sldChg>
    </pc:docChg>
  </pc:docChgLst>
  <pc:docChgLst>
    <pc:chgData name="Wirzius, Noel" userId="S::noel.wirzius@telekom.de::389ab01b-6fbd-4e02-8f1a-1be1e09c95e8" providerId="AD" clId="Web-{C7DD379A-C5CD-4F8E-B430-05F878CFB7DE}"/>
    <pc:docChg chg="addSld modSld">
      <pc:chgData name="Wirzius, Noel" userId="S::noel.wirzius@telekom.de::389ab01b-6fbd-4e02-8f1a-1be1e09c95e8" providerId="AD" clId="Web-{C7DD379A-C5CD-4F8E-B430-05F878CFB7DE}" dt="2021-04-16T10:18:02.424" v="268"/>
      <pc:docMkLst>
        <pc:docMk/>
      </pc:docMkLst>
      <pc:sldChg chg="addSp modSp">
        <pc:chgData name="Wirzius, Noel" userId="S::noel.wirzius@telekom.de::389ab01b-6fbd-4e02-8f1a-1be1e09c95e8" providerId="AD" clId="Web-{C7DD379A-C5CD-4F8E-B430-05F878CFB7DE}" dt="2021-04-16T10:16:58.626" v="255" actId="1076"/>
        <pc:sldMkLst>
          <pc:docMk/>
          <pc:sldMk cId="1758910654" sldId="872"/>
        </pc:sldMkLst>
        <pc:spChg chg="add mod">
          <ac:chgData name="Wirzius, Noel" userId="S::noel.wirzius@telekom.de::389ab01b-6fbd-4e02-8f1a-1be1e09c95e8" providerId="AD" clId="Web-{C7DD379A-C5CD-4F8E-B430-05F878CFB7DE}" dt="2021-04-16T10:14:39.576" v="100" actId="20577"/>
          <ac:spMkLst>
            <pc:docMk/>
            <pc:sldMk cId="1758910654" sldId="872"/>
            <ac:spMk id="45" creationId="{1D4EEBF5-3E7C-4CB6-A919-041FBEF70673}"/>
          </ac:spMkLst>
        </pc:spChg>
        <pc:spChg chg="add mod">
          <ac:chgData name="Wirzius, Noel" userId="S::noel.wirzius@telekom.de::389ab01b-6fbd-4e02-8f1a-1be1e09c95e8" providerId="AD" clId="Web-{C7DD379A-C5CD-4F8E-B430-05F878CFB7DE}" dt="2021-04-16T10:16:58.626" v="255" actId="1076"/>
          <ac:spMkLst>
            <pc:docMk/>
            <pc:sldMk cId="1758910654" sldId="872"/>
            <ac:spMk id="46" creationId="{2A188CE8-0E87-4C08-B317-E3C30658CF3A}"/>
          </ac:spMkLst>
        </pc:spChg>
      </pc:sldChg>
      <pc:sldChg chg="addSp delSp modSp add replId">
        <pc:chgData name="Wirzius, Noel" userId="S::noel.wirzius@telekom.de::389ab01b-6fbd-4e02-8f1a-1be1e09c95e8" providerId="AD" clId="Web-{C7DD379A-C5CD-4F8E-B430-05F878CFB7DE}" dt="2021-04-16T10:18:02.424" v="268"/>
        <pc:sldMkLst>
          <pc:docMk/>
          <pc:sldMk cId="3195984845" sldId="885"/>
        </pc:sldMkLst>
        <pc:spChg chg="mod">
          <ac:chgData name="Wirzius, Noel" userId="S::noel.wirzius@telekom.de::389ab01b-6fbd-4e02-8f1a-1be1e09c95e8" providerId="AD" clId="Web-{C7DD379A-C5CD-4F8E-B430-05F878CFB7DE}" dt="2021-04-16T10:17:59.002" v="266" actId="1076"/>
          <ac:spMkLst>
            <pc:docMk/>
            <pc:sldMk cId="3195984845" sldId="885"/>
            <ac:spMk id="44" creationId="{5BE3AE2B-4A0E-4204-B25A-B404EC4FDDA8}"/>
          </ac:spMkLst>
        </pc:spChg>
        <pc:spChg chg="del">
          <ac:chgData name="Wirzius, Noel" userId="S::noel.wirzius@telekom.de::389ab01b-6fbd-4e02-8f1a-1be1e09c95e8" providerId="AD" clId="Web-{C7DD379A-C5CD-4F8E-B430-05F878CFB7DE}" dt="2021-04-16T10:17:17.267" v="259"/>
          <ac:spMkLst>
            <pc:docMk/>
            <pc:sldMk cId="3195984845" sldId="885"/>
            <ac:spMk id="45" creationId="{1D4EEBF5-3E7C-4CB6-A919-041FBEF70673}"/>
          </ac:spMkLst>
        </pc:spChg>
        <pc:spChg chg="del">
          <ac:chgData name="Wirzius, Noel" userId="S::noel.wirzius@telekom.de::389ab01b-6fbd-4e02-8f1a-1be1e09c95e8" providerId="AD" clId="Web-{C7DD379A-C5CD-4F8E-B430-05F878CFB7DE}" dt="2021-04-16T10:17:13.063" v="257"/>
          <ac:spMkLst>
            <pc:docMk/>
            <pc:sldMk cId="3195984845" sldId="885"/>
            <ac:spMk id="46" creationId="{2A188CE8-0E87-4C08-B317-E3C30658CF3A}"/>
          </ac:spMkLst>
        </pc:spChg>
        <pc:spChg chg="add">
          <ac:chgData name="Wirzius, Noel" userId="S::noel.wirzius@telekom.de::389ab01b-6fbd-4e02-8f1a-1be1e09c95e8" providerId="AD" clId="Web-{C7DD379A-C5CD-4F8E-B430-05F878CFB7DE}" dt="2021-04-16T10:18:00.439" v="267"/>
          <ac:spMkLst>
            <pc:docMk/>
            <pc:sldMk cId="3195984845" sldId="885"/>
            <ac:spMk id="47" creationId="{37DFF5F4-D527-4405-AC09-3CCCB46550F7}"/>
          </ac:spMkLst>
        </pc:spChg>
        <pc:spChg chg="del">
          <ac:chgData name="Wirzius, Noel" userId="S::noel.wirzius@telekom.de::389ab01b-6fbd-4e02-8f1a-1be1e09c95e8" providerId="AD" clId="Web-{C7DD379A-C5CD-4F8E-B430-05F878CFB7DE}" dt="2021-04-16T10:17:18.860" v="260"/>
          <ac:spMkLst>
            <pc:docMk/>
            <pc:sldMk cId="3195984845" sldId="885"/>
            <ac:spMk id="84" creationId="{F43CBE5B-F691-4C1A-9731-A09A13540238}"/>
          </ac:spMkLst>
        </pc:spChg>
        <pc:spChg chg="del">
          <ac:chgData name="Wirzius, Noel" userId="S::noel.wirzius@telekom.de::389ab01b-6fbd-4e02-8f1a-1be1e09c95e8" providerId="AD" clId="Web-{C7DD379A-C5CD-4F8E-B430-05F878CFB7DE}" dt="2021-04-16T10:17:16.267" v="258"/>
          <ac:spMkLst>
            <pc:docMk/>
            <pc:sldMk cId="3195984845" sldId="885"/>
            <ac:spMk id="85" creationId="{C087C93A-ECE6-4C49-8489-AC16FC101F49}"/>
          </ac:spMkLst>
        </pc:spChg>
        <pc:picChg chg="mod">
          <ac:chgData name="Wirzius, Noel" userId="S::noel.wirzius@telekom.de::389ab01b-6fbd-4e02-8f1a-1be1e09c95e8" providerId="AD" clId="Web-{C7DD379A-C5CD-4F8E-B430-05F878CFB7DE}" dt="2021-04-16T10:17:49.673" v="264" actId="1076"/>
          <ac:picMkLst>
            <pc:docMk/>
            <pc:sldMk cId="3195984845" sldId="885"/>
            <ac:picMk id="33" creationId="{FDFCE72B-4FE7-427A-8A4C-F087F18E34A5}"/>
          </ac:picMkLst>
        </pc:picChg>
        <pc:picChg chg="mod">
          <ac:chgData name="Wirzius, Noel" userId="S::noel.wirzius@telekom.de::389ab01b-6fbd-4e02-8f1a-1be1e09c95e8" providerId="AD" clId="Web-{C7DD379A-C5CD-4F8E-B430-05F878CFB7DE}" dt="2021-04-16T10:17:50.798" v="265" actId="1076"/>
          <ac:picMkLst>
            <pc:docMk/>
            <pc:sldMk cId="3195984845" sldId="885"/>
            <ac:picMk id="1026" creationId="{92BEDCD2-D9FA-492D-9738-4357A3D8F149}"/>
          </ac:picMkLst>
        </pc:picChg>
        <pc:cxnChg chg="del mod">
          <ac:chgData name="Wirzius, Noel" userId="S::noel.wirzius@telekom.de::389ab01b-6fbd-4e02-8f1a-1be1e09c95e8" providerId="AD" clId="Web-{C7DD379A-C5CD-4F8E-B430-05F878CFB7DE}" dt="2021-04-16T10:18:02.424" v="268"/>
          <ac:cxnSpMkLst>
            <pc:docMk/>
            <pc:sldMk cId="3195984845" sldId="885"/>
            <ac:cxnSpMk id="32" creationId="{960A8471-4033-4D9C-B0CF-94B8FDF047AB}"/>
          </ac:cxnSpMkLst>
        </pc:cxnChg>
        <pc:cxnChg chg="mod">
          <ac:chgData name="Wirzius, Noel" userId="S::noel.wirzius@telekom.de::389ab01b-6fbd-4e02-8f1a-1be1e09c95e8" providerId="AD" clId="Web-{C7DD379A-C5CD-4F8E-B430-05F878CFB7DE}" dt="2021-04-16T10:17:46.845" v="263" actId="1076"/>
          <ac:cxnSpMkLst>
            <pc:docMk/>
            <pc:sldMk cId="3195984845" sldId="885"/>
            <ac:cxnSpMk id="48" creationId="{1050C63E-5585-4A11-B1EC-F7EDA319A04E}"/>
          </ac:cxnSpMkLst>
        </pc:cxnChg>
        <pc:cxnChg chg="mod">
          <ac:chgData name="Wirzius, Noel" userId="S::noel.wirzius@telekom.de::389ab01b-6fbd-4e02-8f1a-1be1e09c95e8" providerId="AD" clId="Web-{C7DD379A-C5CD-4F8E-B430-05F878CFB7DE}" dt="2021-04-16T10:17:42.501" v="262" actId="14100"/>
          <ac:cxnSpMkLst>
            <pc:docMk/>
            <pc:sldMk cId="3195984845" sldId="885"/>
            <ac:cxnSpMk id="111" creationId="{8E995278-8651-4F8F-888E-25CC8EC65F61}"/>
          </ac:cxnSpMkLst>
        </pc:cxnChg>
      </pc:sldChg>
    </pc:docChg>
  </pc:docChgLst>
  <pc:docChgLst>
    <pc:chgData name="Rader, Nathan" userId="7244b1dd-4610-4b97-aeb0-d62ce9ae169d" providerId="ADAL" clId="{089D315D-815F-2B43-9053-F3297753A30E}"/>
    <pc:docChg chg="undo custSel delSld modSld">
      <pc:chgData name="Rader, Nathan" userId="7244b1dd-4610-4b97-aeb0-d62ce9ae169d" providerId="ADAL" clId="{089D315D-815F-2B43-9053-F3297753A30E}" dt="2021-04-29T13:33:26.068" v="1027" actId="2696"/>
      <pc:docMkLst>
        <pc:docMk/>
      </pc:docMkLst>
      <pc:sldChg chg="del">
        <pc:chgData name="Rader, Nathan" userId="7244b1dd-4610-4b97-aeb0-d62ce9ae169d" providerId="ADAL" clId="{089D315D-815F-2B43-9053-F3297753A30E}" dt="2021-04-29T13:33:26.068" v="1027" actId="2696"/>
        <pc:sldMkLst>
          <pc:docMk/>
          <pc:sldMk cId="967380677" sldId="819"/>
        </pc:sldMkLst>
      </pc:sldChg>
      <pc:sldChg chg="addCm modCm">
        <pc:chgData name="Rader, Nathan" userId="7244b1dd-4610-4b97-aeb0-d62ce9ae169d" providerId="ADAL" clId="{089D315D-815F-2B43-9053-F3297753A30E}" dt="2021-04-19T05:44:33.277" v="1"/>
        <pc:sldMkLst>
          <pc:docMk/>
          <pc:sldMk cId="3217164513" sldId="833"/>
        </pc:sldMkLst>
      </pc:sldChg>
      <pc:sldChg chg="addCm">
        <pc:chgData name="Rader, Nathan" userId="7244b1dd-4610-4b97-aeb0-d62ce9ae169d" providerId="ADAL" clId="{089D315D-815F-2B43-9053-F3297753A30E}" dt="2021-04-19T14:20:10.660" v="129" actId="1589"/>
        <pc:sldMkLst>
          <pc:docMk/>
          <pc:sldMk cId="1627132099" sldId="849"/>
        </pc:sldMkLst>
      </pc:sldChg>
      <pc:sldChg chg="addCm">
        <pc:chgData name="Rader, Nathan" userId="7244b1dd-4610-4b97-aeb0-d62ce9ae169d" providerId="ADAL" clId="{089D315D-815F-2B43-9053-F3297753A30E}" dt="2021-04-19T12:35:35.644" v="122" actId="1589"/>
        <pc:sldMkLst>
          <pc:docMk/>
          <pc:sldMk cId="408860177" sldId="852"/>
        </pc:sldMkLst>
      </pc:sldChg>
      <pc:sldChg chg="delSp modSp mod">
        <pc:chgData name="Rader, Nathan" userId="7244b1dd-4610-4b97-aeb0-d62ce9ae169d" providerId="ADAL" clId="{089D315D-815F-2B43-9053-F3297753A30E}" dt="2021-04-19T12:43:11.933" v="127" actId="1076"/>
        <pc:sldMkLst>
          <pc:docMk/>
          <pc:sldMk cId="2552030312" sldId="854"/>
        </pc:sldMkLst>
        <pc:spChg chg="del">
          <ac:chgData name="Rader, Nathan" userId="7244b1dd-4610-4b97-aeb0-d62ce9ae169d" providerId="ADAL" clId="{089D315D-815F-2B43-9053-F3297753A30E}" dt="2021-04-19T12:43:05.583" v="126" actId="478"/>
          <ac:spMkLst>
            <pc:docMk/>
            <pc:sldMk cId="2552030312" sldId="854"/>
            <ac:spMk id="3" creationId="{3371DF3F-79CA-E64F-A14E-989CB784861D}"/>
          </ac:spMkLst>
        </pc:spChg>
        <pc:spChg chg="mod">
          <ac:chgData name="Rader, Nathan" userId="7244b1dd-4610-4b97-aeb0-d62ce9ae169d" providerId="ADAL" clId="{089D315D-815F-2B43-9053-F3297753A30E}" dt="2021-04-19T12:43:11.933" v="127" actId="1076"/>
          <ac:spMkLst>
            <pc:docMk/>
            <pc:sldMk cId="2552030312" sldId="854"/>
            <ac:spMk id="15" creationId="{20E2CAEF-EE94-423D-AC17-B5E911DC5D58}"/>
          </ac:spMkLst>
        </pc:spChg>
      </pc:sldChg>
      <pc:sldChg chg="addCm">
        <pc:chgData name="Rader, Nathan" userId="7244b1dd-4610-4b97-aeb0-d62ce9ae169d" providerId="ADAL" clId="{089D315D-815F-2B43-9053-F3297753A30E}" dt="2021-04-19T12:38:53.117" v="125" actId="1589"/>
        <pc:sldMkLst>
          <pc:docMk/>
          <pc:sldMk cId="3017263479" sldId="884"/>
        </pc:sldMkLst>
      </pc:sldChg>
      <pc:sldChg chg="addCm modCm">
        <pc:chgData name="Rader, Nathan" userId="7244b1dd-4610-4b97-aeb0-d62ce9ae169d" providerId="ADAL" clId="{089D315D-815F-2B43-9053-F3297753A30E}" dt="2021-04-21T04:18:45.447" v="727" actId="1589"/>
        <pc:sldMkLst>
          <pc:docMk/>
          <pc:sldMk cId="3195984845" sldId="885"/>
        </pc:sldMkLst>
      </pc:sldChg>
      <pc:sldChg chg="addCm">
        <pc:chgData name="Rader, Nathan" userId="7244b1dd-4610-4b97-aeb0-d62ce9ae169d" providerId="ADAL" clId="{089D315D-815F-2B43-9053-F3297753A30E}" dt="2021-04-19T12:36:18.069" v="123" actId="1589"/>
        <pc:sldMkLst>
          <pc:docMk/>
          <pc:sldMk cId="972601966" sldId="886"/>
        </pc:sldMkLst>
      </pc:sldChg>
      <pc:sldChg chg="addSp delSp modSp mod addCm delCm">
        <pc:chgData name="Rader, Nathan" userId="7244b1dd-4610-4b97-aeb0-d62ce9ae169d" providerId="ADAL" clId="{089D315D-815F-2B43-9053-F3297753A30E}" dt="2021-04-21T08:49:08.006" v="738" actId="1592"/>
        <pc:sldMkLst>
          <pc:docMk/>
          <pc:sldMk cId="2006354459" sldId="895"/>
        </pc:sldMkLst>
        <pc:spChg chg="mod">
          <ac:chgData name="Rader, Nathan" userId="7244b1dd-4610-4b97-aeb0-d62ce9ae169d" providerId="ADAL" clId="{089D315D-815F-2B43-9053-F3297753A30E}" dt="2021-04-19T12:23:10.933" v="15" actId="14100"/>
          <ac:spMkLst>
            <pc:docMk/>
            <pc:sldMk cId="2006354459" sldId="895"/>
            <ac:spMk id="4" creationId="{8B09BFA6-1414-43CC-93DC-744E01FD1F42}"/>
          </ac:spMkLst>
        </pc:spChg>
        <pc:spChg chg="mod">
          <ac:chgData name="Rader, Nathan" userId="7244b1dd-4610-4b97-aeb0-d62ce9ae169d" providerId="ADAL" clId="{089D315D-815F-2B43-9053-F3297753A30E}" dt="2021-04-19T12:26:12.168" v="121" actId="20577"/>
          <ac:spMkLst>
            <pc:docMk/>
            <pc:sldMk cId="2006354459" sldId="895"/>
            <ac:spMk id="30" creationId="{199D8EFB-88FC-472F-BE8F-341B4A80D369}"/>
          </ac:spMkLst>
        </pc:spChg>
        <pc:spChg chg="mod">
          <ac:chgData name="Rader, Nathan" userId="7244b1dd-4610-4b97-aeb0-d62ce9ae169d" providerId="ADAL" clId="{089D315D-815F-2B43-9053-F3297753A30E}" dt="2021-04-20T04:19:22.196" v="138" actId="207"/>
          <ac:spMkLst>
            <pc:docMk/>
            <pc:sldMk cId="2006354459" sldId="895"/>
            <ac:spMk id="41" creationId="{BEB3AAEA-7608-4765-955F-30B8C0640185}"/>
          </ac:spMkLst>
        </pc:spChg>
        <pc:spChg chg="mod">
          <ac:chgData name="Rader, Nathan" userId="7244b1dd-4610-4b97-aeb0-d62ce9ae169d" providerId="ADAL" clId="{089D315D-815F-2B43-9053-F3297753A30E}" dt="2021-04-20T04:19:30.634" v="139" actId="207"/>
          <ac:spMkLst>
            <pc:docMk/>
            <pc:sldMk cId="2006354459" sldId="895"/>
            <ac:spMk id="54" creationId="{990F7519-4871-489D-B558-E1EB43F5B6B2}"/>
          </ac:spMkLst>
        </pc:spChg>
        <pc:spChg chg="mod">
          <ac:chgData name="Rader, Nathan" userId="7244b1dd-4610-4b97-aeb0-d62ce9ae169d" providerId="ADAL" clId="{089D315D-815F-2B43-9053-F3297753A30E}" dt="2021-04-20T04:19:00.761" v="136" actId="1076"/>
          <ac:spMkLst>
            <pc:docMk/>
            <pc:sldMk cId="2006354459" sldId="895"/>
            <ac:spMk id="55" creationId="{A83F9FBA-340A-47F2-9FC4-05E3FC35F52F}"/>
          </ac:spMkLst>
        </pc:spChg>
        <pc:spChg chg="mod">
          <ac:chgData name="Rader, Nathan" userId="7244b1dd-4610-4b97-aeb0-d62ce9ae169d" providerId="ADAL" clId="{089D315D-815F-2B43-9053-F3297753A30E}" dt="2021-04-20T04:19:22.196" v="138" actId="207"/>
          <ac:spMkLst>
            <pc:docMk/>
            <pc:sldMk cId="2006354459" sldId="895"/>
            <ac:spMk id="78" creationId="{9DD98053-CA53-4F68-9322-5B080897B0CC}"/>
          </ac:spMkLst>
        </pc:spChg>
        <pc:spChg chg="mod">
          <ac:chgData name="Rader, Nathan" userId="7244b1dd-4610-4b97-aeb0-d62ce9ae169d" providerId="ADAL" clId="{089D315D-815F-2B43-9053-F3297753A30E}" dt="2021-04-19T12:22:49.134" v="12" actId="1076"/>
          <ac:spMkLst>
            <pc:docMk/>
            <pc:sldMk cId="2006354459" sldId="895"/>
            <ac:spMk id="92" creationId="{6B158B4D-3498-4ECB-918B-585D6BF5D6A6}"/>
          </ac:spMkLst>
        </pc:spChg>
        <pc:spChg chg="mod">
          <ac:chgData name="Rader, Nathan" userId="7244b1dd-4610-4b97-aeb0-d62ce9ae169d" providerId="ADAL" clId="{089D315D-815F-2B43-9053-F3297753A30E}" dt="2021-04-20T04:19:56.910" v="142" actId="20577"/>
          <ac:spMkLst>
            <pc:docMk/>
            <pc:sldMk cId="2006354459" sldId="895"/>
            <ac:spMk id="93" creationId="{25C5CD64-B41E-4145-A97C-D1F97F6BB017}"/>
          </ac:spMkLst>
        </pc:spChg>
        <pc:spChg chg="mod">
          <ac:chgData name="Rader, Nathan" userId="7244b1dd-4610-4b97-aeb0-d62ce9ae169d" providerId="ADAL" clId="{089D315D-815F-2B43-9053-F3297753A30E}" dt="2021-04-21T08:47:08.140" v="736" actId="14100"/>
          <ac:spMkLst>
            <pc:docMk/>
            <pc:sldMk cId="2006354459" sldId="895"/>
            <ac:spMk id="94" creationId="{3BA7101D-B563-4CC7-9AB5-43BA12BD444B}"/>
          </ac:spMkLst>
        </pc:spChg>
        <pc:spChg chg="mod">
          <ac:chgData name="Rader, Nathan" userId="7244b1dd-4610-4b97-aeb0-d62ce9ae169d" providerId="ADAL" clId="{089D315D-815F-2B43-9053-F3297753A30E}" dt="2021-04-20T04:19:41.118" v="140" actId="1076"/>
          <ac:spMkLst>
            <pc:docMk/>
            <pc:sldMk cId="2006354459" sldId="895"/>
            <ac:spMk id="95" creationId="{A76A5DEE-7790-4B42-84D3-351F66FD3F46}"/>
          </ac:spMkLst>
        </pc:spChg>
        <pc:spChg chg="mod">
          <ac:chgData name="Rader, Nathan" userId="7244b1dd-4610-4b97-aeb0-d62ce9ae169d" providerId="ADAL" clId="{089D315D-815F-2B43-9053-F3297753A30E}" dt="2021-04-20T04:19:50.270" v="141" actId="1076"/>
          <ac:spMkLst>
            <pc:docMk/>
            <pc:sldMk cId="2006354459" sldId="895"/>
            <ac:spMk id="96" creationId="{94B655F2-17E5-4447-97E1-2A2BB3A0F665}"/>
          </ac:spMkLst>
        </pc:spChg>
        <pc:spChg chg="mod">
          <ac:chgData name="Rader, Nathan" userId="7244b1dd-4610-4b97-aeb0-d62ce9ae169d" providerId="ADAL" clId="{089D315D-815F-2B43-9053-F3297753A30E}" dt="2021-04-20T04:19:22.196" v="138" actId="207"/>
          <ac:spMkLst>
            <pc:docMk/>
            <pc:sldMk cId="2006354459" sldId="895"/>
            <ac:spMk id="99" creationId="{B09C9A7A-70EF-4FD7-AA3D-96FF20B267C4}"/>
          </ac:spMkLst>
        </pc:spChg>
        <pc:spChg chg="add mod">
          <ac:chgData name="Rader, Nathan" userId="7244b1dd-4610-4b97-aeb0-d62ce9ae169d" providerId="ADAL" clId="{089D315D-815F-2B43-9053-F3297753A30E}" dt="2021-04-20T04:20:33.640" v="154" actId="14100"/>
          <ac:spMkLst>
            <pc:docMk/>
            <pc:sldMk cId="2006354459" sldId="895"/>
            <ac:spMk id="102" creationId="{A5D062CC-D751-AF4C-BA87-7B77A3888231}"/>
          </ac:spMkLst>
        </pc:spChg>
        <pc:cxnChg chg="mod">
          <ac:chgData name="Rader, Nathan" userId="7244b1dd-4610-4b97-aeb0-d62ce9ae169d" providerId="ADAL" clId="{089D315D-815F-2B43-9053-F3297753A30E}" dt="2021-04-19T12:23:10.933" v="15" actId="14100"/>
          <ac:cxnSpMkLst>
            <pc:docMk/>
            <pc:sldMk cId="2006354459" sldId="895"/>
            <ac:cxnSpMk id="6" creationId="{BB73AF7D-3AFB-458C-9E13-4490BD29D49E}"/>
          </ac:cxnSpMkLst>
        </pc:cxnChg>
        <pc:cxnChg chg="del mod">
          <ac:chgData name="Rader, Nathan" userId="7244b1dd-4610-4b97-aeb0-d62ce9ae169d" providerId="ADAL" clId="{089D315D-815F-2B43-9053-F3297753A30E}" dt="2021-04-19T12:24:14.583" v="16" actId="478"/>
          <ac:cxnSpMkLst>
            <pc:docMk/>
            <pc:sldMk cId="2006354459" sldId="895"/>
            <ac:cxnSpMk id="61" creationId="{6B00E9D6-ABF8-4DBB-A008-1A5B147F2E51}"/>
          </ac:cxnSpMkLst>
        </pc:cxnChg>
        <pc:cxnChg chg="del mod">
          <ac:chgData name="Rader, Nathan" userId="7244b1dd-4610-4b97-aeb0-d62ce9ae169d" providerId="ADAL" clId="{089D315D-815F-2B43-9053-F3297753A30E}" dt="2021-04-19T12:24:15.840" v="17" actId="478"/>
          <ac:cxnSpMkLst>
            <pc:docMk/>
            <pc:sldMk cId="2006354459" sldId="895"/>
            <ac:cxnSpMk id="62" creationId="{A7F613DE-CF25-4659-BEB5-A6293800A85C}"/>
          </ac:cxnSpMkLst>
        </pc:cxnChg>
        <pc:cxnChg chg="del mod">
          <ac:chgData name="Rader, Nathan" userId="7244b1dd-4610-4b97-aeb0-d62ce9ae169d" providerId="ADAL" clId="{089D315D-815F-2B43-9053-F3297753A30E}" dt="2021-04-19T12:24:17.390" v="18" actId="478"/>
          <ac:cxnSpMkLst>
            <pc:docMk/>
            <pc:sldMk cId="2006354459" sldId="895"/>
            <ac:cxnSpMk id="63" creationId="{A063E153-814D-406B-9A67-EF20F840AEF5}"/>
          </ac:cxnSpMkLst>
        </pc:cxnChg>
        <pc:cxnChg chg="del mod">
          <ac:chgData name="Rader, Nathan" userId="7244b1dd-4610-4b97-aeb0-d62ce9ae169d" providerId="ADAL" clId="{089D315D-815F-2B43-9053-F3297753A30E}" dt="2021-04-19T12:24:18.651" v="19" actId="478"/>
          <ac:cxnSpMkLst>
            <pc:docMk/>
            <pc:sldMk cId="2006354459" sldId="895"/>
            <ac:cxnSpMk id="64" creationId="{A05BC7AB-C665-46D6-941B-032814E263E2}"/>
          </ac:cxnSpMkLst>
        </pc:cxnChg>
        <pc:cxnChg chg="add mod">
          <ac:chgData name="Rader, Nathan" userId="7244b1dd-4610-4b97-aeb0-d62ce9ae169d" providerId="ADAL" clId="{089D315D-815F-2B43-9053-F3297753A30E}" dt="2021-04-21T08:47:08.140" v="736" actId="14100"/>
          <ac:cxnSpMkLst>
            <pc:docMk/>
            <pc:sldMk cId="2006354459" sldId="895"/>
            <ac:cxnSpMk id="103" creationId="{2D429A6A-DA93-174A-8EFF-4D6F7D00331C}"/>
          </ac:cxnSpMkLst>
        </pc:cxnChg>
      </pc:sldChg>
      <pc:sldChg chg="addSp modSp mod addCm delCm modCm">
        <pc:chgData name="Rader, Nathan" userId="7244b1dd-4610-4b97-aeb0-d62ce9ae169d" providerId="ADAL" clId="{089D315D-815F-2B43-9053-F3297753A30E}" dt="2021-04-21T04:14:25.366" v="723" actId="1592"/>
        <pc:sldMkLst>
          <pc:docMk/>
          <pc:sldMk cId="1860030197" sldId="897"/>
        </pc:sldMkLst>
        <pc:spChg chg="add mod">
          <ac:chgData name="Rader, Nathan" userId="7244b1dd-4610-4b97-aeb0-d62ce9ae169d" providerId="ADAL" clId="{089D315D-815F-2B43-9053-F3297753A30E}" dt="2021-04-20T07:11:38.228" v="503" actId="20577"/>
          <ac:spMkLst>
            <pc:docMk/>
            <pc:sldMk cId="1860030197" sldId="897"/>
            <ac:spMk id="3" creationId="{F552FA42-C613-0840-B916-6AED505AB109}"/>
          </ac:spMkLst>
        </pc:spChg>
        <pc:spChg chg="mod">
          <ac:chgData name="Rader, Nathan" userId="7244b1dd-4610-4b97-aeb0-d62ce9ae169d" providerId="ADAL" clId="{089D315D-815F-2B43-9053-F3297753A30E}" dt="2021-04-21T04:13:38.642" v="721" actId="20577"/>
          <ac:spMkLst>
            <pc:docMk/>
            <pc:sldMk cId="1860030197" sldId="897"/>
            <ac:spMk id="22" creationId="{C564A8AC-088E-402E-95AB-97189B89DDE1}"/>
          </ac:spMkLst>
        </pc:spChg>
        <pc:spChg chg="mod">
          <ac:chgData name="Rader, Nathan" userId="7244b1dd-4610-4b97-aeb0-d62ce9ae169d" providerId="ADAL" clId="{089D315D-815F-2B43-9053-F3297753A30E}" dt="2021-04-21T04:13:34.472" v="720" actId="20577"/>
          <ac:spMkLst>
            <pc:docMk/>
            <pc:sldMk cId="1860030197" sldId="897"/>
            <ac:spMk id="23" creationId="{2A4A1DC2-C135-4D7B-8626-D249CD4E6F16}"/>
          </ac:spMkLst>
        </pc:spChg>
      </pc:sldChg>
      <pc:sldChg chg="addSp delSp modSp mod delCm">
        <pc:chgData name="Rader, Nathan" userId="7244b1dd-4610-4b97-aeb0-d62ce9ae169d" providerId="ADAL" clId="{089D315D-815F-2B43-9053-F3297753A30E}" dt="2021-04-21T08:49:20.452" v="741" actId="1592"/>
        <pc:sldMkLst>
          <pc:docMk/>
          <pc:sldMk cId="915678809" sldId="902"/>
        </pc:sldMkLst>
        <pc:spChg chg="add del mod">
          <ac:chgData name="Rader, Nathan" userId="7244b1dd-4610-4b97-aeb0-d62ce9ae169d" providerId="ADAL" clId="{089D315D-815F-2B43-9053-F3297753A30E}" dt="2021-04-21T04:12:32.267" v="636" actId="478"/>
          <ac:spMkLst>
            <pc:docMk/>
            <pc:sldMk cId="915678809" sldId="902"/>
            <ac:spMk id="3" creationId="{64F98675-3A46-D945-B852-077F164E7004}"/>
          </ac:spMkLst>
        </pc:spChg>
        <pc:spChg chg="add mod">
          <ac:chgData name="Rader, Nathan" userId="7244b1dd-4610-4b97-aeb0-d62ce9ae169d" providerId="ADAL" clId="{089D315D-815F-2B43-9053-F3297753A30E}" dt="2021-04-21T04:13:06.441" v="719" actId="1076"/>
          <ac:spMkLst>
            <pc:docMk/>
            <pc:sldMk cId="915678809" sldId="902"/>
            <ac:spMk id="53" creationId="{1A9BC7DA-54FE-AC4A-9B9B-E430EFFB48F3}"/>
          </ac:spMkLst>
        </pc:spChg>
        <pc:spChg chg="add del mod">
          <ac:chgData name="Rader, Nathan" userId="7244b1dd-4610-4b97-aeb0-d62ce9ae169d" providerId="ADAL" clId="{089D315D-815F-2B43-9053-F3297753A30E}" dt="2021-04-21T04:12:33.661" v="637" actId="478"/>
          <ac:spMkLst>
            <pc:docMk/>
            <pc:sldMk cId="915678809" sldId="902"/>
            <ac:spMk id="54" creationId="{4F3ECC60-099C-194F-92FE-51FC8A5F8EC3}"/>
          </ac:spMkLst>
        </pc:spChg>
        <pc:picChg chg="mod">
          <ac:chgData name="Rader, Nathan" userId="7244b1dd-4610-4b97-aeb0-d62ce9ae169d" providerId="ADAL" clId="{089D315D-815F-2B43-9053-F3297753A30E}" dt="2021-04-21T08:41:59.590" v="734" actId="1076"/>
          <ac:picMkLst>
            <pc:docMk/>
            <pc:sldMk cId="915678809" sldId="902"/>
            <ac:picMk id="145" creationId="{074EB559-2999-4DDE-84B8-1765054CC9A1}"/>
          </ac:picMkLst>
        </pc:picChg>
        <pc:picChg chg="mod">
          <ac:chgData name="Rader, Nathan" userId="7244b1dd-4610-4b97-aeb0-d62ce9ae169d" providerId="ADAL" clId="{089D315D-815F-2B43-9053-F3297753A30E}" dt="2021-04-21T08:42:01.838" v="735" actId="1076"/>
          <ac:picMkLst>
            <pc:docMk/>
            <pc:sldMk cId="915678809" sldId="902"/>
            <ac:picMk id="156" creationId="{2536101B-1F0E-4A1F-A47F-8BA6472D0EE0}"/>
          </ac:picMkLst>
        </pc:picChg>
        <pc:cxnChg chg="add mod">
          <ac:chgData name="Rader, Nathan" userId="7244b1dd-4610-4b97-aeb0-d62ce9ae169d" providerId="ADAL" clId="{089D315D-815F-2B43-9053-F3297753A30E}" dt="2021-04-21T08:41:57.254" v="733" actId="1076"/>
          <ac:cxnSpMkLst>
            <pc:docMk/>
            <pc:sldMk cId="915678809" sldId="902"/>
            <ac:cxnSpMk id="5" creationId="{7C428214-A98E-D047-A5D0-5062CA24955A}"/>
          </ac:cxnSpMkLst>
        </pc:cxnChg>
      </pc:sldChg>
      <pc:sldChg chg="addSp modSp mod">
        <pc:chgData name="Rader, Nathan" userId="7244b1dd-4610-4b97-aeb0-d62ce9ae169d" providerId="ADAL" clId="{089D315D-815F-2B43-9053-F3297753A30E}" dt="2021-04-20T07:26:31.399" v="635" actId="20577"/>
        <pc:sldMkLst>
          <pc:docMk/>
          <pc:sldMk cId="2120897780" sldId="903"/>
        </pc:sldMkLst>
        <pc:spChg chg="add mod">
          <ac:chgData name="Rader, Nathan" userId="7244b1dd-4610-4b97-aeb0-d62ce9ae169d" providerId="ADAL" clId="{089D315D-815F-2B43-9053-F3297753A30E}" dt="2021-04-20T07:26:31.399" v="635" actId="20577"/>
          <ac:spMkLst>
            <pc:docMk/>
            <pc:sldMk cId="2120897780" sldId="903"/>
            <ac:spMk id="3" creationId="{AB0330F2-31AA-234C-9871-70C344D0F8C3}"/>
          </ac:spMkLst>
        </pc:spChg>
      </pc:sldChg>
      <pc:sldChg chg="modSp mod delCm">
        <pc:chgData name="Rader, Nathan" userId="7244b1dd-4610-4b97-aeb0-d62ce9ae169d" providerId="ADAL" clId="{089D315D-815F-2B43-9053-F3297753A30E}" dt="2021-04-21T08:49:14.029" v="740" actId="1592"/>
        <pc:sldMkLst>
          <pc:docMk/>
          <pc:sldMk cId="3715642723" sldId="904"/>
        </pc:sldMkLst>
        <pc:spChg chg="mod">
          <ac:chgData name="Rader, Nathan" userId="7244b1dd-4610-4b97-aeb0-d62ce9ae169d" providerId="ADAL" clId="{089D315D-815F-2B43-9053-F3297753A30E}" dt="2021-04-20T04:17:45.449" v="133" actId="20577"/>
          <ac:spMkLst>
            <pc:docMk/>
            <pc:sldMk cId="3715642723" sldId="904"/>
            <ac:spMk id="2" creationId="{C11920DB-DB27-4D35-BC7B-E98157E38E05}"/>
          </ac:spMkLst>
        </pc:spChg>
      </pc:sldChg>
      <pc:sldChg chg="modSp mod addCm modCm">
        <pc:chgData name="Rader, Nathan" userId="7244b1dd-4610-4b97-aeb0-d62ce9ae169d" providerId="ADAL" clId="{089D315D-815F-2B43-9053-F3297753A30E}" dt="2021-04-21T08:20:53.976" v="729" actId="1589"/>
        <pc:sldMkLst>
          <pc:docMk/>
          <pc:sldMk cId="3520673083" sldId="905"/>
        </pc:sldMkLst>
        <pc:spChg chg="mod">
          <ac:chgData name="Rader, Nathan" userId="7244b1dd-4610-4b97-aeb0-d62ce9ae169d" providerId="ADAL" clId="{089D315D-815F-2B43-9053-F3297753A30E}" dt="2021-04-21T04:14:35.554" v="724" actId="1076"/>
          <ac:spMkLst>
            <pc:docMk/>
            <pc:sldMk cId="3520673083" sldId="905"/>
            <ac:spMk id="3" creationId="{AB0330F2-31AA-234C-9871-70C344D0F8C3}"/>
          </ac:spMkLst>
        </pc:spChg>
      </pc:sldChg>
      <pc:sldChg chg="addCm">
        <pc:chgData name="Rader, Nathan" userId="7244b1dd-4610-4b97-aeb0-d62ce9ae169d" providerId="ADAL" clId="{089D315D-815F-2B43-9053-F3297753A30E}" dt="2021-04-21T08:22:08.623" v="730" actId="1589"/>
        <pc:sldMkLst>
          <pc:docMk/>
          <pc:sldMk cId="4131368175" sldId="906"/>
        </pc:sldMkLst>
      </pc:sldChg>
      <pc:sldChg chg="modSp mod addCm delCm modCm">
        <pc:chgData name="Rader, Nathan" userId="7244b1dd-4610-4b97-aeb0-d62ce9ae169d" providerId="ADAL" clId="{089D315D-815F-2B43-9053-F3297753A30E}" dt="2021-04-22T04:30:22.396" v="791" actId="790"/>
        <pc:sldMkLst>
          <pc:docMk/>
          <pc:sldMk cId="1076232009" sldId="913"/>
        </pc:sldMkLst>
        <pc:spChg chg="mod">
          <ac:chgData name="Rader, Nathan" userId="7244b1dd-4610-4b97-aeb0-d62ce9ae169d" providerId="ADAL" clId="{089D315D-815F-2B43-9053-F3297753A30E}" dt="2021-04-22T04:30:22.396" v="791" actId="790"/>
          <ac:spMkLst>
            <pc:docMk/>
            <pc:sldMk cId="1076232009" sldId="913"/>
            <ac:spMk id="2" creationId="{261B79A1-4585-4C63-9FD0-1991DD710698}"/>
          </ac:spMkLst>
        </pc:spChg>
      </pc:sldChg>
      <pc:sldChg chg="modSp mod addCm modCm">
        <pc:chgData name="Rader, Nathan" userId="7244b1dd-4610-4b97-aeb0-d62ce9ae169d" providerId="ADAL" clId="{089D315D-815F-2B43-9053-F3297753A30E}" dt="2021-04-22T04:37:06.283" v="949"/>
        <pc:sldMkLst>
          <pc:docMk/>
          <pc:sldMk cId="3136537518" sldId="915"/>
        </pc:sldMkLst>
        <pc:spChg chg="mod">
          <ac:chgData name="Rader, Nathan" userId="7244b1dd-4610-4b97-aeb0-d62ce9ae169d" providerId="ADAL" clId="{089D315D-815F-2B43-9053-F3297753A30E}" dt="2021-04-22T04:32:59.962" v="844" actId="20577"/>
          <ac:spMkLst>
            <pc:docMk/>
            <pc:sldMk cId="3136537518" sldId="915"/>
            <ac:spMk id="3" creationId="{D2710882-1DA8-468F-8A88-A523683F1827}"/>
          </ac:spMkLst>
        </pc:spChg>
      </pc:sldChg>
      <pc:sldChg chg="modSp mod addCm delCm">
        <pc:chgData name="Rader, Nathan" userId="7244b1dd-4610-4b97-aeb0-d62ce9ae169d" providerId="ADAL" clId="{089D315D-815F-2B43-9053-F3297753A30E}" dt="2021-04-23T04:22:54.157" v="964" actId="1592"/>
        <pc:sldMkLst>
          <pc:docMk/>
          <pc:sldMk cId="3055426121" sldId="916"/>
        </pc:sldMkLst>
        <pc:spChg chg="mod">
          <ac:chgData name="Rader, Nathan" userId="7244b1dd-4610-4b97-aeb0-d62ce9ae169d" providerId="ADAL" clId="{089D315D-815F-2B43-9053-F3297753A30E}" dt="2021-04-22T04:35:09.684" v="946" actId="20577"/>
          <ac:spMkLst>
            <pc:docMk/>
            <pc:sldMk cId="3055426121" sldId="916"/>
            <ac:spMk id="2" creationId="{C94D4F25-CE41-4A75-8631-2502B3DBF4E9}"/>
          </ac:spMkLst>
        </pc:spChg>
      </pc:sldChg>
      <pc:sldChg chg="del">
        <pc:chgData name="Rader, Nathan" userId="7244b1dd-4610-4b97-aeb0-d62ce9ae169d" providerId="ADAL" clId="{089D315D-815F-2B43-9053-F3297753A30E}" dt="2021-04-29T13:33:25.011" v="1026" actId="2696"/>
        <pc:sldMkLst>
          <pc:docMk/>
          <pc:sldMk cId="3672252919" sldId="917"/>
        </pc:sldMkLst>
      </pc:sldChg>
      <pc:sldChg chg="delSp modSp mod addCm delCm modCm">
        <pc:chgData name="Rader, Nathan" userId="7244b1dd-4610-4b97-aeb0-d62ce9ae169d" providerId="ADAL" clId="{089D315D-815F-2B43-9053-F3297753A30E}" dt="2021-04-26T11:29:48.072" v="1024"/>
        <pc:sldMkLst>
          <pc:docMk/>
          <pc:sldMk cId="2545986200" sldId="919"/>
        </pc:sldMkLst>
        <pc:spChg chg="mod">
          <ac:chgData name="Rader, Nathan" userId="7244b1dd-4610-4b97-aeb0-d62ce9ae169d" providerId="ADAL" clId="{089D315D-815F-2B43-9053-F3297753A30E}" dt="2021-04-22T15:59:17.131" v="962" actId="20577"/>
          <ac:spMkLst>
            <pc:docMk/>
            <pc:sldMk cId="2545986200" sldId="919"/>
            <ac:spMk id="2" creationId="{69A07231-9C27-4042-A176-76F50926ECA4}"/>
          </ac:spMkLst>
        </pc:spChg>
        <pc:spChg chg="mod">
          <ac:chgData name="Rader, Nathan" userId="7244b1dd-4610-4b97-aeb0-d62ce9ae169d" providerId="ADAL" clId="{089D315D-815F-2B43-9053-F3297753A30E}" dt="2021-04-22T04:29:08.408" v="775" actId="1037"/>
          <ac:spMkLst>
            <pc:docMk/>
            <pc:sldMk cId="2545986200" sldId="919"/>
            <ac:spMk id="4" creationId="{6854494A-9B61-4119-832A-FD344B839FE8}"/>
          </ac:spMkLst>
        </pc:spChg>
        <pc:spChg chg="mod">
          <ac:chgData name="Rader, Nathan" userId="7244b1dd-4610-4b97-aeb0-d62ce9ae169d" providerId="ADAL" clId="{089D315D-815F-2B43-9053-F3297753A30E}" dt="2021-04-22T04:29:08.408" v="775" actId="1037"/>
          <ac:spMkLst>
            <pc:docMk/>
            <pc:sldMk cId="2545986200" sldId="919"/>
            <ac:spMk id="5" creationId="{D5365CAD-8EA1-44E4-99C2-D4CDAF080CB2}"/>
          </ac:spMkLst>
        </pc:spChg>
        <pc:spChg chg="mod">
          <ac:chgData name="Rader, Nathan" userId="7244b1dd-4610-4b97-aeb0-d62ce9ae169d" providerId="ADAL" clId="{089D315D-815F-2B43-9053-F3297753A30E}" dt="2021-04-22T04:29:08.408" v="775" actId="1037"/>
          <ac:spMkLst>
            <pc:docMk/>
            <pc:sldMk cId="2545986200" sldId="919"/>
            <ac:spMk id="6" creationId="{9C097A11-B5F1-4C73-A808-D496E64B9BBD}"/>
          </ac:spMkLst>
        </pc:spChg>
        <pc:spChg chg="mod">
          <ac:chgData name="Rader, Nathan" userId="7244b1dd-4610-4b97-aeb0-d62ce9ae169d" providerId="ADAL" clId="{089D315D-815F-2B43-9053-F3297753A30E}" dt="2021-04-22T04:29:08.408" v="775" actId="1037"/>
          <ac:spMkLst>
            <pc:docMk/>
            <pc:sldMk cId="2545986200" sldId="919"/>
            <ac:spMk id="28" creationId="{37C3BFFE-FDCC-465D-A725-F4A8EBD7CB42}"/>
          </ac:spMkLst>
        </pc:spChg>
        <pc:spChg chg="mod">
          <ac:chgData name="Rader, Nathan" userId="7244b1dd-4610-4b97-aeb0-d62ce9ae169d" providerId="ADAL" clId="{089D315D-815F-2B43-9053-F3297753A30E}" dt="2021-04-22T04:29:08.408" v="775" actId="1037"/>
          <ac:spMkLst>
            <pc:docMk/>
            <pc:sldMk cId="2545986200" sldId="919"/>
            <ac:spMk id="29" creationId="{470BC2C3-779B-455E-AACA-A55065566610}"/>
          </ac:spMkLst>
        </pc:spChg>
        <pc:spChg chg="mod">
          <ac:chgData name="Rader, Nathan" userId="7244b1dd-4610-4b97-aeb0-d62ce9ae169d" providerId="ADAL" clId="{089D315D-815F-2B43-9053-F3297753A30E}" dt="2021-04-22T04:29:08.408" v="775" actId="1037"/>
          <ac:spMkLst>
            <pc:docMk/>
            <pc:sldMk cId="2545986200" sldId="919"/>
            <ac:spMk id="30" creationId="{F68A0F33-B4D2-499D-B9E3-DCF89E449C74}"/>
          </ac:spMkLst>
        </pc:spChg>
        <pc:spChg chg="del">
          <ac:chgData name="Rader, Nathan" userId="7244b1dd-4610-4b97-aeb0-d62ce9ae169d" providerId="ADAL" clId="{089D315D-815F-2B43-9053-F3297753A30E}" dt="2021-04-22T04:28:58.988" v="744" actId="478"/>
          <ac:spMkLst>
            <pc:docMk/>
            <pc:sldMk cId="2545986200" sldId="919"/>
            <ac:spMk id="34" creationId="{E8F1B9E9-4571-4AF7-BFE7-7AACECE242C5}"/>
          </ac:spMkLst>
        </pc:spChg>
        <pc:spChg chg="mod">
          <ac:chgData name="Rader, Nathan" userId="7244b1dd-4610-4b97-aeb0-d62ce9ae169d" providerId="ADAL" clId="{089D315D-815F-2B43-9053-F3297753A30E}" dt="2021-04-22T04:29:08.408" v="775" actId="1037"/>
          <ac:spMkLst>
            <pc:docMk/>
            <pc:sldMk cId="2545986200" sldId="919"/>
            <ac:spMk id="63" creationId="{6E83B5FE-7B78-4A5E-9B14-C74D15A4B7AC}"/>
          </ac:spMkLst>
        </pc:spChg>
        <pc:spChg chg="mod">
          <ac:chgData name="Rader, Nathan" userId="7244b1dd-4610-4b97-aeb0-d62ce9ae169d" providerId="ADAL" clId="{089D315D-815F-2B43-9053-F3297753A30E}" dt="2021-04-22T04:29:08.408" v="775" actId="1037"/>
          <ac:spMkLst>
            <pc:docMk/>
            <pc:sldMk cId="2545986200" sldId="919"/>
            <ac:spMk id="67" creationId="{E46452FB-F9E1-4A7B-A02A-073330589355}"/>
          </ac:spMkLst>
        </pc:spChg>
      </pc:sldChg>
      <pc:sldChg chg="delCm">
        <pc:chgData name="Rader, Nathan" userId="7244b1dd-4610-4b97-aeb0-d62ce9ae169d" providerId="ADAL" clId="{089D315D-815F-2B43-9053-F3297753A30E}" dt="2021-04-22T08:38:36.703" v="950" actId="1592"/>
        <pc:sldMkLst>
          <pc:docMk/>
          <pc:sldMk cId="3100841740" sldId="920"/>
        </pc:sldMkLst>
      </pc:sldChg>
      <pc:sldChg chg="addSp delSp modSp mod addCm delCm">
        <pc:chgData name="Rader, Nathan" userId="7244b1dd-4610-4b97-aeb0-d62ce9ae169d" providerId="ADAL" clId="{089D315D-815F-2B43-9053-F3297753A30E}" dt="2021-04-26T07:48:37.275" v="1021" actId="1592"/>
        <pc:sldMkLst>
          <pc:docMk/>
          <pc:sldMk cId="611033580" sldId="922"/>
        </pc:sldMkLst>
        <pc:spChg chg="mod">
          <ac:chgData name="Rader, Nathan" userId="7244b1dd-4610-4b97-aeb0-d62ce9ae169d" providerId="ADAL" clId="{089D315D-815F-2B43-9053-F3297753A30E}" dt="2021-04-23T04:23:34.204" v="974" actId="1076"/>
          <ac:spMkLst>
            <pc:docMk/>
            <pc:sldMk cId="611033580" sldId="922"/>
            <ac:spMk id="17" creationId="{8B78DD78-4CB4-46E3-970B-CF3289FE325D}"/>
          </ac:spMkLst>
        </pc:spChg>
        <pc:spChg chg="mod">
          <ac:chgData name="Rader, Nathan" userId="7244b1dd-4610-4b97-aeb0-d62ce9ae169d" providerId="ADAL" clId="{089D315D-815F-2B43-9053-F3297753A30E}" dt="2021-04-23T04:24:08.453" v="985" actId="20577"/>
          <ac:spMkLst>
            <pc:docMk/>
            <pc:sldMk cId="611033580" sldId="922"/>
            <ac:spMk id="18" creationId="{68EB19FE-966D-4176-ADE3-D35C825144E8}"/>
          </ac:spMkLst>
        </pc:spChg>
        <pc:spChg chg="mod">
          <ac:chgData name="Rader, Nathan" userId="7244b1dd-4610-4b97-aeb0-d62ce9ae169d" providerId="ADAL" clId="{089D315D-815F-2B43-9053-F3297753A30E}" dt="2021-04-23T04:26:32.264" v="1015" actId="20577"/>
          <ac:spMkLst>
            <pc:docMk/>
            <pc:sldMk cId="611033580" sldId="922"/>
            <ac:spMk id="30" creationId="{B47163EB-EBD0-43BB-9412-BFB0B96B07D4}"/>
          </ac:spMkLst>
        </pc:spChg>
        <pc:spChg chg="mod">
          <ac:chgData name="Rader, Nathan" userId="7244b1dd-4610-4b97-aeb0-d62ce9ae169d" providerId="ADAL" clId="{089D315D-815F-2B43-9053-F3297753A30E}" dt="2021-04-23T04:23:56.574" v="984" actId="1076"/>
          <ac:spMkLst>
            <pc:docMk/>
            <pc:sldMk cId="611033580" sldId="922"/>
            <ac:spMk id="32" creationId="{3FDD295E-749F-4363-9B75-96F8B093D275}"/>
          </ac:spMkLst>
        </pc:spChg>
        <pc:cxnChg chg="mod">
          <ac:chgData name="Rader, Nathan" userId="7244b1dd-4610-4b97-aeb0-d62ce9ae169d" providerId="ADAL" clId="{089D315D-815F-2B43-9053-F3297753A30E}" dt="2021-04-23T04:23:34.204" v="974" actId="1076"/>
          <ac:cxnSpMkLst>
            <pc:docMk/>
            <pc:sldMk cId="611033580" sldId="922"/>
            <ac:cxnSpMk id="31" creationId="{6AB3E61D-A014-497D-AF77-13E47C9A21CB}"/>
          </ac:cxnSpMkLst>
        </pc:cxnChg>
        <pc:cxnChg chg="mod">
          <ac:chgData name="Rader, Nathan" userId="7244b1dd-4610-4b97-aeb0-d62ce9ae169d" providerId="ADAL" clId="{089D315D-815F-2B43-9053-F3297753A30E}" dt="2021-04-23T04:23:56.574" v="984" actId="1076"/>
          <ac:cxnSpMkLst>
            <pc:docMk/>
            <pc:sldMk cId="611033580" sldId="922"/>
            <ac:cxnSpMk id="33" creationId="{8E982713-8233-450A-924B-AA855DEB079B}"/>
          </ac:cxnSpMkLst>
        </pc:cxnChg>
        <pc:cxnChg chg="add del mod">
          <ac:chgData name="Rader, Nathan" userId="7244b1dd-4610-4b97-aeb0-d62ce9ae169d" providerId="ADAL" clId="{089D315D-815F-2B43-9053-F3297753A30E}" dt="2021-04-23T04:24:25" v="989" actId="478"/>
          <ac:cxnSpMkLst>
            <pc:docMk/>
            <pc:sldMk cId="611033580" sldId="922"/>
            <ac:cxnSpMk id="42" creationId="{3B41A7A0-66BB-8C44-BAD5-B4166FDC6F5B}"/>
          </ac:cxnSpMkLst>
        </pc:cxnChg>
        <pc:cxnChg chg="add mod">
          <ac:chgData name="Rader, Nathan" userId="7244b1dd-4610-4b97-aeb0-d62ce9ae169d" providerId="ADAL" clId="{089D315D-815F-2B43-9053-F3297753A30E}" dt="2021-04-23T04:25:08.427" v="993" actId="17032"/>
          <ac:cxnSpMkLst>
            <pc:docMk/>
            <pc:sldMk cId="611033580" sldId="922"/>
            <ac:cxnSpMk id="43" creationId="{F2072A6F-988E-E645-84CA-618A70566B15}"/>
          </ac:cxnSpMkLst>
        </pc:cxnChg>
      </pc:sldChg>
      <pc:sldChg chg="del">
        <pc:chgData name="Rader, Nathan" userId="7244b1dd-4610-4b97-aeb0-d62ce9ae169d" providerId="ADAL" clId="{089D315D-815F-2B43-9053-F3297753A30E}" dt="2021-04-29T13:33:23.550" v="1025" actId="2696"/>
        <pc:sldMkLst>
          <pc:docMk/>
          <pc:sldMk cId="2957054610" sldId="924"/>
        </pc:sldMkLst>
      </pc:sldChg>
    </pc:docChg>
  </pc:docChgLst>
  <pc:docChgLst>
    <pc:chgData name="Mundt, Elmar" userId="b694f4a4-fe46-4199-a28f-b75d190b6d85" providerId="ADAL" clId="{AC48DA27-9F59-4D4D-B34E-DFA16F5CBF4B}"/>
    <pc:docChg chg="custSel modSld">
      <pc:chgData name="Mundt, Elmar" userId="b694f4a4-fe46-4199-a28f-b75d190b6d85" providerId="ADAL" clId="{AC48DA27-9F59-4D4D-B34E-DFA16F5CBF4B}" dt="2021-04-16T12:46:53.337" v="657" actId="14100"/>
      <pc:docMkLst>
        <pc:docMk/>
      </pc:docMkLst>
      <pc:sldChg chg="addSp modSp mod">
        <pc:chgData name="Mundt, Elmar" userId="b694f4a4-fe46-4199-a28f-b75d190b6d85" providerId="ADAL" clId="{AC48DA27-9F59-4D4D-B34E-DFA16F5CBF4B}" dt="2021-04-16T12:27:54.590" v="2" actId="947"/>
        <pc:sldMkLst>
          <pc:docMk/>
          <pc:sldMk cId="3888384040" sldId="474"/>
        </pc:sldMkLst>
        <pc:spChg chg="add mod">
          <ac:chgData name="Mundt, Elmar" userId="b694f4a4-fe46-4199-a28f-b75d190b6d85" providerId="ADAL" clId="{AC48DA27-9F59-4D4D-B34E-DFA16F5CBF4B}" dt="2021-04-16T12:27:54.590" v="2" actId="947"/>
          <ac:spMkLst>
            <pc:docMk/>
            <pc:sldMk cId="3888384040" sldId="474"/>
            <ac:spMk id="3" creationId="{47DA746A-E0FB-40F1-B94E-B0C79A16FCD0}"/>
          </ac:spMkLst>
        </pc:spChg>
      </pc:sldChg>
      <pc:sldChg chg="addSp modSp mod">
        <pc:chgData name="Mundt, Elmar" userId="b694f4a4-fe46-4199-a28f-b75d190b6d85" providerId="ADAL" clId="{AC48DA27-9F59-4D4D-B34E-DFA16F5CBF4B}" dt="2021-04-16T12:29:44.734" v="153" actId="1076"/>
        <pc:sldMkLst>
          <pc:docMk/>
          <pc:sldMk cId="2759709542" sldId="834"/>
        </pc:sldMkLst>
        <pc:spChg chg="mod">
          <ac:chgData name="Mundt, Elmar" userId="b694f4a4-fe46-4199-a28f-b75d190b6d85" providerId="ADAL" clId="{AC48DA27-9F59-4D4D-B34E-DFA16F5CBF4B}" dt="2021-04-16T12:28:28.301" v="4" actId="1076"/>
          <ac:spMkLst>
            <pc:docMk/>
            <pc:sldMk cId="2759709542" sldId="834"/>
            <ac:spMk id="3" creationId="{BB5CAE44-300B-4DB1-8AD9-1B640EC727C8}"/>
          </ac:spMkLst>
        </pc:spChg>
        <pc:spChg chg="add mod">
          <ac:chgData name="Mundt, Elmar" userId="b694f4a4-fe46-4199-a28f-b75d190b6d85" providerId="ADAL" clId="{AC48DA27-9F59-4D4D-B34E-DFA16F5CBF4B}" dt="2021-04-16T12:29:44.734" v="153" actId="1076"/>
          <ac:spMkLst>
            <pc:docMk/>
            <pc:sldMk cId="2759709542" sldId="834"/>
            <ac:spMk id="6" creationId="{8559A0E3-7A21-43A2-9882-D81BEE73A640}"/>
          </ac:spMkLst>
        </pc:spChg>
      </pc:sldChg>
      <pc:sldChg chg="addSp modSp mod">
        <pc:chgData name="Mundt, Elmar" userId="b694f4a4-fe46-4199-a28f-b75d190b6d85" providerId="ADAL" clId="{AC48DA27-9F59-4D4D-B34E-DFA16F5CBF4B}" dt="2021-04-16T12:46:53.337" v="657" actId="14100"/>
        <pc:sldMkLst>
          <pc:docMk/>
          <pc:sldMk cId="1627132099" sldId="849"/>
        </pc:sldMkLst>
        <pc:spChg chg="add mod">
          <ac:chgData name="Mundt, Elmar" userId="b694f4a4-fe46-4199-a28f-b75d190b6d85" providerId="ADAL" clId="{AC48DA27-9F59-4D4D-B34E-DFA16F5CBF4B}" dt="2021-04-16T12:46:53.337" v="657" actId="14100"/>
          <ac:spMkLst>
            <pc:docMk/>
            <pc:sldMk cId="1627132099" sldId="849"/>
            <ac:spMk id="11" creationId="{64B2A5E0-6C42-49CE-A55C-84B9CAA1A74F}"/>
          </ac:spMkLst>
        </pc:spChg>
      </pc:sldChg>
      <pc:sldChg chg="addSp delSp modSp mod">
        <pc:chgData name="Mundt, Elmar" userId="b694f4a4-fe46-4199-a28f-b75d190b6d85" providerId="ADAL" clId="{AC48DA27-9F59-4D4D-B34E-DFA16F5CBF4B}" dt="2021-04-16T12:45:02.607" v="593"/>
        <pc:sldMkLst>
          <pc:docMk/>
          <pc:sldMk cId="3424724315" sldId="850"/>
        </pc:sldMkLst>
        <pc:spChg chg="add del mod">
          <ac:chgData name="Mundt, Elmar" userId="b694f4a4-fe46-4199-a28f-b75d190b6d85" providerId="ADAL" clId="{AC48DA27-9F59-4D4D-B34E-DFA16F5CBF4B}" dt="2021-04-16T12:45:01.779" v="592" actId="478"/>
          <ac:spMkLst>
            <pc:docMk/>
            <pc:sldMk cId="3424724315" sldId="850"/>
            <ac:spMk id="8" creationId="{5516D1F2-A39C-440C-B59A-50B743D25BB7}"/>
          </ac:spMkLst>
        </pc:spChg>
        <pc:spChg chg="add del mod">
          <ac:chgData name="Mundt, Elmar" userId="b694f4a4-fe46-4199-a28f-b75d190b6d85" providerId="ADAL" clId="{AC48DA27-9F59-4D4D-B34E-DFA16F5CBF4B}" dt="2021-04-16T12:37:26.044" v="204" actId="478"/>
          <ac:spMkLst>
            <pc:docMk/>
            <pc:sldMk cId="3424724315" sldId="850"/>
            <ac:spMk id="10" creationId="{4D4B6B1A-A85F-4D6A-88EB-4567B6DCABF2}"/>
          </ac:spMkLst>
        </pc:spChg>
        <pc:spChg chg="add mod">
          <ac:chgData name="Mundt, Elmar" userId="b694f4a4-fe46-4199-a28f-b75d190b6d85" providerId="ADAL" clId="{AC48DA27-9F59-4D4D-B34E-DFA16F5CBF4B}" dt="2021-04-16T12:45:02.607" v="593"/>
          <ac:spMkLst>
            <pc:docMk/>
            <pc:sldMk cId="3424724315" sldId="850"/>
            <ac:spMk id="12" creationId="{B4F2CB6D-8100-4800-BD6C-F81203927C9B}"/>
          </ac:spMkLst>
        </pc:spChg>
      </pc:sldChg>
      <pc:sldChg chg="addSp modSp mod">
        <pc:chgData name="Mundt, Elmar" userId="b694f4a4-fe46-4199-a28f-b75d190b6d85" providerId="ADAL" clId="{AC48DA27-9F59-4D4D-B34E-DFA16F5CBF4B}" dt="2021-04-16T12:44:55.724" v="591" actId="1076"/>
        <pc:sldMkLst>
          <pc:docMk/>
          <pc:sldMk cId="530366835" sldId="851"/>
        </pc:sldMkLst>
        <pc:spChg chg="mod">
          <ac:chgData name="Mundt, Elmar" userId="b694f4a4-fe46-4199-a28f-b75d190b6d85" providerId="ADAL" clId="{AC48DA27-9F59-4D4D-B34E-DFA16F5CBF4B}" dt="2021-04-16T12:40:12.568" v="207" actId="1076"/>
          <ac:spMkLst>
            <pc:docMk/>
            <pc:sldMk cId="530366835" sldId="851"/>
            <ac:spMk id="10" creationId="{D5B6F30A-C27B-4CD6-A9A9-AA3DB2C017FE}"/>
          </ac:spMkLst>
        </pc:spChg>
        <pc:spChg chg="add mod">
          <ac:chgData name="Mundt, Elmar" userId="b694f4a4-fe46-4199-a28f-b75d190b6d85" providerId="ADAL" clId="{AC48DA27-9F59-4D4D-B34E-DFA16F5CBF4B}" dt="2021-04-16T12:44:55.724" v="591" actId="1076"/>
          <ac:spMkLst>
            <pc:docMk/>
            <pc:sldMk cId="530366835" sldId="851"/>
            <ac:spMk id="12" creationId="{ED6C64B9-B4C7-4940-8992-7042CBF0B7FE}"/>
          </ac:spMkLst>
        </pc:spChg>
        <pc:spChg chg="add mod">
          <ac:chgData name="Mundt, Elmar" userId="b694f4a4-fe46-4199-a28f-b75d190b6d85" providerId="ADAL" clId="{AC48DA27-9F59-4D4D-B34E-DFA16F5CBF4B}" dt="2021-04-16T12:41:28.117" v="325" actId="6549"/>
          <ac:spMkLst>
            <pc:docMk/>
            <pc:sldMk cId="530366835" sldId="851"/>
            <ac:spMk id="13" creationId="{EE3DAFB9-21D0-4FE2-8012-DA4DC9CB65A2}"/>
          </ac:spMkLst>
        </pc:spChg>
        <pc:spChg chg="add mod">
          <ac:chgData name="Mundt, Elmar" userId="b694f4a4-fe46-4199-a28f-b75d190b6d85" providerId="ADAL" clId="{AC48DA27-9F59-4D4D-B34E-DFA16F5CBF4B}" dt="2021-04-16T12:44:17.845" v="581" actId="14100"/>
          <ac:spMkLst>
            <pc:docMk/>
            <pc:sldMk cId="530366835" sldId="851"/>
            <ac:spMk id="14" creationId="{C0A05CFA-9C91-4B52-A2A1-6E83E2213946}"/>
          </ac:spMkLst>
        </pc:spChg>
      </pc:sldChg>
      <pc:sldChg chg="addSp delSp modSp mod">
        <pc:chgData name="Mundt, Elmar" userId="b694f4a4-fe46-4199-a28f-b75d190b6d85" providerId="ADAL" clId="{AC48DA27-9F59-4D4D-B34E-DFA16F5CBF4B}" dt="2021-04-16T12:45:23.246" v="595" actId="478"/>
        <pc:sldMkLst>
          <pc:docMk/>
          <pc:sldMk cId="408860177" sldId="852"/>
        </pc:sldMkLst>
        <pc:spChg chg="add del mod">
          <ac:chgData name="Mundt, Elmar" userId="b694f4a4-fe46-4199-a28f-b75d190b6d85" providerId="ADAL" clId="{AC48DA27-9F59-4D4D-B34E-DFA16F5CBF4B}" dt="2021-04-16T12:45:23.246" v="595" actId="478"/>
          <ac:spMkLst>
            <pc:docMk/>
            <pc:sldMk cId="408860177" sldId="852"/>
            <ac:spMk id="10" creationId="{AE979C90-D115-4236-AA22-BB6E30411339}"/>
          </ac:spMkLst>
        </pc:spChg>
        <pc:spChg chg="add mod">
          <ac:chgData name="Mundt, Elmar" userId="b694f4a4-fe46-4199-a28f-b75d190b6d85" providerId="ADAL" clId="{AC48DA27-9F59-4D4D-B34E-DFA16F5CBF4B}" dt="2021-04-16T12:45:11.511" v="594"/>
          <ac:spMkLst>
            <pc:docMk/>
            <pc:sldMk cId="408860177" sldId="852"/>
            <ac:spMk id="12" creationId="{7E41E240-86D6-4D7E-80CA-EA8CDF85E0CC}"/>
          </ac:spMkLst>
        </pc:spChg>
      </pc:sldChg>
    </pc:docChg>
  </pc:docChgLst>
  <pc:docChgLst>
    <pc:chgData name="Kisliuk, Adrian (ext)" userId="S::adrian.kisliuk@external.t-systems.com::6e619ce3-2643-4cdf-9a13-b4c269650021" providerId="AD" clId="Web-{A83780BC-5EF4-52F3-E58B-F025090BB444}"/>
    <pc:docChg chg="modSld">
      <pc:chgData name="Kisliuk, Adrian (ext)" userId="S::adrian.kisliuk@external.t-systems.com::6e619ce3-2643-4cdf-9a13-b4c269650021" providerId="AD" clId="Web-{A83780BC-5EF4-52F3-E58B-F025090BB444}" dt="2021-04-26T07:29:58.299" v="0" actId="20577"/>
      <pc:docMkLst>
        <pc:docMk/>
      </pc:docMkLst>
      <pc:sldChg chg="modSp">
        <pc:chgData name="Kisliuk, Adrian (ext)" userId="S::adrian.kisliuk@external.t-systems.com::6e619ce3-2643-4cdf-9a13-b4c269650021" providerId="AD" clId="Web-{A83780BC-5EF4-52F3-E58B-F025090BB444}" dt="2021-04-26T07:29:58.299" v="0" actId="20577"/>
        <pc:sldMkLst>
          <pc:docMk/>
          <pc:sldMk cId="2545986200" sldId="919"/>
        </pc:sldMkLst>
        <pc:spChg chg="mod">
          <ac:chgData name="Kisliuk, Adrian (ext)" userId="S::adrian.kisliuk@external.t-systems.com::6e619ce3-2643-4cdf-9a13-b4c269650021" providerId="AD" clId="Web-{A83780BC-5EF4-52F3-E58B-F025090BB444}" dt="2021-04-26T07:29:58.299" v="0" actId="20577"/>
          <ac:spMkLst>
            <pc:docMk/>
            <pc:sldMk cId="2545986200" sldId="919"/>
            <ac:spMk id="2" creationId="{69A07231-9C27-4042-A176-76F50926ECA4}"/>
          </ac:spMkLst>
        </pc:spChg>
      </pc:sldChg>
    </pc:docChg>
  </pc:docChgLst>
  <pc:docChgLst>
    <pc:chgData name="Adrian Kisliuk" userId="81f189f0-3ed9-4f29-a7b1-770f7af93676" providerId="ADAL" clId="{5A144CB1-B712-4C6C-AC93-F77FD7534CC5}"/>
    <pc:docChg chg="modSld">
      <pc:chgData name="Adrian Kisliuk" userId="81f189f0-3ed9-4f29-a7b1-770f7af93676" providerId="ADAL" clId="{5A144CB1-B712-4C6C-AC93-F77FD7534CC5}" dt="2021-02-10T20:26:53.062" v="2" actId="6549"/>
      <pc:docMkLst>
        <pc:docMk/>
      </pc:docMkLst>
      <pc:sldChg chg="modNotesTx">
        <pc:chgData name="Adrian Kisliuk" userId="81f189f0-3ed9-4f29-a7b1-770f7af93676" providerId="ADAL" clId="{5A144CB1-B712-4C6C-AC93-F77FD7534CC5}" dt="2021-02-10T20:26:47.320" v="1" actId="6549"/>
        <pc:sldMkLst>
          <pc:docMk/>
          <pc:sldMk cId="1183502899" sldId="810"/>
        </pc:sldMkLst>
      </pc:sldChg>
      <pc:sldChg chg="modNotesTx">
        <pc:chgData name="Adrian Kisliuk" userId="81f189f0-3ed9-4f29-a7b1-770f7af93676" providerId="ADAL" clId="{5A144CB1-B712-4C6C-AC93-F77FD7534CC5}" dt="2021-02-10T20:26:53.062" v="2" actId="6549"/>
        <pc:sldMkLst>
          <pc:docMk/>
          <pc:sldMk cId="381622030" sldId="811"/>
        </pc:sldMkLst>
      </pc:sldChg>
    </pc:docChg>
  </pc:docChgLst>
  <pc:docChgLst>
    <pc:chgData name="Rüdiger Schulze" userId="S::ruediger.schulze@detecon.com::4da61761-5289-4b31-8291-d48cdf0951bf" providerId="AD" clId="Web-{5C1C8AC2-A08B-4FFA-8304-2C0F9E7C924E}"/>
    <pc:docChg chg="delSld modSld">
      <pc:chgData name="Rüdiger Schulze" userId="S::ruediger.schulze@detecon.com::4da61761-5289-4b31-8291-d48cdf0951bf" providerId="AD" clId="Web-{5C1C8AC2-A08B-4FFA-8304-2C0F9E7C924E}" dt="2021-02-10T20:23:11.524" v="360"/>
      <pc:docMkLst>
        <pc:docMk/>
      </pc:docMkLst>
      <pc:sldChg chg="del">
        <pc:chgData name="Rüdiger Schulze" userId="S::ruediger.schulze@detecon.com::4da61761-5289-4b31-8291-d48cdf0951bf" providerId="AD" clId="Web-{5C1C8AC2-A08B-4FFA-8304-2C0F9E7C924E}" dt="2021-02-10T20:20:54.786" v="0"/>
        <pc:sldMkLst>
          <pc:docMk/>
          <pc:sldMk cId="0" sldId="478"/>
        </pc:sldMkLst>
      </pc:sldChg>
      <pc:sldChg chg="modSp">
        <pc:chgData name="Rüdiger Schulze" userId="S::ruediger.schulze@detecon.com::4da61761-5289-4b31-8291-d48cdf0951bf" providerId="AD" clId="Web-{5C1C8AC2-A08B-4FFA-8304-2C0F9E7C924E}" dt="2021-02-10T20:23:11.524" v="360"/>
        <pc:sldMkLst>
          <pc:docMk/>
          <pc:sldMk cId="1956313589" sldId="799"/>
        </pc:sldMkLst>
        <pc:graphicFrameChg chg="mod modGraphic">
          <ac:chgData name="Rüdiger Schulze" userId="S::ruediger.schulze@detecon.com::4da61761-5289-4b31-8291-d48cdf0951bf" providerId="AD" clId="Web-{5C1C8AC2-A08B-4FFA-8304-2C0F9E7C924E}" dt="2021-02-10T20:23:11.524" v="360"/>
          <ac:graphicFrameMkLst>
            <pc:docMk/>
            <pc:sldMk cId="1956313589" sldId="799"/>
            <ac:graphicFrameMk id="11" creationId="{FF10CA16-74F9-4260-93E9-F994C8B3E186}"/>
          </ac:graphicFrameMkLst>
        </pc:graphicFrameChg>
      </pc:sldChg>
    </pc:docChg>
  </pc:docChgLst>
  <pc:docChgLst>
    <pc:chgData name="Rader, Nathan" userId="7244b1dd-4610-4b97-aeb0-d62ce9ae169d" providerId="ADAL" clId="{38BDBE99-BE3D-D243-B839-A104B1C27019}"/>
    <pc:docChg chg="custSel modSld">
      <pc:chgData name="Rader, Nathan" userId="7244b1dd-4610-4b97-aeb0-d62ce9ae169d" providerId="ADAL" clId="{38BDBE99-BE3D-D243-B839-A104B1C27019}" dt="2021-04-14T11:30:49.426" v="379"/>
      <pc:docMkLst>
        <pc:docMk/>
      </pc:docMkLst>
      <pc:sldChg chg="addSp modSp mod">
        <pc:chgData name="Rader, Nathan" userId="7244b1dd-4610-4b97-aeb0-d62ce9ae169d" providerId="ADAL" clId="{38BDBE99-BE3D-D243-B839-A104B1C27019}" dt="2021-04-14T11:23:08.843" v="115" actId="20577"/>
        <pc:sldMkLst>
          <pc:docMk/>
          <pc:sldMk cId="3217164513" sldId="833"/>
        </pc:sldMkLst>
        <pc:spChg chg="add mod">
          <ac:chgData name="Rader, Nathan" userId="7244b1dd-4610-4b97-aeb0-d62ce9ae169d" providerId="ADAL" clId="{38BDBE99-BE3D-D243-B839-A104B1C27019}" dt="2021-04-14T11:23:08.843" v="115" actId="20577"/>
          <ac:spMkLst>
            <pc:docMk/>
            <pc:sldMk cId="3217164513" sldId="833"/>
            <ac:spMk id="3" creationId="{EE2DF855-E626-2A48-BF4D-6B256EDE2B39}"/>
          </ac:spMkLst>
        </pc:spChg>
      </pc:sldChg>
      <pc:sldChg chg="addSp delSp modSp mod addCm modCm">
        <pc:chgData name="Rader, Nathan" userId="7244b1dd-4610-4b97-aeb0-d62ce9ae169d" providerId="ADAL" clId="{38BDBE99-BE3D-D243-B839-A104B1C27019}" dt="2021-04-14T11:27:52.133" v="368"/>
        <pc:sldMkLst>
          <pc:docMk/>
          <pc:sldMk cId="1627132099" sldId="849"/>
        </pc:sldMkLst>
        <pc:spChg chg="add del mod">
          <ac:chgData name="Rader, Nathan" userId="7244b1dd-4610-4b97-aeb0-d62ce9ae169d" providerId="ADAL" clId="{38BDBE99-BE3D-D243-B839-A104B1C27019}" dt="2021-04-14T11:25:31.684" v="206"/>
          <ac:spMkLst>
            <pc:docMk/>
            <pc:sldMk cId="1627132099" sldId="849"/>
            <ac:spMk id="3" creationId="{7F829E54-9AE3-3A4F-9ED6-9DE0B384AEEC}"/>
          </ac:spMkLst>
        </pc:spChg>
        <pc:spChg chg="add del mod">
          <ac:chgData name="Rader, Nathan" userId="7244b1dd-4610-4b97-aeb0-d62ce9ae169d" providerId="ADAL" clId="{38BDBE99-BE3D-D243-B839-A104B1C27019}" dt="2021-04-14T11:27:13.980" v="366" actId="478"/>
          <ac:spMkLst>
            <pc:docMk/>
            <pc:sldMk cId="1627132099" sldId="849"/>
            <ac:spMk id="9" creationId="{566AA3D2-C893-F74F-AE95-7D12BF7E8B43}"/>
          </ac:spMkLst>
        </pc:spChg>
      </pc:sldChg>
      <pc:sldChg chg="addSp modSp mod">
        <pc:chgData name="Rader, Nathan" userId="7244b1dd-4610-4b97-aeb0-d62ce9ae169d" providerId="ADAL" clId="{38BDBE99-BE3D-D243-B839-A104B1C27019}" dt="2021-04-14T11:24:44.156" v="204" actId="20577"/>
        <pc:sldMkLst>
          <pc:docMk/>
          <pc:sldMk cId="2552030312" sldId="854"/>
        </pc:sldMkLst>
        <pc:spChg chg="add mod">
          <ac:chgData name="Rader, Nathan" userId="7244b1dd-4610-4b97-aeb0-d62ce9ae169d" providerId="ADAL" clId="{38BDBE99-BE3D-D243-B839-A104B1C27019}" dt="2021-04-14T11:24:44.156" v="204" actId="20577"/>
          <ac:spMkLst>
            <pc:docMk/>
            <pc:sldMk cId="2552030312" sldId="854"/>
            <ac:spMk id="3" creationId="{3371DF3F-79CA-E64F-A14E-989CB784861D}"/>
          </ac:spMkLst>
        </pc:spChg>
      </pc:sldChg>
      <pc:sldChg chg="addCm modCm">
        <pc:chgData name="Rader, Nathan" userId="7244b1dd-4610-4b97-aeb0-d62ce9ae169d" providerId="ADAL" clId="{38BDBE99-BE3D-D243-B839-A104B1C27019}" dt="2021-04-14T11:29:57.822" v="377"/>
        <pc:sldMkLst>
          <pc:docMk/>
          <pc:sldMk cId="1291646818" sldId="867"/>
        </pc:sldMkLst>
      </pc:sldChg>
      <pc:sldChg chg="addCm modCm">
        <pc:chgData name="Rader, Nathan" userId="7244b1dd-4610-4b97-aeb0-d62ce9ae169d" providerId="ADAL" clId="{38BDBE99-BE3D-D243-B839-A104B1C27019}" dt="2021-04-14T11:30:49.426" v="379"/>
        <pc:sldMkLst>
          <pc:docMk/>
          <pc:sldMk cId="1584059014" sldId="869"/>
        </pc:sldMkLst>
      </pc:sldChg>
      <pc:sldChg chg="modSp mod addCm modCm">
        <pc:chgData name="Rader, Nathan" userId="7244b1dd-4610-4b97-aeb0-d62ce9ae169d" providerId="ADAL" clId="{38BDBE99-BE3D-D243-B839-A104B1C27019}" dt="2021-04-14T11:29:24.656" v="375"/>
        <pc:sldMkLst>
          <pc:docMk/>
          <pc:sldMk cId="809706117" sldId="870"/>
        </pc:sldMkLst>
        <pc:spChg chg="mod">
          <ac:chgData name="Rader, Nathan" userId="7244b1dd-4610-4b97-aeb0-d62ce9ae169d" providerId="ADAL" clId="{38BDBE99-BE3D-D243-B839-A104B1C27019}" dt="2021-04-14T11:28:12.617" v="373" actId="20577"/>
          <ac:spMkLst>
            <pc:docMk/>
            <pc:sldMk cId="809706117" sldId="870"/>
            <ac:spMk id="2" creationId="{DE936FAF-2E76-49E3-A26B-EE542092B6EF}"/>
          </ac:spMkLst>
        </pc:spChg>
      </pc:sldChg>
    </pc:docChg>
  </pc:docChgLst>
  <pc:docChgLst>
    <pc:chgData name="Damker, Herbert" userId="S::herbert.damker@telekom.de::37ff36be-0e4d-42c3-ac06-7b904f0f6b24" providerId="AD" clId="Web-{1E1C8C75-69D5-181F-879C-298DF9914097}"/>
    <pc:docChg chg="">
      <pc:chgData name="Damker, Herbert" userId="S::herbert.damker@telekom.de::37ff36be-0e4d-42c3-ac06-7b904f0f6b24" providerId="AD" clId="Web-{1E1C8C75-69D5-181F-879C-298DF9914097}" dt="2021-04-23T15:51:00.146" v="1"/>
      <pc:docMkLst>
        <pc:docMk/>
      </pc:docMkLst>
      <pc:sldChg chg="addCm">
        <pc:chgData name="Damker, Herbert" userId="S::herbert.damker@telekom.de::37ff36be-0e4d-42c3-ac06-7b904f0f6b24" providerId="AD" clId="Web-{1E1C8C75-69D5-181F-879C-298DF9914097}" dt="2021-04-23T15:51:00.146" v="1"/>
        <pc:sldMkLst>
          <pc:docMk/>
          <pc:sldMk cId="1076232009" sldId="913"/>
        </pc:sldMkLst>
      </pc:sldChg>
    </pc:docChg>
  </pc:docChgLst>
  <pc:docChgLst>
    <pc:chgData name="Kisliuk, Adrian (ext)" userId="S::adrian.kisliuk@external.t-systems.com::6e619ce3-2643-4cdf-9a13-b4c269650021" providerId="AD" clId="Web-{EC1B3B29-17AC-2E5F-8155-4342480EF53D}"/>
    <pc:docChg chg="modSld">
      <pc:chgData name="Kisliuk, Adrian (ext)" userId="S::adrian.kisliuk@external.t-systems.com::6e619ce3-2643-4cdf-9a13-b4c269650021" providerId="AD" clId="Web-{EC1B3B29-17AC-2E5F-8155-4342480EF53D}" dt="2021-03-24T19:57:03.095" v="32" actId="20577"/>
      <pc:docMkLst>
        <pc:docMk/>
      </pc:docMkLst>
      <pc:sldChg chg="modSp">
        <pc:chgData name="Kisliuk, Adrian (ext)" userId="S::adrian.kisliuk@external.t-systems.com::6e619ce3-2643-4cdf-9a13-b4c269650021" providerId="AD" clId="Web-{EC1B3B29-17AC-2E5F-8155-4342480EF53D}" dt="2021-03-24T19:57:03.095" v="32" actId="20577"/>
        <pc:sldMkLst>
          <pc:docMk/>
          <pc:sldMk cId="3131407806" sldId="845"/>
        </pc:sldMkLst>
        <pc:spChg chg="mod">
          <ac:chgData name="Kisliuk, Adrian (ext)" userId="S::adrian.kisliuk@external.t-systems.com::6e619ce3-2643-4cdf-9a13-b4c269650021" providerId="AD" clId="Web-{EC1B3B29-17AC-2E5F-8155-4342480EF53D}" dt="2021-03-24T19:57:03.095" v="32" actId="20577"/>
          <ac:spMkLst>
            <pc:docMk/>
            <pc:sldMk cId="3131407806" sldId="845"/>
            <ac:spMk id="2" creationId="{9F7B6424-8ABE-4501-9938-BBDF5E5441F2}"/>
          </ac:spMkLst>
        </pc:spChg>
      </pc:sldChg>
      <pc:sldChg chg="modSp">
        <pc:chgData name="Kisliuk, Adrian (ext)" userId="S::adrian.kisliuk@external.t-systems.com::6e619ce3-2643-4cdf-9a13-b4c269650021" providerId="AD" clId="Web-{EC1B3B29-17AC-2E5F-8155-4342480EF53D}" dt="2021-03-24T19:56:59.532" v="30" actId="20577"/>
        <pc:sldMkLst>
          <pc:docMk/>
          <pc:sldMk cId="1067639731" sldId="847"/>
        </pc:sldMkLst>
        <pc:spChg chg="mod">
          <ac:chgData name="Kisliuk, Adrian (ext)" userId="S::adrian.kisliuk@external.t-systems.com::6e619ce3-2643-4cdf-9a13-b4c269650021" providerId="AD" clId="Web-{EC1B3B29-17AC-2E5F-8155-4342480EF53D}" dt="2021-03-24T19:56:59.532" v="30" actId="20577"/>
          <ac:spMkLst>
            <pc:docMk/>
            <pc:sldMk cId="1067639731" sldId="847"/>
            <ac:spMk id="2" creationId="{9F7B6424-8ABE-4501-9938-BBDF5E5441F2}"/>
          </ac:spMkLst>
        </pc:spChg>
      </pc:sldChg>
      <pc:sldChg chg="modSp">
        <pc:chgData name="Kisliuk, Adrian (ext)" userId="S::adrian.kisliuk@external.t-systems.com::6e619ce3-2643-4cdf-9a13-b4c269650021" providerId="AD" clId="Web-{EC1B3B29-17AC-2E5F-8155-4342480EF53D}" dt="2021-03-24T19:56:57.063" v="28" actId="20577"/>
        <pc:sldMkLst>
          <pc:docMk/>
          <pc:sldMk cId="1129299907" sldId="848"/>
        </pc:sldMkLst>
        <pc:spChg chg="mod">
          <ac:chgData name="Kisliuk, Adrian (ext)" userId="S::adrian.kisliuk@external.t-systems.com::6e619ce3-2643-4cdf-9a13-b4c269650021" providerId="AD" clId="Web-{EC1B3B29-17AC-2E5F-8155-4342480EF53D}" dt="2021-03-24T19:56:57.063" v="28" actId="20577"/>
          <ac:spMkLst>
            <pc:docMk/>
            <pc:sldMk cId="1129299907" sldId="848"/>
            <ac:spMk id="2" creationId="{9F7B6424-8ABE-4501-9938-BBDF5E5441F2}"/>
          </ac:spMkLst>
        </pc:spChg>
      </pc:sldChg>
    </pc:docChg>
  </pc:docChgLst>
  <pc:docChgLst>
    <pc:chgData name="Rüdiger Schulze" userId="S::ruediger.schulze@detecon.com::4da61761-5289-4b31-8291-d48cdf0951bf" providerId="AD" clId="Web-{3F5B7331-A6A6-4094-B540-0468FE887BCC}"/>
    <pc:docChg chg="modSld">
      <pc:chgData name="Rüdiger Schulze" userId="S::ruediger.schulze@detecon.com::4da61761-5289-4b31-8291-d48cdf0951bf" providerId="AD" clId="Web-{3F5B7331-A6A6-4094-B540-0468FE887BCC}" dt="2021-02-11T19:05:54.466" v="105" actId="20577"/>
      <pc:docMkLst>
        <pc:docMk/>
      </pc:docMkLst>
      <pc:sldChg chg="modSp">
        <pc:chgData name="Rüdiger Schulze" userId="S::ruediger.schulze@detecon.com::4da61761-5289-4b31-8291-d48cdf0951bf" providerId="AD" clId="Web-{3F5B7331-A6A6-4094-B540-0468FE887BCC}" dt="2021-02-11T19:05:54.466" v="105" actId="20577"/>
        <pc:sldMkLst>
          <pc:docMk/>
          <pc:sldMk cId="3936041182" sldId="814"/>
        </pc:sldMkLst>
        <pc:spChg chg="mod">
          <ac:chgData name="Rüdiger Schulze" userId="S::ruediger.schulze@detecon.com::4da61761-5289-4b31-8291-d48cdf0951bf" providerId="AD" clId="Web-{3F5B7331-A6A6-4094-B540-0468FE887BCC}" dt="2021-02-11T19:05:54.466" v="105" actId="20577"/>
          <ac:spMkLst>
            <pc:docMk/>
            <pc:sldMk cId="3936041182" sldId="814"/>
            <ac:spMk id="22" creationId="{00000000-0000-0000-0000-000000000000}"/>
          </ac:spMkLst>
        </pc:spChg>
        <pc:spChg chg="mod">
          <ac:chgData name="Rüdiger Schulze" userId="S::ruediger.schulze@detecon.com::4da61761-5289-4b31-8291-d48cdf0951bf" providerId="AD" clId="Web-{3F5B7331-A6A6-4094-B540-0468FE887BCC}" dt="2021-02-11T19:05:13.465" v="44" actId="20577"/>
          <ac:spMkLst>
            <pc:docMk/>
            <pc:sldMk cId="3936041182" sldId="814"/>
            <ac:spMk id="24" creationId="{00000000-0000-0000-0000-000000000000}"/>
          </ac:spMkLst>
        </pc:spChg>
      </pc:sldChg>
    </pc:docChg>
  </pc:docChgLst>
  <pc:docChgLst>
    <pc:chgData name="Adrian Kisliuk" userId="81f189f0-3ed9-4f29-a7b1-770f7af93676" providerId="ADAL" clId="{670F5C60-D0F5-4CB1-8AF6-47F64737C1F7}"/>
    <pc:docChg chg="undo custSel addSld delSld modSld sldOrd">
      <pc:chgData name="Adrian Kisliuk" userId="81f189f0-3ed9-4f29-a7b1-770f7af93676" providerId="ADAL" clId="{670F5C60-D0F5-4CB1-8AF6-47F64737C1F7}" dt="2021-03-03T19:21:38.644" v="1307" actId="20577"/>
      <pc:docMkLst>
        <pc:docMk/>
      </pc:docMkLst>
      <pc:sldChg chg="delSp modSp mod">
        <pc:chgData name="Adrian Kisliuk" userId="81f189f0-3ed9-4f29-a7b1-770f7af93676" providerId="ADAL" clId="{670F5C60-D0F5-4CB1-8AF6-47F64737C1F7}" dt="2021-03-03T18:45:37.167" v="1297" actId="20577"/>
        <pc:sldMkLst>
          <pc:docMk/>
          <pc:sldMk cId="3888384040" sldId="474"/>
        </pc:sldMkLst>
        <pc:spChg chg="del">
          <ac:chgData name="Adrian Kisliuk" userId="81f189f0-3ed9-4f29-a7b1-770f7af93676" providerId="ADAL" clId="{670F5C60-D0F5-4CB1-8AF6-47F64737C1F7}" dt="2021-03-03T18:09:21.718" v="1287" actId="478"/>
          <ac:spMkLst>
            <pc:docMk/>
            <pc:sldMk cId="3888384040" sldId="474"/>
            <ac:spMk id="3" creationId="{8522D39E-A14F-4CA8-8FB5-A0F1F8E1B641}"/>
          </ac:spMkLst>
        </pc:spChg>
        <pc:spChg chg="mod">
          <ac:chgData name="Adrian Kisliuk" userId="81f189f0-3ed9-4f29-a7b1-770f7af93676" providerId="ADAL" clId="{670F5C60-D0F5-4CB1-8AF6-47F64737C1F7}" dt="2021-03-03T18:45:37.167" v="1297" actId="20577"/>
          <ac:spMkLst>
            <pc:docMk/>
            <pc:sldMk cId="3888384040" sldId="474"/>
            <ac:spMk id="10" creationId="{00000000-0000-0000-0000-000000000000}"/>
          </ac:spMkLst>
        </pc:spChg>
      </pc:sldChg>
      <pc:sldChg chg="modSp mod">
        <pc:chgData name="Adrian Kisliuk" userId="81f189f0-3ed9-4f29-a7b1-770f7af93676" providerId="ADAL" clId="{670F5C60-D0F5-4CB1-8AF6-47F64737C1F7}" dt="2021-03-03T15:00:06.785" v="842" actId="20577"/>
        <pc:sldMkLst>
          <pc:docMk/>
          <pc:sldMk cId="2509517720" sldId="820"/>
        </pc:sldMkLst>
        <pc:spChg chg="mod">
          <ac:chgData name="Adrian Kisliuk" userId="81f189f0-3ed9-4f29-a7b1-770f7af93676" providerId="ADAL" clId="{670F5C60-D0F5-4CB1-8AF6-47F64737C1F7}" dt="2021-03-03T15:00:06.785" v="842" actId="20577"/>
          <ac:spMkLst>
            <pc:docMk/>
            <pc:sldMk cId="2509517720" sldId="820"/>
            <ac:spMk id="4" creationId="{00000000-0000-0000-0000-000000000000}"/>
          </ac:spMkLst>
        </pc:spChg>
      </pc:sldChg>
      <pc:sldChg chg="modSp mod">
        <pc:chgData name="Adrian Kisliuk" userId="81f189f0-3ed9-4f29-a7b1-770f7af93676" providerId="ADAL" clId="{670F5C60-D0F5-4CB1-8AF6-47F64737C1F7}" dt="2021-03-03T18:44:18.412" v="1295" actId="20577"/>
        <pc:sldMkLst>
          <pc:docMk/>
          <pc:sldMk cId="1161844579" sldId="821"/>
        </pc:sldMkLst>
        <pc:spChg chg="mod">
          <ac:chgData name="Adrian Kisliuk" userId="81f189f0-3ed9-4f29-a7b1-770f7af93676" providerId="ADAL" clId="{670F5C60-D0F5-4CB1-8AF6-47F64737C1F7}" dt="2021-03-03T14:59:44.596" v="789" actId="20577"/>
          <ac:spMkLst>
            <pc:docMk/>
            <pc:sldMk cId="1161844579" sldId="821"/>
            <ac:spMk id="4" creationId="{00000000-0000-0000-0000-000000000000}"/>
          </ac:spMkLst>
        </pc:spChg>
        <pc:spChg chg="mod">
          <ac:chgData name="Adrian Kisliuk" userId="81f189f0-3ed9-4f29-a7b1-770f7af93676" providerId="ADAL" clId="{670F5C60-D0F5-4CB1-8AF6-47F64737C1F7}" dt="2021-03-03T14:37:19.280" v="268" actId="20577"/>
          <ac:spMkLst>
            <pc:docMk/>
            <pc:sldMk cId="1161844579" sldId="821"/>
            <ac:spMk id="9" creationId="{D6E18E4B-4E9B-4CFD-AF88-29C3A515D1B4}"/>
          </ac:spMkLst>
        </pc:spChg>
        <pc:spChg chg="mod">
          <ac:chgData name="Adrian Kisliuk" userId="81f189f0-3ed9-4f29-a7b1-770f7af93676" providerId="ADAL" clId="{670F5C60-D0F5-4CB1-8AF6-47F64737C1F7}" dt="2021-03-03T15:12:11.022" v="1184" actId="20577"/>
          <ac:spMkLst>
            <pc:docMk/>
            <pc:sldMk cId="1161844579" sldId="821"/>
            <ac:spMk id="17" creationId="{28DC8D71-92A3-47AA-97BB-5BCFF31B461A}"/>
          </ac:spMkLst>
        </pc:spChg>
        <pc:spChg chg="mod">
          <ac:chgData name="Adrian Kisliuk" userId="81f189f0-3ed9-4f29-a7b1-770f7af93676" providerId="ADAL" clId="{670F5C60-D0F5-4CB1-8AF6-47F64737C1F7}" dt="2021-03-03T18:44:18.412" v="1295" actId="20577"/>
          <ac:spMkLst>
            <pc:docMk/>
            <pc:sldMk cId="1161844579" sldId="821"/>
            <ac:spMk id="18" creationId="{A4FA0F6C-1044-40F3-A415-376719684F27}"/>
          </ac:spMkLst>
        </pc:spChg>
      </pc:sldChg>
      <pc:sldChg chg="del">
        <pc:chgData name="Adrian Kisliuk" userId="81f189f0-3ed9-4f29-a7b1-770f7af93676" providerId="ADAL" clId="{670F5C60-D0F5-4CB1-8AF6-47F64737C1F7}" dt="2021-03-03T13:59:45.059" v="1" actId="47"/>
        <pc:sldMkLst>
          <pc:docMk/>
          <pc:sldMk cId="3742493326" sldId="830"/>
        </pc:sldMkLst>
      </pc:sldChg>
      <pc:sldChg chg="modSp mod">
        <pc:chgData name="Adrian Kisliuk" userId="81f189f0-3ed9-4f29-a7b1-770f7af93676" providerId="ADAL" clId="{670F5C60-D0F5-4CB1-8AF6-47F64737C1F7}" dt="2021-03-03T18:43:27.045" v="1294" actId="20577"/>
        <pc:sldMkLst>
          <pc:docMk/>
          <pc:sldMk cId="3217164513" sldId="833"/>
        </pc:sldMkLst>
        <pc:spChg chg="mod">
          <ac:chgData name="Adrian Kisliuk" userId="81f189f0-3ed9-4f29-a7b1-770f7af93676" providerId="ADAL" clId="{670F5C60-D0F5-4CB1-8AF6-47F64737C1F7}" dt="2021-03-03T15:14:49.467" v="1278" actId="20577"/>
          <ac:spMkLst>
            <pc:docMk/>
            <pc:sldMk cId="3217164513" sldId="833"/>
            <ac:spMk id="2" creationId="{50E68478-280C-4B71-A2DA-1A37303CE9F7}"/>
          </ac:spMkLst>
        </pc:spChg>
        <pc:spChg chg="mod">
          <ac:chgData name="Adrian Kisliuk" userId="81f189f0-3ed9-4f29-a7b1-770f7af93676" providerId="ADAL" clId="{670F5C60-D0F5-4CB1-8AF6-47F64737C1F7}" dt="2021-03-03T18:43:27.045" v="1294" actId="20577"/>
          <ac:spMkLst>
            <pc:docMk/>
            <pc:sldMk cId="3217164513" sldId="833"/>
            <ac:spMk id="31" creationId="{1BB83D65-74FF-4A94-8BE0-D5B4D19D7974}"/>
          </ac:spMkLst>
        </pc:spChg>
        <pc:spChg chg="mod">
          <ac:chgData name="Adrian Kisliuk" userId="81f189f0-3ed9-4f29-a7b1-770f7af93676" providerId="ADAL" clId="{670F5C60-D0F5-4CB1-8AF6-47F64737C1F7}" dt="2021-03-03T18:43:10.725" v="1293" actId="20577"/>
          <ac:spMkLst>
            <pc:docMk/>
            <pc:sldMk cId="3217164513" sldId="833"/>
            <ac:spMk id="40" creationId="{4A8C49D1-E95B-458C-806E-968AC60A73CC}"/>
          </ac:spMkLst>
        </pc:spChg>
        <pc:spChg chg="mod">
          <ac:chgData name="Adrian Kisliuk" userId="81f189f0-3ed9-4f29-a7b1-770f7af93676" providerId="ADAL" clId="{670F5C60-D0F5-4CB1-8AF6-47F64737C1F7}" dt="2021-03-03T18:43:00.038" v="1291" actId="20577"/>
          <ac:spMkLst>
            <pc:docMk/>
            <pc:sldMk cId="3217164513" sldId="833"/>
            <ac:spMk id="69" creationId="{0B5DCB8A-087B-4670-9212-F2E3FEC89102}"/>
          </ac:spMkLst>
        </pc:spChg>
        <pc:spChg chg="mod">
          <ac:chgData name="Adrian Kisliuk" userId="81f189f0-3ed9-4f29-a7b1-770f7af93676" providerId="ADAL" clId="{670F5C60-D0F5-4CB1-8AF6-47F64737C1F7}" dt="2021-03-03T18:43:08.430" v="1292" actId="20577"/>
          <ac:spMkLst>
            <pc:docMk/>
            <pc:sldMk cId="3217164513" sldId="833"/>
            <ac:spMk id="77" creationId="{11DCE4A2-056D-42ED-8D6F-D3406FF41A32}"/>
          </ac:spMkLst>
        </pc:spChg>
      </pc:sldChg>
      <pc:sldChg chg="modSp mod">
        <pc:chgData name="Adrian Kisliuk" userId="81f189f0-3ed9-4f29-a7b1-770f7af93676" providerId="ADAL" clId="{670F5C60-D0F5-4CB1-8AF6-47F64737C1F7}" dt="2021-03-03T15:00:43.186" v="859" actId="20577"/>
        <pc:sldMkLst>
          <pc:docMk/>
          <pc:sldMk cId="2386691843" sldId="835"/>
        </pc:sldMkLst>
        <pc:spChg chg="mod">
          <ac:chgData name="Adrian Kisliuk" userId="81f189f0-3ed9-4f29-a7b1-770f7af93676" providerId="ADAL" clId="{670F5C60-D0F5-4CB1-8AF6-47F64737C1F7}" dt="2021-03-03T15:00:43.186" v="859" actId="20577"/>
          <ac:spMkLst>
            <pc:docMk/>
            <pc:sldMk cId="2386691843" sldId="835"/>
            <ac:spMk id="2" creationId="{736DD3AB-E3D8-451A-A2E0-B5EE4A7F1EDB}"/>
          </ac:spMkLst>
        </pc:spChg>
      </pc:sldChg>
      <pc:sldChg chg="addSp delSp modSp">
        <pc:chgData name="Adrian Kisliuk" userId="81f189f0-3ed9-4f29-a7b1-770f7af93676" providerId="ADAL" clId="{670F5C60-D0F5-4CB1-8AF6-47F64737C1F7}" dt="2021-03-03T18:00:54.147" v="1286" actId="1076"/>
        <pc:sldMkLst>
          <pc:docMk/>
          <pc:sldMk cId="692313280" sldId="839"/>
        </pc:sldMkLst>
        <pc:picChg chg="add mod">
          <ac:chgData name="Adrian Kisliuk" userId="81f189f0-3ed9-4f29-a7b1-770f7af93676" providerId="ADAL" clId="{670F5C60-D0F5-4CB1-8AF6-47F64737C1F7}" dt="2021-03-03T18:00:54.147" v="1286" actId="1076"/>
          <ac:picMkLst>
            <pc:docMk/>
            <pc:sldMk cId="692313280" sldId="839"/>
            <ac:picMk id="1026" creationId="{EB6A47A3-FF31-4D50-8389-EFE753E33206}"/>
          </ac:picMkLst>
        </pc:picChg>
        <pc:picChg chg="del">
          <ac:chgData name="Adrian Kisliuk" userId="81f189f0-3ed9-4f29-a7b1-770f7af93676" providerId="ADAL" clId="{670F5C60-D0F5-4CB1-8AF6-47F64737C1F7}" dt="2021-03-03T18:00:43.275" v="1283" actId="478"/>
          <ac:picMkLst>
            <pc:docMk/>
            <pc:sldMk cId="692313280" sldId="839"/>
            <ac:picMk id="1042" creationId="{2A0DC546-AED0-46B1-854D-938E7BD3C3B3}"/>
          </ac:picMkLst>
        </pc:picChg>
      </pc:sldChg>
      <pc:sldChg chg="del">
        <pc:chgData name="Adrian Kisliuk" userId="81f189f0-3ed9-4f29-a7b1-770f7af93676" providerId="ADAL" clId="{670F5C60-D0F5-4CB1-8AF6-47F64737C1F7}" dt="2021-03-03T13:59:32.787" v="0" actId="47"/>
        <pc:sldMkLst>
          <pc:docMk/>
          <pc:sldMk cId="752474259" sldId="841"/>
        </pc:sldMkLst>
      </pc:sldChg>
      <pc:sldChg chg="del">
        <pc:chgData name="Adrian Kisliuk" userId="81f189f0-3ed9-4f29-a7b1-770f7af93676" providerId="ADAL" clId="{670F5C60-D0F5-4CB1-8AF6-47F64737C1F7}" dt="2021-03-03T13:59:47.972" v="2" actId="47"/>
        <pc:sldMkLst>
          <pc:docMk/>
          <pc:sldMk cId="3542610643" sldId="842"/>
        </pc:sldMkLst>
      </pc:sldChg>
      <pc:sldChg chg="addSp delSp modSp mod">
        <pc:chgData name="Adrian Kisliuk" userId="81f189f0-3ed9-4f29-a7b1-770f7af93676" providerId="ADAL" clId="{670F5C60-D0F5-4CB1-8AF6-47F64737C1F7}" dt="2021-03-03T18:55:11.746" v="1303" actId="20577"/>
        <pc:sldMkLst>
          <pc:docMk/>
          <pc:sldMk cId="44353695" sldId="843"/>
        </pc:sldMkLst>
        <pc:spChg chg="mod">
          <ac:chgData name="Adrian Kisliuk" userId="81f189f0-3ed9-4f29-a7b1-770f7af93676" providerId="ADAL" clId="{670F5C60-D0F5-4CB1-8AF6-47F64737C1F7}" dt="2021-03-03T14:59:28.654" v="751" actId="20577"/>
          <ac:spMkLst>
            <pc:docMk/>
            <pc:sldMk cId="44353695" sldId="843"/>
            <ac:spMk id="4" creationId="{00000000-0000-0000-0000-000000000000}"/>
          </ac:spMkLst>
        </pc:spChg>
        <pc:spChg chg="mod">
          <ac:chgData name="Adrian Kisliuk" userId="81f189f0-3ed9-4f29-a7b1-770f7af93676" providerId="ADAL" clId="{670F5C60-D0F5-4CB1-8AF6-47F64737C1F7}" dt="2021-03-03T17:37:21.974" v="1279" actId="20577"/>
          <ac:spMkLst>
            <pc:docMk/>
            <pc:sldMk cId="44353695" sldId="843"/>
            <ac:spMk id="17" creationId="{28DC8D71-92A3-47AA-97BB-5BCFF31B461A}"/>
          </ac:spMkLst>
        </pc:spChg>
        <pc:spChg chg="mod">
          <ac:chgData name="Adrian Kisliuk" userId="81f189f0-3ed9-4f29-a7b1-770f7af93676" providerId="ADAL" clId="{670F5C60-D0F5-4CB1-8AF6-47F64737C1F7}" dt="2021-03-03T18:55:11.746" v="1303" actId="20577"/>
          <ac:spMkLst>
            <pc:docMk/>
            <pc:sldMk cId="44353695" sldId="843"/>
            <ac:spMk id="28" creationId="{33E7FBB7-4505-4492-9AC5-6386B4540DD8}"/>
          </ac:spMkLst>
        </pc:spChg>
        <pc:spChg chg="mod">
          <ac:chgData name="Adrian Kisliuk" userId="81f189f0-3ed9-4f29-a7b1-770f7af93676" providerId="ADAL" clId="{670F5C60-D0F5-4CB1-8AF6-47F64737C1F7}" dt="2021-03-03T14:55:14.749" v="692" actId="164"/>
          <ac:spMkLst>
            <pc:docMk/>
            <pc:sldMk cId="44353695" sldId="843"/>
            <ac:spMk id="30" creationId="{B74BC8D5-4E43-488A-8B27-B19122713CFB}"/>
          </ac:spMkLst>
        </pc:spChg>
        <pc:grpChg chg="mod">
          <ac:chgData name="Adrian Kisliuk" userId="81f189f0-3ed9-4f29-a7b1-770f7af93676" providerId="ADAL" clId="{670F5C60-D0F5-4CB1-8AF6-47F64737C1F7}" dt="2021-03-03T14:55:55.405" v="704" actId="1076"/>
          <ac:grpSpMkLst>
            <pc:docMk/>
            <pc:sldMk cId="44353695" sldId="843"/>
            <ac:grpSpMk id="14" creationId="{CA622D5E-8CD0-4E2C-B665-5709FF9BBC5E}"/>
          </ac:grpSpMkLst>
        </pc:grpChg>
        <pc:grpChg chg="mod">
          <ac:chgData name="Adrian Kisliuk" userId="81f189f0-3ed9-4f29-a7b1-770f7af93676" providerId="ADAL" clId="{670F5C60-D0F5-4CB1-8AF6-47F64737C1F7}" dt="2021-03-03T14:54:09.469" v="679" actId="408"/>
          <ac:grpSpMkLst>
            <pc:docMk/>
            <pc:sldMk cId="44353695" sldId="843"/>
            <ac:grpSpMk id="16" creationId="{16D5A718-1246-4B47-91FF-9FCC438ABFDB}"/>
          </ac:grpSpMkLst>
        </pc:grpChg>
        <pc:grpChg chg="mod">
          <ac:chgData name="Adrian Kisliuk" userId="81f189f0-3ed9-4f29-a7b1-770f7af93676" providerId="ADAL" clId="{670F5C60-D0F5-4CB1-8AF6-47F64737C1F7}" dt="2021-03-03T14:53:16.460" v="669" actId="1035"/>
          <ac:grpSpMkLst>
            <pc:docMk/>
            <pc:sldMk cId="44353695" sldId="843"/>
            <ac:grpSpMk id="18" creationId="{F70A982C-0F28-43A2-9340-C4EB24D58285}"/>
          </ac:grpSpMkLst>
        </pc:grpChg>
        <pc:grpChg chg="mod">
          <ac:chgData name="Adrian Kisliuk" userId="81f189f0-3ed9-4f29-a7b1-770f7af93676" providerId="ADAL" clId="{670F5C60-D0F5-4CB1-8AF6-47F64737C1F7}" dt="2021-03-03T14:53:40.570" v="677" actId="1035"/>
          <ac:grpSpMkLst>
            <pc:docMk/>
            <pc:sldMk cId="44353695" sldId="843"/>
            <ac:grpSpMk id="19" creationId="{EBCC0630-B845-40E3-AF7C-3188D7B93C1C}"/>
          </ac:grpSpMkLst>
        </pc:grpChg>
        <pc:grpChg chg="add mod">
          <ac:chgData name="Adrian Kisliuk" userId="81f189f0-3ed9-4f29-a7b1-770f7af93676" providerId="ADAL" clId="{670F5C60-D0F5-4CB1-8AF6-47F64737C1F7}" dt="2021-03-03T14:55:24.288" v="701" actId="1035"/>
          <ac:grpSpMkLst>
            <pc:docMk/>
            <pc:sldMk cId="44353695" sldId="843"/>
            <ac:grpSpMk id="24" creationId="{EE4C3D2A-11D5-4601-9A0C-FCAA3AB39E19}"/>
          </ac:grpSpMkLst>
        </pc:grpChg>
        <pc:grpChg chg="mod">
          <ac:chgData name="Adrian Kisliuk" userId="81f189f0-3ed9-4f29-a7b1-770f7af93676" providerId="ADAL" clId="{670F5C60-D0F5-4CB1-8AF6-47F64737C1F7}" dt="2021-03-03T14:57:38.340" v="716" actId="1036"/>
          <ac:grpSpMkLst>
            <pc:docMk/>
            <pc:sldMk cId="44353695" sldId="843"/>
            <ac:grpSpMk id="29" creationId="{639A446C-F2EB-400E-884A-71B1274F6BAE}"/>
          </ac:grpSpMkLst>
        </pc:grpChg>
        <pc:grpChg chg="mod">
          <ac:chgData name="Adrian Kisliuk" userId="81f189f0-3ed9-4f29-a7b1-770f7af93676" providerId="ADAL" clId="{670F5C60-D0F5-4CB1-8AF6-47F64737C1F7}" dt="2021-03-03T14:56:56.904" v="713" actId="1038"/>
          <ac:grpSpMkLst>
            <pc:docMk/>
            <pc:sldMk cId="44353695" sldId="843"/>
            <ac:grpSpMk id="33" creationId="{4F23C6E0-E822-49DA-8AC1-C3534148500C}"/>
          </ac:grpSpMkLst>
        </pc:grpChg>
        <pc:picChg chg="mod">
          <ac:chgData name="Adrian Kisliuk" userId="81f189f0-3ed9-4f29-a7b1-770f7af93676" providerId="ADAL" clId="{670F5C60-D0F5-4CB1-8AF6-47F64737C1F7}" dt="2021-03-03T14:55:14.749" v="692" actId="164"/>
          <ac:picMkLst>
            <pc:docMk/>
            <pc:sldMk cId="44353695" sldId="843"/>
            <ac:picMk id="7" creationId="{BFF8FA11-210D-44AC-95BD-F0B14F085E0F}"/>
          </ac:picMkLst>
        </pc:picChg>
        <pc:cxnChg chg="add del">
          <ac:chgData name="Adrian Kisliuk" userId="81f189f0-3ed9-4f29-a7b1-770f7af93676" providerId="ADAL" clId="{670F5C60-D0F5-4CB1-8AF6-47F64737C1F7}" dt="2021-03-03T14:57:47.694" v="719" actId="478"/>
          <ac:cxnSpMkLst>
            <pc:docMk/>
            <pc:sldMk cId="44353695" sldId="843"/>
            <ac:cxnSpMk id="3" creationId="{B1CD8215-EDA1-414C-9BD6-5C19677B1566}"/>
          </ac:cxnSpMkLst>
        </pc:cxnChg>
        <pc:cxnChg chg="add del mod">
          <ac:chgData name="Adrian Kisliuk" userId="81f189f0-3ed9-4f29-a7b1-770f7af93676" providerId="ADAL" clId="{670F5C60-D0F5-4CB1-8AF6-47F64737C1F7}" dt="2021-03-03T14:55:47.380" v="703" actId="478"/>
          <ac:cxnSpMkLst>
            <pc:docMk/>
            <pc:sldMk cId="44353695" sldId="843"/>
            <ac:cxnSpMk id="31" creationId="{7F9820DA-3EDD-4CAC-AA21-BDDD3585A12A}"/>
          </ac:cxnSpMkLst>
        </pc:cxnChg>
        <pc:cxnChg chg="add del mod">
          <ac:chgData name="Adrian Kisliuk" userId="81f189f0-3ed9-4f29-a7b1-770f7af93676" providerId="ADAL" clId="{670F5C60-D0F5-4CB1-8AF6-47F64737C1F7}" dt="2021-03-03T14:57:46.572" v="718" actId="478"/>
          <ac:cxnSpMkLst>
            <pc:docMk/>
            <pc:sldMk cId="44353695" sldId="843"/>
            <ac:cxnSpMk id="34" creationId="{F75E8AF7-A592-4478-A100-2F59166F2ADF}"/>
          </ac:cxnSpMkLst>
        </pc:cxnChg>
        <pc:cxnChg chg="add del mod">
          <ac:chgData name="Adrian Kisliuk" userId="81f189f0-3ed9-4f29-a7b1-770f7af93676" providerId="ADAL" clId="{670F5C60-D0F5-4CB1-8AF6-47F64737C1F7}" dt="2021-03-03T14:57:53.472" v="723" actId="478"/>
          <ac:cxnSpMkLst>
            <pc:docMk/>
            <pc:sldMk cId="44353695" sldId="843"/>
            <ac:cxnSpMk id="35" creationId="{D65BA24C-11AD-4489-AB1E-3922919B3179}"/>
          </ac:cxnSpMkLst>
        </pc:cxnChg>
        <pc:cxnChg chg="add del mod">
          <ac:chgData name="Adrian Kisliuk" userId="81f189f0-3ed9-4f29-a7b1-770f7af93676" providerId="ADAL" clId="{670F5C60-D0F5-4CB1-8AF6-47F64737C1F7}" dt="2021-03-03T14:57:48.478" v="720" actId="478"/>
          <ac:cxnSpMkLst>
            <pc:docMk/>
            <pc:sldMk cId="44353695" sldId="843"/>
            <ac:cxnSpMk id="37" creationId="{CEC048D3-D094-4B7F-88CC-F29E4484A8A3}"/>
          </ac:cxnSpMkLst>
        </pc:cxnChg>
        <pc:cxnChg chg="add del mod">
          <ac:chgData name="Adrian Kisliuk" userId="81f189f0-3ed9-4f29-a7b1-770f7af93676" providerId="ADAL" clId="{670F5C60-D0F5-4CB1-8AF6-47F64737C1F7}" dt="2021-03-03T14:57:51.266" v="721" actId="478"/>
          <ac:cxnSpMkLst>
            <pc:docMk/>
            <pc:sldMk cId="44353695" sldId="843"/>
            <ac:cxnSpMk id="39" creationId="{0C3110CB-834E-4DBE-8817-63946026FD6E}"/>
          </ac:cxnSpMkLst>
        </pc:cxnChg>
        <pc:cxnChg chg="add del mod">
          <ac:chgData name="Adrian Kisliuk" userId="81f189f0-3ed9-4f29-a7b1-770f7af93676" providerId="ADAL" clId="{670F5C60-D0F5-4CB1-8AF6-47F64737C1F7}" dt="2021-03-03T14:57:52.567" v="722" actId="478"/>
          <ac:cxnSpMkLst>
            <pc:docMk/>
            <pc:sldMk cId="44353695" sldId="843"/>
            <ac:cxnSpMk id="40" creationId="{7FB3D2F7-A69B-427E-8702-47848E75B2A7}"/>
          </ac:cxnSpMkLst>
        </pc:cxnChg>
        <pc:cxnChg chg="add del mod">
          <ac:chgData name="Adrian Kisliuk" userId="81f189f0-3ed9-4f29-a7b1-770f7af93676" providerId="ADAL" clId="{670F5C60-D0F5-4CB1-8AF6-47F64737C1F7}" dt="2021-03-03T14:57:45.463" v="717" actId="478"/>
          <ac:cxnSpMkLst>
            <pc:docMk/>
            <pc:sldMk cId="44353695" sldId="843"/>
            <ac:cxnSpMk id="41" creationId="{3C4D7C96-CD93-4801-B700-6BF7EC51C284}"/>
          </ac:cxnSpMkLst>
        </pc:cxnChg>
      </pc:sldChg>
      <pc:sldChg chg="new add del">
        <pc:chgData name="Adrian Kisliuk" userId="81f189f0-3ed9-4f29-a7b1-770f7af93676" providerId="ADAL" clId="{670F5C60-D0F5-4CB1-8AF6-47F64737C1F7}" dt="2021-03-03T15:01:51.091" v="862" actId="680"/>
        <pc:sldMkLst>
          <pc:docMk/>
          <pc:sldMk cId="1119690037" sldId="844"/>
        </pc:sldMkLst>
      </pc:sldChg>
      <pc:sldChg chg="addSp modSp new add mod ord">
        <pc:chgData name="Adrian Kisliuk" userId="81f189f0-3ed9-4f29-a7b1-770f7af93676" providerId="ADAL" clId="{670F5C60-D0F5-4CB1-8AF6-47F64737C1F7}" dt="2021-03-03T19:21:38.644" v="1307" actId="20577"/>
        <pc:sldMkLst>
          <pc:docMk/>
          <pc:sldMk cId="3288340041" sldId="844"/>
        </pc:sldMkLst>
        <pc:spChg chg="mod">
          <ac:chgData name="Adrian Kisliuk" userId="81f189f0-3ed9-4f29-a7b1-770f7af93676" providerId="ADAL" clId="{670F5C60-D0F5-4CB1-8AF6-47F64737C1F7}" dt="2021-03-03T15:02:02.174" v="900" actId="948"/>
          <ac:spMkLst>
            <pc:docMk/>
            <pc:sldMk cId="3288340041" sldId="844"/>
            <ac:spMk id="2" creationId="{AB24DB35-4F37-4E2B-AC4E-1AD847E62A49}"/>
          </ac:spMkLst>
        </pc:spChg>
        <pc:graphicFrameChg chg="add mod ord modVis">
          <ac:chgData name="Adrian Kisliuk" userId="81f189f0-3ed9-4f29-a7b1-770f7af93676" providerId="ADAL" clId="{670F5C60-D0F5-4CB1-8AF6-47F64737C1F7}" dt="2021-03-03T15:02:02.189" v="902"/>
          <ac:graphicFrameMkLst>
            <pc:docMk/>
            <pc:sldMk cId="3288340041" sldId="844"/>
            <ac:graphicFrameMk id="4" creationId="{F7E2E8CC-08A8-4353-8C3D-C9E7C4958C41}"/>
          </ac:graphicFrameMkLst>
        </pc:graphicFrameChg>
        <pc:graphicFrameChg chg="add mod modGraphic">
          <ac:chgData name="Adrian Kisliuk" userId="81f189f0-3ed9-4f29-a7b1-770f7af93676" providerId="ADAL" clId="{670F5C60-D0F5-4CB1-8AF6-47F64737C1F7}" dt="2021-03-03T19:21:38.644" v="1307" actId="20577"/>
          <ac:graphicFrameMkLst>
            <pc:docMk/>
            <pc:sldMk cId="3288340041" sldId="844"/>
            <ac:graphicFrameMk id="5" creationId="{C6BC0DD7-F970-4B15-AC2E-BC5C7F24E2FE}"/>
          </ac:graphicFrameMkLst>
        </pc:graphicFrameChg>
      </pc:sldChg>
    </pc:docChg>
  </pc:docChgLst>
  <pc:docChgLst>
    <pc:chgData name="Adrian Kisliuk" userId="81f189f0-3ed9-4f29-a7b1-770f7af93676" providerId="ADAL" clId="{EE7B5DA7-8C93-4B84-8747-AD4EF129BF6F}"/>
    <pc:docChg chg="undo custSel addSld delSld modSld sldOrd">
      <pc:chgData name="Adrian Kisliuk" userId="81f189f0-3ed9-4f29-a7b1-770f7af93676" providerId="ADAL" clId="{EE7B5DA7-8C93-4B84-8747-AD4EF129BF6F}" dt="2021-02-11T16:13:01.569" v="1297" actId="14100"/>
      <pc:docMkLst>
        <pc:docMk/>
      </pc:docMkLst>
      <pc:sldChg chg="modSp del mod">
        <pc:chgData name="Adrian Kisliuk" userId="81f189f0-3ed9-4f29-a7b1-770f7af93676" providerId="ADAL" clId="{EE7B5DA7-8C93-4B84-8747-AD4EF129BF6F}" dt="2021-02-11T15:37:14.789" v="38" actId="47"/>
        <pc:sldMkLst>
          <pc:docMk/>
          <pc:sldMk cId="1956313589" sldId="799"/>
        </pc:sldMkLst>
        <pc:graphicFrameChg chg="mod modGraphic">
          <ac:chgData name="Adrian Kisliuk" userId="81f189f0-3ed9-4f29-a7b1-770f7af93676" providerId="ADAL" clId="{EE7B5DA7-8C93-4B84-8747-AD4EF129BF6F}" dt="2021-02-11T15:29:39.765" v="3" actId="14734"/>
          <ac:graphicFrameMkLst>
            <pc:docMk/>
            <pc:sldMk cId="1956313589" sldId="799"/>
            <ac:graphicFrameMk id="11" creationId="{FF10CA16-74F9-4260-93E9-F994C8B3E186}"/>
          </ac:graphicFrameMkLst>
        </pc:graphicFrameChg>
      </pc:sldChg>
      <pc:sldChg chg="modSp mod">
        <pc:chgData name="Adrian Kisliuk" userId="81f189f0-3ed9-4f29-a7b1-770f7af93676" providerId="ADAL" clId="{EE7B5DA7-8C93-4B84-8747-AD4EF129BF6F}" dt="2021-02-11T16:09:47.614" v="1248" actId="20577"/>
        <pc:sldMkLst>
          <pc:docMk/>
          <pc:sldMk cId="3998807522" sldId="812"/>
        </pc:sldMkLst>
        <pc:spChg chg="mod">
          <ac:chgData name="Adrian Kisliuk" userId="81f189f0-3ed9-4f29-a7b1-770f7af93676" providerId="ADAL" clId="{EE7B5DA7-8C93-4B84-8747-AD4EF129BF6F}" dt="2021-02-11T15:52:44.575" v="412" actId="20577"/>
          <ac:spMkLst>
            <pc:docMk/>
            <pc:sldMk cId="3998807522" sldId="812"/>
            <ac:spMk id="16" creationId="{00000000-0000-0000-0000-000000000000}"/>
          </ac:spMkLst>
        </pc:spChg>
        <pc:spChg chg="mod">
          <ac:chgData name="Adrian Kisliuk" userId="81f189f0-3ed9-4f29-a7b1-770f7af93676" providerId="ADAL" clId="{EE7B5DA7-8C93-4B84-8747-AD4EF129BF6F}" dt="2021-02-11T15:40:27.043" v="139" actId="20577"/>
          <ac:spMkLst>
            <pc:docMk/>
            <pc:sldMk cId="3998807522" sldId="812"/>
            <ac:spMk id="17" creationId="{00000000-0000-0000-0000-000000000000}"/>
          </ac:spMkLst>
        </pc:spChg>
        <pc:spChg chg="mod">
          <ac:chgData name="Adrian Kisliuk" userId="81f189f0-3ed9-4f29-a7b1-770f7af93676" providerId="ADAL" clId="{EE7B5DA7-8C93-4B84-8747-AD4EF129BF6F}" dt="2021-02-11T15:48:32.409" v="395" actId="14100"/>
          <ac:spMkLst>
            <pc:docMk/>
            <pc:sldMk cId="3998807522" sldId="812"/>
            <ac:spMk id="21" creationId="{00000000-0000-0000-0000-000000000000}"/>
          </ac:spMkLst>
        </pc:spChg>
        <pc:spChg chg="mod">
          <ac:chgData name="Adrian Kisliuk" userId="81f189f0-3ed9-4f29-a7b1-770f7af93676" providerId="ADAL" clId="{EE7B5DA7-8C93-4B84-8747-AD4EF129BF6F}" dt="2021-02-11T16:09:47.614" v="1248" actId="20577"/>
          <ac:spMkLst>
            <pc:docMk/>
            <pc:sldMk cId="3998807522" sldId="812"/>
            <ac:spMk id="22" creationId="{00000000-0000-0000-0000-000000000000}"/>
          </ac:spMkLst>
        </pc:spChg>
        <pc:spChg chg="mod">
          <ac:chgData name="Adrian Kisliuk" userId="81f189f0-3ed9-4f29-a7b1-770f7af93676" providerId="ADAL" clId="{EE7B5DA7-8C93-4B84-8747-AD4EF129BF6F}" dt="2021-02-11T15:54:27.753" v="449" actId="20577"/>
          <ac:spMkLst>
            <pc:docMk/>
            <pc:sldMk cId="3998807522" sldId="812"/>
            <ac:spMk id="24" creationId="{00000000-0000-0000-0000-000000000000}"/>
          </ac:spMkLst>
        </pc:spChg>
        <pc:grpChg chg="mod">
          <ac:chgData name="Adrian Kisliuk" userId="81f189f0-3ed9-4f29-a7b1-770f7af93676" providerId="ADAL" clId="{EE7B5DA7-8C93-4B84-8747-AD4EF129BF6F}" dt="2021-02-11T15:48:51.284" v="411" actId="14100"/>
          <ac:grpSpMkLst>
            <pc:docMk/>
            <pc:sldMk cId="3998807522" sldId="812"/>
            <ac:grpSpMk id="2" creationId="{0C6AFC31-69CF-4D6C-8510-333B63404280}"/>
          </ac:grpSpMkLst>
        </pc:grpChg>
        <pc:grpChg chg="mod">
          <ac:chgData name="Adrian Kisliuk" userId="81f189f0-3ed9-4f29-a7b1-770f7af93676" providerId="ADAL" clId="{EE7B5DA7-8C93-4B84-8747-AD4EF129BF6F}" dt="2021-02-11T15:48:45.218" v="409" actId="14100"/>
          <ac:grpSpMkLst>
            <pc:docMk/>
            <pc:sldMk cId="3998807522" sldId="812"/>
            <ac:grpSpMk id="5" creationId="{86952852-6D72-476F-B6E9-36B9E09B5B2A}"/>
          </ac:grpSpMkLst>
        </pc:grpChg>
        <pc:grpChg chg="mod">
          <ac:chgData name="Adrian Kisliuk" userId="81f189f0-3ed9-4f29-a7b1-770f7af93676" providerId="ADAL" clId="{EE7B5DA7-8C93-4B84-8747-AD4EF129BF6F}" dt="2021-02-11T15:54:01.808" v="431" actId="1035"/>
          <ac:grpSpMkLst>
            <pc:docMk/>
            <pc:sldMk cId="3998807522" sldId="812"/>
            <ac:grpSpMk id="6" creationId="{EBDE8C97-741C-4621-ACE3-5DE89E6BF1B5}"/>
          </ac:grpSpMkLst>
        </pc:grpChg>
      </pc:sldChg>
      <pc:sldChg chg="modSp add mod ord">
        <pc:chgData name="Adrian Kisliuk" userId="81f189f0-3ed9-4f29-a7b1-770f7af93676" providerId="ADAL" clId="{EE7B5DA7-8C93-4B84-8747-AD4EF129BF6F}" dt="2021-02-11T15:38:13.404" v="102" actId="1076"/>
        <pc:sldMkLst>
          <pc:docMk/>
          <pc:sldMk cId="3032441792" sldId="813"/>
        </pc:sldMkLst>
        <pc:spChg chg="mod">
          <ac:chgData name="Adrian Kisliuk" userId="81f189f0-3ed9-4f29-a7b1-770f7af93676" providerId="ADAL" clId="{EE7B5DA7-8C93-4B84-8747-AD4EF129BF6F}" dt="2021-02-11T15:37:39.332" v="70" actId="20577"/>
          <ac:spMkLst>
            <pc:docMk/>
            <pc:sldMk cId="3032441792" sldId="813"/>
            <ac:spMk id="3" creationId="{00000000-0000-0000-0000-000000000000}"/>
          </ac:spMkLst>
        </pc:spChg>
        <pc:graphicFrameChg chg="mod modGraphic">
          <ac:chgData name="Adrian Kisliuk" userId="81f189f0-3ed9-4f29-a7b1-770f7af93676" providerId="ADAL" clId="{EE7B5DA7-8C93-4B84-8747-AD4EF129BF6F}" dt="2021-02-11T15:38:13.404" v="102" actId="1076"/>
          <ac:graphicFrameMkLst>
            <pc:docMk/>
            <pc:sldMk cId="3032441792" sldId="813"/>
            <ac:graphicFrameMk id="11" creationId="{FF10CA16-74F9-4260-93E9-F994C8B3E186}"/>
          </ac:graphicFrameMkLst>
        </pc:graphicFrameChg>
      </pc:sldChg>
      <pc:sldChg chg="delSp modSp add mod">
        <pc:chgData name="Adrian Kisliuk" userId="81f189f0-3ed9-4f29-a7b1-770f7af93676" providerId="ADAL" clId="{EE7B5DA7-8C93-4B84-8747-AD4EF129BF6F}" dt="2021-02-11T16:13:01.569" v="1297" actId="14100"/>
        <pc:sldMkLst>
          <pc:docMk/>
          <pc:sldMk cId="3936041182" sldId="814"/>
        </pc:sldMkLst>
        <pc:spChg chg="mod">
          <ac:chgData name="Adrian Kisliuk" userId="81f189f0-3ed9-4f29-a7b1-770f7af93676" providerId="ADAL" clId="{EE7B5DA7-8C93-4B84-8747-AD4EF129BF6F}" dt="2021-02-11T16:12:56.242" v="1295" actId="14100"/>
          <ac:spMkLst>
            <pc:docMk/>
            <pc:sldMk cId="3936041182" sldId="814"/>
            <ac:spMk id="21" creationId="{00000000-0000-0000-0000-000000000000}"/>
          </ac:spMkLst>
        </pc:spChg>
        <pc:spChg chg="mod">
          <ac:chgData name="Adrian Kisliuk" userId="81f189f0-3ed9-4f29-a7b1-770f7af93676" providerId="ADAL" clId="{EE7B5DA7-8C93-4B84-8747-AD4EF129BF6F}" dt="2021-02-11T16:12:16.257" v="1293" actId="404"/>
          <ac:spMkLst>
            <pc:docMk/>
            <pc:sldMk cId="3936041182" sldId="814"/>
            <ac:spMk id="22" creationId="{00000000-0000-0000-0000-000000000000}"/>
          </ac:spMkLst>
        </pc:spChg>
        <pc:spChg chg="mod">
          <ac:chgData name="Adrian Kisliuk" userId="81f189f0-3ed9-4f29-a7b1-770f7af93676" providerId="ADAL" clId="{EE7B5DA7-8C93-4B84-8747-AD4EF129BF6F}" dt="2021-02-11T16:10:51.455" v="1282" actId="14100"/>
          <ac:spMkLst>
            <pc:docMk/>
            <pc:sldMk cId="3936041182" sldId="814"/>
            <ac:spMk id="24" creationId="{00000000-0000-0000-0000-000000000000}"/>
          </ac:spMkLst>
        </pc:spChg>
        <pc:grpChg chg="del">
          <ac:chgData name="Adrian Kisliuk" userId="81f189f0-3ed9-4f29-a7b1-770f7af93676" providerId="ADAL" clId="{EE7B5DA7-8C93-4B84-8747-AD4EF129BF6F}" dt="2021-02-11T16:10:32.791" v="1275" actId="478"/>
          <ac:grpSpMkLst>
            <pc:docMk/>
            <pc:sldMk cId="3936041182" sldId="814"/>
            <ac:grpSpMk id="2" creationId="{0C6AFC31-69CF-4D6C-8510-333B63404280}"/>
          </ac:grpSpMkLst>
        </pc:grpChg>
        <pc:grpChg chg="mod">
          <ac:chgData name="Adrian Kisliuk" userId="81f189f0-3ed9-4f29-a7b1-770f7af93676" providerId="ADAL" clId="{EE7B5DA7-8C93-4B84-8747-AD4EF129BF6F}" dt="2021-02-11T16:12:58.562" v="1296" actId="14100"/>
          <ac:grpSpMkLst>
            <pc:docMk/>
            <pc:sldMk cId="3936041182" sldId="814"/>
            <ac:grpSpMk id="5" creationId="{86952852-6D72-476F-B6E9-36B9E09B5B2A}"/>
          </ac:grpSpMkLst>
        </pc:grpChg>
        <pc:grpChg chg="mod">
          <ac:chgData name="Adrian Kisliuk" userId="81f189f0-3ed9-4f29-a7b1-770f7af93676" providerId="ADAL" clId="{EE7B5DA7-8C93-4B84-8747-AD4EF129BF6F}" dt="2021-02-11T16:13:01.569" v="1297" actId="14100"/>
          <ac:grpSpMkLst>
            <pc:docMk/>
            <pc:sldMk cId="3936041182" sldId="814"/>
            <ac:grpSpMk id="6" creationId="{EBDE8C97-741C-4621-ACE3-5DE89E6BF1B5}"/>
          </ac:grpSpMkLst>
        </pc:grpChg>
      </pc:sldChg>
    </pc:docChg>
  </pc:docChgLst>
  <pc:docChgLst>
    <pc:chgData name="Adrian Kisliuk" userId="81f189f0-3ed9-4f29-a7b1-770f7af93676" providerId="ADAL" clId="{0FB323FD-E178-4725-8F69-2DC6E3659A60}"/>
    <pc:docChg chg="undo custSel addSld delSld modSld">
      <pc:chgData name="Adrian Kisliuk" userId="81f189f0-3ed9-4f29-a7b1-770f7af93676" providerId="ADAL" clId="{0FB323FD-E178-4725-8F69-2DC6E3659A60}" dt="2021-01-25T17:25:20.917" v="146" actId="20577"/>
      <pc:docMkLst>
        <pc:docMk/>
      </pc:docMkLst>
      <pc:sldChg chg="addSp delSp modSp add mod">
        <pc:chgData name="Adrian Kisliuk" userId="81f189f0-3ed9-4f29-a7b1-770f7af93676" providerId="ADAL" clId="{0FB323FD-E178-4725-8F69-2DC6E3659A60}" dt="2021-01-25T17:11:27.679" v="119"/>
        <pc:sldMkLst>
          <pc:docMk/>
          <pc:sldMk cId="1616179656" sldId="350"/>
        </pc:sldMkLst>
        <pc:spChg chg="mod">
          <ac:chgData name="Adrian Kisliuk" userId="81f189f0-3ed9-4f29-a7b1-770f7af93676" providerId="ADAL" clId="{0FB323FD-E178-4725-8F69-2DC6E3659A60}" dt="2021-01-25T17:11:12.411" v="112" actId="20577"/>
          <ac:spMkLst>
            <pc:docMk/>
            <pc:sldMk cId="1616179656" sldId="350"/>
            <ac:spMk id="6" creationId="{00000000-0000-0000-0000-000000000000}"/>
          </ac:spMkLst>
        </pc:spChg>
        <pc:spChg chg="mod">
          <ac:chgData name="Adrian Kisliuk" userId="81f189f0-3ed9-4f29-a7b1-770f7af93676" providerId="ADAL" clId="{0FB323FD-E178-4725-8F69-2DC6E3659A60}" dt="2021-01-25T17:11:24.666" v="117"/>
          <ac:spMkLst>
            <pc:docMk/>
            <pc:sldMk cId="1616179656" sldId="350"/>
            <ac:spMk id="7" creationId="{00000000-0000-0000-0000-000000000000}"/>
          </ac:spMkLst>
        </pc:spChg>
        <pc:spChg chg="mod">
          <ac:chgData name="Adrian Kisliuk" userId="81f189f0-3ed9-4f29-a7b1-770f7af93676" providerId="ADAL" clId="{0FB323FD-E178-4725-8F69-2DC6E3659A60}" dt="2021-01-25T17:11:18.877" v="114"/>
          <ac:spMkLst>
            <pc:docMk/>
            <pc:sldMk cId="1616179656" sldId="350"/>
            <ac:spMk id="13" creationId="{A42CB132-2B8B-4431-8519-9124B550642E}"/>
          </ac:spMkLst>
        </pc:spChg>
        <pc:spChg chg="mod">
          <ac:chgData name="Adrian Kisliuk" userId="81f189f0-3ed9-4f29-a7b1-770f7af93676" providerId="ADAL" clId="{0FB323FD-E178-4725-8F69-2DC6E3659A60}" dt="2021-01-25T17:11:22.017" v="116"/>
          <ac:spMkLst>
            <pc:docMk/>
            <pc:sldMk cId="1616179656" sldId="350"/>
            <ac:spMk id="22" creationId="{69C0E85C-B0C1-4540-B510-F32AAC079FE0}"/>
          </ac:spMkLst>
        </pc:spChg>
        <pc:spChg chg="mod">
          <ac:chgData name="Adrian Kisliuk" userId="81f189f0-3ed9-4f29-a7b1-770f7af93676" providerId="ADAL" clId="{0FB323FD-E178-4725-8F69-2DC6E3659A60}" dt="2021-01-25T17:11:26.062" v="118"/>
          <ac:spMkLst>
            <pc:docMk/>
            <pc:sldMk cId="1616179656" sldId="350"/>
            <ac:spMk id="26" creationId="{AA7C1736-7B5E-48F9-A847-2B654B5A7A3C}"/>
          </ac:spMkLst>
        </pc:spChg>
        <pc:spChg chg="mod">
          <ac:chgData name="Adrian Kisliuk" userId="81f189f0-3ed9-4f29-a7b1-770f7af93676" providerId="ADAL" clId="{0FB323FD-E178-4725-8F69-2DC6E3659A60}" dt="2021-01-25T17:11:27.679" v="119"/>
          <ac:spMkLst>
            <pc:docMk/>
            <pc:sldMk cId="1616179656" sldId="350"/>
            <ac:spMk id="30" creationId="{1F595901-02F8-4D5F-B764-F7E27CD95338}"/>
          </ac:spMkLst>
        </pc:spChg>
        <pc:spChg chg="mod">
          <ac:chgData name="Adrian Kisliuk" userId="81f189f0-3ed9-4f29-a7b1-770f7af93676" providerId="ADAL" clId="{0FB323FD-E178-4725-8F69-2DC6E3659A60}" dt="2021-01-25T17:08:46.710" v="57" actId="404"/>
          <ac:spMkLst>
            <pc:docMk/>
            <pc:sldMk cId="1616179656" sldId="350"/>
            <ac:spMk id="34" creationId="{59734FF0-13AE-49D5-918A-B1443D4466F2}"/>
          </ac:spMkLst>
        </pc:spChg>
        <pc:spChg chg="del">
          <ac:chgData name="Adrian Kisliuk" userId="81f189f0-3ed9-4f29-a7b1-770f7af93676" providerId="ADAL" clId="{0FB323FD-E178-4725-8F69-2DC6E3659A60}" dt="2021-01-25T17:07:12.544" v="1" actId="478"/>
          <ac:spMkLst>
            <pc:docMk/>
            <pc:sldMk cId="1616179656" sldId="350"/>
            <ac:spMk id="37" creationId="{29BDA868-E4B0-44DC-974A-58A9CABEA319}"/>
          </ac:spMkLst>
        </pc:spChg>
        <pc:spChg chg="del">
          <ac:chgData name="Adrian Kisliuk" userId="81f189f0-3ed9-4f29-a7b1-770f7af93676" providerId="ADAL" clId="{0FB323FD-E178-4725-8F69-2DC6E3659A60}" dt="2021-01-25T17:07:14.581" v="2" actId="478"/>
          <ac:spMkLst>
            <pc:docMk/>
            <pc:sldMk cId="1616179656" sldId="350"/>
            <ac:spMk id="38" creationId="{64AE3E00-D4C6-4F3E-8754-DADF6820173A}"/>
          </ac:spMkLst>
        </pc:spChg>
        <pc:spChg chg="add mod">
          <ac:chgData name="Adrian Kisliuk" userId="81f189f0-3ed9-4f29-a7b1-770f7af93676" providerId="ADAL" clId="{0FB323FD-E178-4725-8F69-2DC6E3659A60}" dt="2021-01-25T17:07:20.197" v="3"/>
          <ac:spMkLst>
            <pc:docMk/>
            <pc:sldMk cId="1616179656" sldId="350"/>
            <ac:spMk id="39" creationId="{A7DC8F3C-555C-4D4E-82A4-E279C5F47854}"/>
          </ac:spMkLst>
        </pc:spChg>
      </pc:sldChg>
      <pc:sldChg chg="modSp mod">
        <pc:chgData name="Adrian Kisliuk" userId="81f189f0-3ed9-4f29-a7b1-770f7af93676" providerId="ADAL" clId="{0FB323FD-E178-4725-8F69-2DC6E3659A60}" dt="2021-01-25T17:25:20.917" v="146" actId="20577"/>
        <pc:sldMkLst>
          <pc:docMk/>
          <pc:sldMk cId="1562960636" sldId="772"/>
        </pc:sldMkLst>
        <pc:spChg chg="mod">
          <ac:chgData name="Adrian Kisliuk" userId="81f189f0-3ed9-4f29-a7b1-770f7af93676" providerId="ADAL" clId="{0FB323FD-E178-4725-8F69-2DC6E3659A60}" dt="2021-01-25T17:25:20.917" v="146" actId="20577"/>
          <ac:spMkLst>
            <pc:docMk/>
            <pc:sldMk cId="1562960636" sldId="772"/>
            <ac:spMk id="13" creationId="{00000000-0000-0000-0000-000000000000}"/>
          </ac:spMkLst>
        </pc:spChg>
      </pc:sldChg>
      <pc:sldChg chg="del">
        <pc:chgData name="Adrian Kisliuk" userId="81f189f0-3ed9-4f29-a7b1-770f7af93676" providerId="ADAL" clId="{0FB323FD-E178-4725-8F69-2DC6E3659A60}" dt="2021-01-25T17:08:52.841" v="58" actId="47"/>
        <pc:sldMkLst>
          <pc:docMk/>
          <pc:sldMk cId="2576902944" sldId="775"/>
        </pc:sldMkLst>
      </pc:sldChg>
      <pc:sldChg chg="del">
        <pc:chgData name="Adrian Kisliuk" userId="81f189f0-3ed9-4f29-a7b1-770f7af93676" providerId="ADAL" clId="{0FB323FD-E178-4725-8F69-2DC6E3659A60}" dt="2021-01-25T17:10:00.521" v="73" actId="47"/>
        <pc:sldMkLst>
          <pc:docMk/>
          <pc:sldMk cId="1290290981" sldId="783"/>
        </pc:sldMkLst>
      </pc:sldChg>
      <pc:sldChg chg="modSp add mod">
        <pc:chgData name="Adrian Kisliuk" userId="81f189f0-3ed9-4f29-a7b1-770f7af93676" providerId="ADAL" clId="{0FB323FD-E178-4725-8F69-2DC6E3659A60}" dt="2021-01-25T17:12:15.425" v="136" actId="20577"/>
        <pc:sldMkLst>
          <pc:docMk/>
          <pc:sldMk cId="1865496842" sldId="793"/>
        </pc:sldMkLst>
        <pc:spChg chg="mod">
          <ac:chgData name="Adrian Kisliuk" userId="81f189f0-3ed9-4f29-a7b1-770f7af93676" providerId="ADAL" clId="{0FB323FD-E178-4725-8F69-2DC6E3659A60}" dt="2021-01-25T17:09:57.339" v="72"/>
          <ac:spMkLst>
            <pc:docMk/>
            <pc:sldMk cId="1865496842" sldId="793"/>
            <ac:spMk id="3" creationId="{00000000-0000-0000-0000-000000000000}"/>
          </ac:spMkLst>
        </pc:spChg>
        <pc:spChg chg="mod">
          <ac:chgData name="Adrian Kisliuk" userId="81f189f0-3ed9-4f29-a7b1-770f7af93676" providerId="ADAL" clId="{0FB323FD-E178-4725-8F69-2DC6E3659A60}" dt="2021-01-25T17:11:57.190" v="129" actId="255"/>
          <ac:spMkLst>
            <pc:docMk/>
            <pc:sldMk cId="1865496842" sldId="793"/>
            <ac:spMk id="6" creationId="{00000000-0000-0000-0000-000000000000}"/>
          </ac:spMkLst>
        </pc:spChg>
        <pc:spChg chg="mod">
          <ac:chgData name="Adrian Kisliuk" userId="81f189f0-3ed9-4f29-a7b1-770f7af93676" providerId="ADAL" clId="{0FB323FD-E178-4725-8F69-2DC6E3659A60}" dt="2021-01-25T17:12:15.425" v="136" actId="20577"/>
          <ac:spMkLst>
            <pc:docMk/>
            <pc:sldMk cId="1865496842" sldId="793"/>
            <ac:spMk id="7" creationId="{00000000-0000-0000-0000-000000000000}"/>
          </ac:spMkLst>
        </pc:spChg>
        <pc:spChg chg="mod">
          <ac:chgData name="Adrian Kisliuk" userId="81f189f0-3ed9-4f29-a7b1-770f7af93676" providerId="ADAL" clId="{0FB323FD-E178-4725-8F69-2DC6E3659A60}" dt="2021-01-25T17:11:57.190" v="129" actId="255"/>
          <ac:spMkLst>
            <pc:docMk/>
            <pc:sldMk cId="1865496842" sldId="793"/>
            <ac:spMk id="13" creationId="{A42CB132-2B8B-4431-8519-9124B550642E}"/>
          </ac:spMkLst>
        </pc:spChg>
        <pc:spChg chg="mod">
          <ac:chgData name="Adrian Kisliuk" userId="81f189f0-3ed9-4f29-a7b1-770f7af93676" providerId="ADAL" clId="{0FB323FD-E178-4725-8F69-2DC6E3659A60}" dt="2021-01-25T17:11:57.190" v="129" actId="255"/>
          <ac:spMkLst>
            <pc:docMk/>
            <pc:sldMk cId="1865496842" sldId="793"/>
            <ac:spMk id="22" creationId="{69C0E85C-B0C1-4540-B510-F32AAC079FE0}"/>
          </ac:spMkLst>
        </pc:spChg>
        <pc:spChg chg="mod">
          <ac:chgData name="Adrian Kisliuk" userId="81f189f0-3ed9-4f29-a7b1-770f7af93676" providerId="ADAL" clId="{0FB323FD-E178-4725-8F69-2DC6E3659A60}" dt="2021-01-25T17:12:12.985" v="135" actId="20577"/>
          <ac:spMkLst>
            <pc:docMk/>
            <pc:sldMk cId="1865496842" sldId="793"/>
            <ac:spMk id="26" creationId="{AA7C1736-7B5E-48F9-A847-2B654B5A7A3C}"/>
          </ac:spMkLst>
        </pc:spChg>
        <pc:spChg chg="mod">
          <ac:chgData name="Adrian Kisliuk" userId="81f189f0-3ed9-4f29-a7b1-770f7af93676" providerId="ADAL" clId="{0FB323FD-E178-4725-8F69-2DC6E3659A60}" dt="2021-01-25T17:12:11.039" v="134" actId="20577"/>
          <ac:spMkLst>
            <pc:docMk/>
            <pc:sldMk cId="1865496842" sldId="793"/>
            <ac:spMk id="30" creationId="{1F595901-02F8-4D5F-B764-F7E27CD95338}"/>
          </ac:spMkLst>
        </pc:spChg>
        <pc:spChg chg="mod">
          <ac:chgData name="Adrian Kisliuk" userId="81f189f0-3ed9-4f29-a7b1-770f7af93676" providerId="ADAL" clId="{0FB323FD-E178-4725-8F69-2DC6E3659A60}" dt="2021-01-25T17:08:32.976" v="50" actId="404"/>
          <ac:spMkLst>
            <pc:docMk/>
            <pc:sldMk cId="1865496842" sldId="793"/>
            <ac:spMk id="34" creationId="{59734FF0-13AE-49D5-918A-B1443D4466F2}"/>
          </ac:spMkLst>
        </pc:spChg>
      </pc:sldChg>
    </pc:docChg>
  </pc:docChgLst>
  <pc:docChgLst>
    <pc:chgData name="Mundt, Elmar" userId="b694f4a4-fe46-4199-a28f-b75d190b6d85" providerId="ADAL" clId="{E04B0C2D-8C51-4EF8-9F4B-75BDFACE6918}"/>
    <pc:docChg chg="custSel modSld">
      <pc:chgData name="Mundt, Elmar" userId="b694f4a4-fe46-4199-a28f-b75d190b6d85" providerId="ADAL" clId="{E04B0C2D-8C51-4EF8-9F4B-75BDFACE6918}" dt="2021-03-25T10:51:49.330" v="61" actId="1076"/>
      <pc:docMkLst>
        <pc:docMk/>
      </pc:docMkLst>
      <pc:sldChg chg="addSp modSp mod">
        <pc:chgData name="Mundt, Elmar" userId="b694f4a4-fe46-4199-a28f-b75d190b6d85" providerId="ADAL" clId="{E04B0C2D-8C51-4EF8-9F4B-75BDFACE6918}" dt="2021-03-25T10:45:30.326" v="2" actId="947"/>
        <pc:sldMkLst>
          <pc:docMk/>
          <pc:sldMk cId="3888384040" sldId="474"/>
        </pc:sldMkLst>
        <pc:spChg chg="add mod">
          <ac:chgData name="Mundt, Elmar" userId="b694f4a4-fe46-4199-a28f-b75d190b6d85" providerId="ADAL" clId="{E04B0C2D-8C51-4EF8-9F4B-75BDFACE6918}" dt="2021-03-25T10:45:30.326" v="2" actId="947"/>
          <ac:spMkLst>
            <pc:docMk/>
            <pc:sldMk cId="3888384040" sldId="474"/>
            <ac:spMk id="2" creationId="{6D853B93-D5A2-4575-A398-D3296A16ECBA}"/>
          </ac:spMkLst>
        </pc:spChg>
      </pc:sldChg>
      <pc:sldChg chg="modSp mod">
        <pc:chgData name="Mundt, Elmar" userId="b694f4a4-fe46-4199-a28f-b75d190b6d85" providerId="ADAL" clId="{E04B0C2D-8C51-4EF8-9F4B-75BDFACE6918}" dt="2021-03-25T10:49:44.171" v="33" actId="554"/>
        <pc:sldMkLst>
          <pc:docMk/>
          <pc:sldMk cId="3217164513" sldId="833"/>
        </pc:sldMkLst>
        <pc:spChg chg="mod">
          <ac:chgData name="Mundt, Elmar" userId="b694f4a4-fe46-4199-a28f-b75d190b6d85" providerId="ADAL" clId="{E04B0C2D-8C51-4EF8-9F4B-75BDFACE6918}" dt="2021-03-25T10:49:44.171" v="33" actId="554"/>
          <ac:spMkLst>
            <pc:docMk/>
            <pc:sldMk cId="3217164513" sldId="833"/>
            <ac:spMk id="29" creationId="{B5AFC59E-6F27-43BE-80D9-FDF9FDFFB87F}"/>
          </ac:spMkLst>
        </pc:spChg>
        <pc:spChg chg="mod">
          <ac:chgData name="Mundt, Elmar" userId="b694f4a4-fe46-4199-a28f-b75d190b6d85" providerId="ADAL" clId="{E04B0C2D-8C51-4EF8-9F4B-75BDFACE6918}" dt="2021-03-25T10:49:01.276" v="28" actId="554"/>
          <ac:spMkLst>
            <pc:docMk/>
            <pc:sldMk cId="3217164513" sldId="833"/>
            <ac:spMk id="30" creationId="{199D8EFB-88FC-472F-BE8F-341B4A80D369}"/>
          </ac:spMkLst>
        </pc:spChg>
        <pc:spChg chg="mod">
          <ac:chgData name="Mundt, Elmar" userId="b694f4a4-fe46-4199-a28f-b75d190b6d85" providerId="ADAL" clId="{E04B0C2D-8C51-4EF8-9F4B-75BDFACE6918}" dt="2021-03-25T10:49:01.276" v="28" actId="554"/>
          <ac:spMkLst>
            <pc:docMk/>
            <pc:sldMk cId="3217164513" sldId="833"/>
            <ac:spMk id="31" creationId="{1BB83D65-74FF-4A94-8BE0-D5B4D19D7974}"/>
          </ac:spMkLst>
        </pc:spChg>
        <pc:spChg chg="mod">
          <ac:chgData name="Mundt, Elmar" userId="b694f4a4-fe46-4199-a28f-b75d190b6d85" providerId="ADAL" clId="{E04B0C2D-8C51-4EF8-9F4B-75BDFACE6918}" dt="2021-03-25T10:49:44.171" v="33" actId="554"/>
          <ac:spMkLst>
            <pc:docMk/>
            <pc:sldMk cId="3217164513" sldId="833"/>
            <ac:spMk id="53" creationId="{710668EB-84E6-477B-B999-CBE96F3B621C}"/>
          </ac:spMkLst>
        </pc:spChg>
        <pc:spChg chg="mod">
          <ac:chgData name="Mundt, Elmar" userId="b694f4a4-fe46-4199-a28f-b75d190b6d85" providerId="ADAL" clId="{E04B0C2D-8C51-4EF8-9F4B-75BDFACE6918}" dt="2021-03-25T10:49:44.171" v="33" actId="554"/>
          <ac:spMkLst>
            <pc:docMk/>
            <pc:sldMk cId="3217164513" sldId="833"/>
            <ac:spMk id="54" creationId="{990F7519-4871-489D-B558-E1EB43F5B6B2}"/>
          </ac:spMkLst>
        </pc:spChg>
        <pc:spChg chg="mod">
          <ac:chgData name="Mundt, Elmar" userId="b694f4a4-fe46-4199-a28f-b75d190b6d85" providerId="ADAL" clId="{E04B0C2D-8C51-4EF8-9F4B-75BDFACE6918}" dt="2021-03-25T10:49:44.171" v="33" actId="554"/>
          <ac:spMkLst>
            <pc:docMk/>
            <pc:sldMk cId="3217164513" sldId="833"/>
            <ac:spMk id="55" creationId="{A83F9FBA-340A-47F2-9FC4-05E3FC35F52F}"/>
          </ac:spMkLst>
        </pc:spChg>
        <pc:spChg chg="mod">
          <ac:chgData name="Mundt, Elmar" userId="b694f4a4-fe46-4199-a28f-b75d190b6d85" providerId="ADAL" clId="{E04B0C2D-8C51-4EF8-9F4B-75BDFACE6918}" dt="2021-03-25T10:47:46.243" v="19" actId="207"/>
          <ac:spMkLst>
            <pc:docMk/>
            <pc:sldMk cId="3217164513" sldId="833"/>
            <ac:spMk id="59" creationId="{C4ED78C6-0F2E-476B-9A02-F42B53222EA6}"/>
          </ac:spMkLst>
        </pc:spChg>
        <pc:spChg chg="mod">
          <ac:chgData name="Mundt, Elmar" userId="b694f4a4-fe46-4199-a28f-b75d190b6d85" providerId="ADAL" clId="{E04B0C2D-8C51-4EF8-9F4B-75BDFACE6918}" dt="2021-03-25T10:49:01.276" v="28" actId="554"/>
          <ac:spMkLst>
            <pc:docMk/>
            <pc:sldMk cId="3217164513" sldId="833"/>
            <ac:spMk id="67" creationId="{69BD7A21-5246-48E7-8971-EE89AF43B7FB}"/>
          </ac:spMkLst>
        </pc:spChg>
        <pc:cxnChg chg="mod">
          <ac:chgData name="Mundt, Elmar" userId="b694f4a4-fe46-4199-a28f-b75d190b6d85" providerId="ADAL" clId="{E04B0C2D-8C51-4EF8-9F4B-75BDFACE6918}" dt="2021-03-25T10:49:44.171" v="33" actId="554"/>
          <ac:cxnSpMkLst>
            <pc:docMk/>
            <pc:sldMk cId="3217164513" sldId="833"/>
            <ac:cxnSpMk id="61" creationId="{6B00E9D6-ABF8-4DBB-A008-1A5B147F2E51}"/>
          </ac:cxnSpMkLst>
        </pc:cxnChg>
        <pc:cxnChg chg="mod">
          <ac:chgData name="Mundt, Elmar" userId="b694f4a4-fe46-4199-a28f-b75d190b6d85" providerId="ADAL" clId="{E04B0C2D-8C51-4EF8-9F4B-75BDFACE6918}" dt="2021-03-25T10:49:01.276" v="28" actId="554"/>
          <ac:cxnSpMkLst>
            <pc:docMk/>
            <pc:sldMk cId="3217164513" sldId="833"/>
            <ac:cxnSpMk id="62" creationId="{A7F613DE-CF25-4659-BEB5-A6293800A85C}"/>
          </ac:cxnSpMkLst>
        </pc:cxnChg>
        <pc:cxnChg chg="mod">
          <ac:chgData name="Mundt, Elmar" userId="b694f4a4-fe46-4199-a28f-b75d190b6d85" providerId="ADAL" clId="{E04B0C2D-8C51-4EF8-9F4B-75BDFACE6918}" dt="2021-03-25T10:49:01.276" v="28" actId="554"/>
          <ac:cxnSpMkLst>
            <pc:docMk/>
            <pc:sldMk cId="3217164513" sldId="833"/>
            <ac:cxnSpMk id="63" creationId="{A063E153-814D-406B-9A67-EF20F840AEF5}"/>
          </ac:cxnSpMkLst>
        </pc:cxnChg>
        <pc:cxnChg chg="mod">
          <ac:chgData name="Mundt, Elmar" userId="b694f4a4-fe46-4199-a28f-b75d190b6d85" providerId="ADAL" clId="{E04B0C2D-8C51-4EF8-9F4B-75BDFACE6918}" dt="2021-03-25T10:49:01.276" v="28" actId="554"/>
          <ac:cxnSpMkLst>
            <pc:docMk/>
            <pc:sldMk cId="3217164513" sldId="833"/>
            <ac:cxnSpMk id="64" creationId="{A05BC7AB-C665-46D6-941B-032814E263E2}"/>
          </ac:cxnSpMkLst>
        </pc:cxnChg>
      </pc:sldChg>
      <pc:sldChg chg="addSp modSp mod">
        <pc:chgData name="Mundt, Elmar" userId="b694f4a4-fe46-4199-a28f-b75d190b6d85" providerId="ADAL" clId="{E04B0C2D-8C51-4EF8-9F4B-75BDFACE6918}" dt="2021-03-25T10:51:49.330" v="61" actId="1076"/>
        <pc:sldMkLst>
          <pc:docMk/>
          <pc:sldMk cId="3131407806" sldId="845"/>
        </pc:sldMkLst>
        <pc:cxnChg chg="add mod">
          <ac:chgData name="Mundt, Elmar" userId="b694f4a4-fe46-4199-a28f-b75d190b6d85" providerId="ADAL" clId="{E04B0C2D-8C51-4EF8-9F4B-75BDFACE6918}" dt="2021-03-25T10:51:49.330" v="61" actId="1076"/>
          <ac:cxnSpMkLst>
            <pc:docMk/>
            <pc:sldMk cId="3131407806" sldId="845"/>
            <ac:cxnSpMk id="26" creationId="{0A0DFC1A-BE91-4420-8639-A3318C5A2889}"/>
          </ac:cxnSpMkLst>
        </pc:cxnChg>
        <pc:cxnChg chg="add mod">
          <ac:chgData name="Mundt, Elmar" userId="b694f4a4-fe46-4199-a28f-b75d190b6d85" providerId="ADAL" clId="{E04B0C2D-8C51-4EF8-9F4B-75BDFACE6918}" dt="2021-03-25T10:51:49.330" v="61" actId="1076"/>
          <ac:cxnSpMkLst>
            <pc:docMk/>
            <pc:sldMk cId="3131407806" sldId="845"/>
            <ac:cxnSpMk id="27" creationId="{3BA812D8-9A3E-4BEF-9E62-AED1A16A17C7}"/>
          </ac:cxnSpMkLst>
        </pc:cxnChg>
      </pc:sldChg>
      <pc:sldChg chg="addSp modSp mod">
        <pc:chgData name="Mundt, Elmar" userId="b694f4a4-fe46-4199-a28f-b75d190b6d85" providerId="ADAL" clId="{E04B0C2D-8C51-4EF8-9F4B-75BDFACE6918}" dt="2021-03-25T10:51:21.158" v="59" actId="1038"/>
        <pc:sldMkLst>
          <pc:docMk/>
          <pc:sldMk cId="1067639731" sldId="847"/>
        </pc:sldMkLst>
        <pc:cxnChg chg="add mod">
          <ac:chgData name="Mundt, Elmar" userId="b694f4a4-fe46-4199-a28f-b75d190b6d85" providerId="ADAL" clId="{E04B0C2D-8C51-4EF8-9F4B-75BDFACE6918}" dt="2021-03-25T10:51:21.158" v="59" actId="1038"/>
          <ac:cxnSpMkLst>
            <pc:docMk/>
            <pc:sldMk cId="1067639731" sldId="847"/>
            <ac:cxnSpMk id="14" creationId="{F4184029-3665-4C25-BB84-94681D917E3E}"/>
          </ac:cxnSpMkLst>
        </pc:cxnChg>
        <pc:cxnChg chg="add mod">
          <ac:chgData name="Mundt, Elmar" userId="b694f4a4-fe46-4199-a28f-b75d190b6d85" providerId="ADAL" clId="{E04B0C2D-8C51-4EF8-9F4B-75BDFACE6918}" dt="2021-03-25T10:51:21.158" v="59" actId="1038"/>
          <ac:cxnSpMkLst>
            <pc:docMk/>
            <pc:sldMk cId="1067639731" sldId="847"/>
            <ac:cxnSpMk id="21" creationId="{8D8DD494-8C9B-4EFC-84C9-4DCB60966D1C}"/>
          </ac:cxnSpMkLst>
        </pc:cxnChg>
      </pc:sldChg>
    </pc:docChg>
  </pc:docChgLst>
  <pc:docChgLst>
    <pc:chgData name="Kisliuk, Adrian (ext)" userId="6e619ce3-2643-4cdf-9a13-b4c269650021" providerId="ADAL" clId="{AFCEEFB0-37BC-48D4-B200-D3706B2CD7FE}"/>
    <pc:docChg chg="undo redo custSel addSld delSld modSld sldOrd modMainMaster">
      <pc:chgData name="Kisliuk, Adrian (ext)" userId="6e619ce3-2643-4cdf-9a13-b4c269650021" providerId="ADAL" clId="{AFCEEFB0-37BC-48D4-B200-D3706B2CD7FE}" dt="2021-06-02T09:19:44.107" v="30671" actId="478"/>
      <pc:docMkLst>
        <pc:docMk/>
      </pc:docMkLst>
      <pc:sldChg chg="modSp mod">
        <pc:chgData name="Kisliuk, Adrian (ext)" userId="6e619ce3-2643-4cdf-9a13-b4c269650021" providerId="ADAL" clId="{AFCEEFB0-37BC-48D4-B200-D3706B2CD7FE}" dt="2021-05-26T07:17:39.218" v="28598" actId="20577"/>
        <pc:sldMkLst>
          <pc:docMk/>
          <pc:sldMk cId="3888384040" sldId="474"/>
        </pc:sldMkLst>
        <pc:spChg chg="mod">
          <ac:chgData name="Kisliuk, Adrian (ext)" userId="6e619ce3-2643-4cdf-9a13-b4c269650021" providerId="ADAL" clId="{AFCEEFB0-37BC-48D4-B200-D3706B2CD7FE}" dt="2021-05-26T07:17:39.218" v="28598" actId="20577"/>
          <ac:spMkLst>
            <pc:docMk/>
            <pc:sldMk cId="3888384040" sldId="474"/>
            <ac:spMk id="10" creationId="{00000000-0000-0000-0000-000000000000}"/>
          </ac:spMkLst>
        </pc:spChg>
      </pc:sldChg>
      <pc:sldChg chg="addSp delSp mod ord">
        <pc:chgData name="Kisliuk, Adrian (ext)" userId="6e619ce3-2643-4cdf-9a13-b4c269650021" providerId="ADAL" clId="{AFCEEFB0-37BC-48D4-B200-D3706B2CD7FE}" dt="2021-04-28T10:04:39.163" v="26638"/>
        <pc:sldMkLst>
          <pc:docMk/>
          <pc:sldMk cId="967380677" sldId="819"/>
        </pc:sldMkLst>
        <pc:spChg chg="add del">
          <ac:chgData name="Kisliuk, Adrian (ext)" userId="6e619ce3-2643-4cdf-9a13-b4c269650021" providerId="ADAL" clId="{AFCEEFB0-37BC-48D4-B200-D3706B2CD7FE}" dt="2021-04-28T10:04:38.446" v="26636" actId="478"/>
          <ac:spMkLst>
            <pc:docMk/>
            <pc:sldMk cId="967380677" sldId="819"/>
            <ac:spMk id="2" creationId="{848724A1-8D9B-4E48-BEA8-7DD98666F28D}"/>
          </ac:spMkLst>
        </pc:spChg>
      </pc:sldChg>
      <pc:sldChg chg="addSp delSp modSp add del mod ord addCm delCm modCm">
        <pc:chgData name="Kisliuk, Adrian (ext)" userId="6e619ce3-2643-4cdf-9a13-b4c269650021" providerId="ADAL" clId="{AFCEEFB0-37BC-48D4-B200-D3706B2CD7FE}" dt="2021-04-21T09:05:29.329" v="17047" actId="47"/>
        <pc:sldMkLst>
          <pc:docMk/>
          <pc:sldMk cId="3217164513" sldId="833"/>
        </pc:sldMkLst>
        <pc:spChg chg="add del mod modVis">
          <ac:chgData name="Kisliuk, Adrian (ext)" userId="6e619ce3-2643-4cdf-9a13-b4c269650021" providerId="ADAL" clId="{AFCEEFB0-37BC-48D4-B200-D3706B2CD7FE}" dt="2021-04-19T11:26:43.545" v="5855" actId="962"/>
          <ac:spMkLst>
            <pc:docMk/>
            <pc:sldMk cId="3217164513" sldId="833"/>
            <ac:spMk id="3" creationId="{4A95E690-9AA6-4FEC-876F-9A48644BA225}"/>
          </ac:spMkLst>
        </pc:spChg>
        <pc:spChg chg="del mod">
          <ac:chgData name="Kisliuk, Adrian (ext)" userId="6e619ce3-2643-4cdf-9a13-b4c269650021" providerId="ADAL" clId="{AFCEEFB0-37BC-48D4-B200-D3706B2CD7FE}" dt="2021-04-16T08:00:46.402" v="49" actId="478"/>
          <ac:spMkLst>
            <pc:docMk/>
            <pc:sldMk cId="3217164513" sldId="833"/>
            <ac:spMk id="3" creationId="{EE2DF855-E626-2A48-BF4D-6B256EDE2B39}"/>
          </ac:spMkLst>
        </pc:spChg>
        <pc:spChg chg="add mod">
          <ac:chgData name="Kisliuk, Adrian (ext)" userId="6e619ce3-2643-4cdf-9a13-b4c269650021" providerId="ADAL" clId="{AFCEEFB0-37BC-48D4-B200-D3706B2CD7FE}" dt="2021-04-16T07:59:07.481" v="16" actId="14100"/>
          <ac:spMkLst>
            <pc:docMk/>
            <pc:sldMk cId="3217164513" sldId="833"/>
            <ac:spMk id="4" creationId="{8B09BFA6-1414-43CC-93DC-744E01FD1F42}"/>
          </ac:spMkLst>
        </pc:spChg>
        <pc:spChg chg="add del mod modVis">
          <ac:chgData name="Kisliuk, Adrian (ext)" userId="6e619ce3-2643-4cdf-9a13-b4c269650021" providerId="ADAL" clId="{AFCEEFB0-37BC-48D4-B200-D3706B2CD7FE}" dt="2021-04-19T11:26:43.126" v="5815" actId="962"/>
          <ac:spMkLst>
            <pc:docMk/>
            <pc:sldMk cId="3217164513" sldId="833"/>
            <ac:spMk id="5" creationId="{085F8767-63BD-4023-99F8-F3A28A40AB3F}"/>
          </ac:spMkLst>
        </pc:spChg>
        <pc:spChg chg="add del mod modVis">
          <ac:chgData name="Kisliuk, Adrian (ext)" userId="6e619ce3-2643-4cdf-9a13-b4c269650021" providerId="ADAL" clId="{AFCEEFB0-37BC-48D4-B200-D3706B2CD7FE}" dt="2021-04-19T11:26:42.942" v="5775" actId="962"/>
          <ac:spMkLst>
            <pc:docMk/>
            <pc:sldMk cId="3217164513" sldId="833"/>
            <ac:spMk id="8" creationId="{82057260-42B0-40C7-AB35-996A2B65D0EB}"/>
          </ac:spMkLst>
        </pc:spChg>
        <pc:spChg chg="add del mod modVis">
          <ac:chgData name="Kisliuk, Adrian (ext)" userId="6e619ce3-2643-4cdf-9a13-b4c269650021" providerId="ADAL" clId="{AFCEEFB0-37BC-48D4-B200-D3706B2CD7FE}" dt="2021-04-19T11:26:42.703" v="5735" actId="962"/>
          <ac:spMkLst>
            <pc:docMk/>
            <pc:sldMk cId="3217164513" sldId="833"/>
            <ac:spMk id="9" creationId="{9AFE5A57-A9E2-4438-93E0-6C0576053FC7}"/>
          </ac:spMkLst>
        </pc:spChg>
        <pc:spChg chg="add del mod modVis">
          <ac:chgData name="Kisliuk, Adrian (ext)" userId="6e619ce3-2643-4cdf-9a13-b4c269650021" providerId="ADAL" clId="{AFCEEFB0-37BC-48D4-B200-D3706B2CD7FE}" dt="2021-04-19T11:26:42.192" v="5695" actId="962"/>
          <ac:spMkLst>
            <pc:docMk/>
            <pc:sldMk cId="3217164513" sldId="833"/>
            <ac:spMk id="10" creationId="{ACDAC89A-C135-40C7-94F0-C691E24FD858}"/>
          </ac:spMkLst>
        </pc:spChg>
        <pc:spChg chg="add del mod modVis">
          <ac:chgData name="Kisliuk, Adrian (ext)" userId="6e619ce3-2643-4cdf-9a13-b4c269650021" providerId="ADAL" clId="{AFCEEFB0-37BC-48D4-B200-D3706B2CD7FE}" dt="2021-04-19T11:26:42.002" v="5655" actId="962"/>
          <ac:spMkLst>
            <pc:docMk/>
            <pc:sldMk cId="3217164513" sldId="833"/>
            <ac:spMk id="11" creationId="{61A4524F-8AE8-4AFA-9FC5-2AB30F71A4C5}"/>
          </ac:spMkLst>
        </pc:spChg>
        <pc:spChg chg="add del mod modVis">
          <ac:chgData name="Kisliuk, Adrian (ext)" userId="6e619ce3-2643-4cdf-9a13-b4c269650021" providerId="ADAL" clId="{AFCEEFB0-37BC-48D4-B200-D3706B2CD7FE}" dt="2021-04-19T11:26:41.619" v="5615" actId="962"/>
          <ac:spMkLst>
            <pc:docMk/>
            <pc:sldMk cId="3217164513" sldId="833"/>
            <ac:spMk id="12" creationId="{0F3B717A-B64D-4AD5-8582-30D3B78DCEB1}"/>
          </ac:spMkLst>
        </pc:spChg>
        <pc:spChg chg="mod">
          <ac:chgData name="Kisliuk, Adrian (ext)" userId="6e619ce3-2643-4cdf-9a13-b4c269650021" providerId="ADAL" clId="{AFCEEFB0-37BC-48D4-B200-D3706B2CD7FE}" dt="2021-04-16T07:57:56.485" v="10" actId="1076"/>
          <ac:spMkLst>
            <pc:docMk/>
            <pc:sldMk cId="3217164513" sldId="833"/>
            <ac:spMk id="39" creationId="{130F0DB6-CE93-4039-A548-8355E4DBEE7C}"/>
          </ac:spMkLst>
        </pc:spChg>
        <pc:spChg chg="mod">
          <ac:chgData name="Kisliuk, Adrian (ext)" userId="6e619ce3-2643-4cdf-9a13-b4c269650021" providerId="ADAL" clId="{AFCEEFB0-37BC-48D4-B200-D3706B2CD7FE}" dt="2021-04-16T09:05:54.826" v="1074" actId="14100"/>
          <ac:spMkLst>
            <pc:docMk/>
            <pc:sldMk cId="3217164513" sldId="833"/>
            <ac:spMk id="68" creationId="{7674B0DD-BBB7-4A0E-8EE6-DC95C81BD1AF}"/>
          </ac:spMkLst>
        </pc:spChg>
        <pc:spChg chg="mod">
          <ac:chgData name="Kisliuk, Adrian (ext)" userId="6e619ce3-2643-4cdf-9a13-b4c269650021" providerId="ADAL" clId="{AFCEEFB0-37BC-48D4-B200-D3706B2CD7FE}" dt="2021-04-16T07:57:51.355" v="9" actId="1076"/>
          <ac:spMkLst>
            <pc:docMk/>
            <pc:sldMk cId="3217164513" sldId="833"/>
            <ac:spMk id="76" creationId="{8060BAA4-321B-4EE7-9C2C-C1859C14637C}"/>
          </ac:spMkLst>
        </pc:spChg>
        <pc:spChg chg="add mod">
          <ac:chgData name="Kisliuk, Adrian (ext)" userId="6e619ce3-2643-4cdf-9a13-b4c269650021" providerId="ADAL" clId="{AFCEEFB0-37BC-48D4-B200-D3706B2CD7FE}" dt="2021-04-16T08:00:30.568" v="48" actId="14861"/>
          <ac:spMkLst>
            <pc:docMk/>
            <pc:sldMk cId="3217164513" sldId="833"/>
            <ac:spMk id="92" creationId="{6B158B4D-3498-4ECB-918B-585D6BF5D6A6}"/>
          </ac:spMkLst>
        </pc:spChg>
        <pc:spChg chg="mod">
          <ac:chgData name="Kisliuk, Adrian (ext)" userId="6e619ce3-2643-4cdf-9a13-b4c269650021" providerId="ADAL" clId="{AFCEEFB0-37BC-48D4-B200-D3706B2CD7FE}" dt="2021-04-19T11:26:43.547" v="5857" actId="20577"/>
          <ac:spMkLst>
            <pc:docMk/>
            <pc:sldMk cId="3217164513" sldId="833"/>
            <ac:spMk id="100" creationId="{718CCEBD-1311-4DB9-8277-4828BEE859F1}"/>
          </ac:spMkLst>
        </pc:spChg>
        <pc:graphicFrameChg chg="mod">
          <ac:chgData name="Kisliuk, Adrian (ext)" userId="6e619ce3-2643-4cdf-9a13-b4c269650021" providerId="ADAL" clId="{AFCEEFB0-37BC-48D4-B200-D3706B2CD7FE}" dt="2021-04-21T09:05:09.641" v="17019" actId="1076"/>
          <ac:graphicFrameMkLst>
            <pc:docMk/>
            <pc:sldMk cId="3217164513" sldId="833"/>
            <ac:graphicFrameMk id="7" creationId="{5863A9E7-2E2A-4B1C-90C1-EF823E551718}"/>
          </ac:graphicFrameMkLst>
        </pc:graphicFrameChg>
        <pc:cxnChg chg="add mod">
          <ac:chgData name="Kisliuk, Adrian (ext)" userId="6e619ce3-2643-4cdf-9a13-b4c269650021" providerId="ADAL" clId="{AFCEEFB0-37BC-48D4-B200-D3706B2CD7FE}" dt="2021-04-16T08:00:18.612" v="46" actId="1076"/>
          <ac:cxnSpMkLst>
            <pc:docMk/>
            <pc:sldMk cId="3217164513" sldId="833"/>
            <ac:cxnSpMk id="6" creationId="{BB73AF7D-3AFB-458C-9E13-4490BD29D49E}"/>
          </ac:cxnSpMkLst>
        </pc:cxnChg>
      </pc:sldChg>
      <pc:sldChg chg="addSp delSp modSp del mod addCm delCm modCm">
        <pc:chgData name="Kisliuk, Adrian (ext)" userId="6e619ce3-2643-4cdf-9a13-b4c269650021" providerId="ADAL" clId="{AFCEEFB0-37BC-48D4-B200-D3706B2CD7FE}" dt="2021-04-19T12:15:25.481" v="6534" actId="47"/>
        <pc:sldMkLst>
          <pc:docMk/>
          <pc:sldMk cId="2759709542" sldId="834"/>
        </pc:sldMkLst>
        <pc:spChg chg="del mod">
          <ac:chgData name="Kisliuk, Adrian (ext)" userId="6e619ce3-2643-4cdf-9a13-b4c269650021" providerId="ADAL" clId="{AFCEEFB0-37BC-48D4-B200-D3706B2CD7FE}" dt="2021-04-19T12:07:36.134" v="6317" actId="478"/>
          <ac:spMkLst>
            <pc:docMk/>
            <pc:sldMk cId="2759709542" sldId="834"/>
            <ac:spMk id="3" creationId="{BB5CAE44-300B-4DB1-8AD9-1B640EC727C8}"/>
          </ac:spMkLst>
        </pc:spChg>
        <pc:spChg chg="mod">
          <ac:chgData name="Kisliuk, Adrian (ext)" userId="6e619ce3-2643-4cdf-9a13-b4c269650021" providerId="ADAL" clId="{AFCEEFB0-37BC-48D4-B200-D3706B2CD7FE}" dt="2021-04-19T12:07:14.802" v="6275" actId="948"/>
          <ac:spMkLst>
            <pc:docMk/>
            <pc:sldMk cId="2759709542" sldId="834"/>
            <ac:spMk id="4" creationId="{1AB009D3-A2D1-4E5A-A61C-EDC234F589DB}"/>
          </ac:spMkLst>
        </pc:spChg>
        <pc:spChg chg="mod">
          <ac:chgData name="Kisliuk, Adrian (ext)" userId="6e619ce3-2643-4cdf-9a13-b4c269650021" providerId="ADAL" clId="{AFCEEFB0-37BC-48D4-B200-D3706B2CD7FE}" dt="2021-04-19T12:06:50.737" v="6272" actId="20577"/>
          <ac:spMkLst>
            <pc:docMk/>
            <pc:sldMk cId="2759709542" sldId="834"/>
            <ac:spMk id="5" creationId="{FC298125-D680-4F92-8081-A588B2F8C85A}"/>
          </ac:spMkLst>
        </pc:spChg>
        <pc:spChg chg="del mod">
          <ac:chgData name="Kisliuk, Adrian (ext)" userId="6e619ce3-2643-4cdf-9a13-b4c269650021" providerId="ADAL" clId="{AFCEEFB0-37BC-48D4-B200-D3706B2CD7FE}" dt="2021-04-19T12:07:37.822" v="6318" actId="478"/>
          <ac:spMkLst>
            <pc:docMk/>
            <pc:sldMk cId="2759709542" sldId="834"/>
            <ac:spMk id="6" creationId="{8559A0E3-7A21-43A2-9882-D81BEE73A640}"/>
          </ac:spMkLst>
        </pc:spChg>
        <pc:spChg chg="add del mod modVis">
          <ac:chgData name="Kisliuk, Adrian (ext)" userId="6e619ce3-2643-4cdf-9a13-b4c269650021" providerId="ADAL" clId="{AFCEEFB0-37BC-48D4-B200-D3706B2CD7FE}" dt="2021-04-19T12:07:14.864" v="6312"/>
          <ac:spMkLst>
            <pc:docMk/>
            <pc:sldMk cId="2759709542" sldId="834"/>
            <ac:spMk id="7" creationId="{28279E32-52AB-47EB-B3BA-BC9DCA33E209}"/>
          </ac:spMkLst>
        </pc:spChg>
        <pc:graphicFrameChg chg="mod">
          <ac:chgData name="Kisliuk, Adrian (ext)" userId="6e619ce3-2643-4cdf-9a13-b4c269650021" providerId="ADAL" clId="{AFCEEFB0-37BC-48D4-B200-D3706B2CD7FE}" dt="2021-04-19T12:07:14.867" v="6314"/>
          <ac:graphicFrameMkLst>
            <pc:docMk/>
            <pc:sldMk cId="2759709542" sldId="834"/>
            <ac:graphicFrameMk id="8" creationId="{695D08A0-894A-4CFF-8236-815C8A4DAC20}"/>
          </ac:graphicFrameMkLst>
        </pc:graphicFrameChg>
      </pc:sldChg>
      <pc:sldChg chg="del">
        <pc:chgData name="Kisliuk, Adrian (ext)" userId="6e619ce3-2643-4cdf-9a13-b4c269650021" providerId="ADAL" clId="{AFCEEFB0-37BC-48D4-B200-D3706B2CD7FE}" dt="2021-04-21T12:33:38.132" v="20468" actId="47"/>
        <pc:sldMkLst>
          <pc:docMk/>
          <pc:sldMk cId="2386691843" sldId="835"/>
        </pc:sldMkLst>
      </pc:sldChg>
      <pc:sldChg chg="addSp delSp modSp del mod">
        <pc:chgData name="Kisliuk, Adrian (ext)" userId="6e619ce3-2643-4cdf-9a13-b4c269650021" providerId="ADAL" clId="{AFCEEFB0-37BC-48D4-B200-D3706B2CD7FE}" dt="2021-04-21T12:33:32.182" v="20467" actId="47"/>
        <pc:sldMkLst>
          <pc:docMk/>
          <pc:sldMk cId="692313280" sldId="839"/>
        </pc:sldMkLst>
        <pc:spChg chg="mod">
          <ac:chgData name="Kisliuk, Adrian (ext)" userId="6e619ce3-2643-4cdf-9a13-b4c269650021" providerId="ADAL" clId="{AFCEEFB0-37BC-48D4-B200-D3706B2CD7FE}" dt="2021-04-16T12:36:54.212" v="1248" actId="948"/>
          <ac:spMkLst>
            <pc:docMk/>
            <pc:sldMk cId="692313280" sldId="839"/>
            <ac:spMk id="4" creationId="{C32F903F-A4E8-491F-8C7C-2288947BD34E}"/>
          </ac:spMkLst>
        </pc:spChg>
        <pc:spChg chg="add del mod modVis">
          <ac:chgData name="Kisliuk, Adrian (ext)" userId="6e619ce3-2643-4cdf-9a13-b4c269650021" providerId="ADAL" clId="{AFCEEFB0-37BC-48D4-B200-D3706B2CD7FE}" dt="2021-04-16T12:36:54.251" v="1285"/>
          <ac:spMkLst>
            <pc:docMk/>
            <pc:sldMk cId="692313280" sldId="839"/>
            <ac:spMk id="5" creationId="{9EC83395-40B3-40ED-AF35-88C10DAA7FE5}"/>
          </ac:spMkLst>
        </pc:spChg>
        <pc:spChg chg="del mod">
          <ac:chgData name="Kisliuk, Adrian (ext)" userId="6e619ce3-2643-4cdf-9a13-b4c269650021" providerId="ADAL" clId="{AFCEEFB0-37BC-48D4-B200-D3706B2CD7FE}" dt="2021-04-19T17:31:57.333" v="9373" actId="478"/>
          <ac:spMkLst>
            <pc:docMk/>
            <pc:sldMk cId="692313280" sldId="839"/>
            <ac:spMk id="39" creationId="{E2FCCC2F-279A-4FB2-877B-40A73BD6C985}"/>
          </ac:spMkLst>
        </pc:spChg>
        <pc:graphicFrameChg chg="mod">
          <ac:chgData name="Kisliuk, Adrian (ext)" userId="6e619ce3-2643-4cdf-9a13-b4c269650021" providerId="ADAL" clId="{AFCEEFB0-37BC-48D4-B200-D3706B2CD7FE}" dt="2021-04-16T12:36:54.255" v="1287"/>
          <ac:graphicFrameMkLst>
            <pc:docMk/>
            <pc:sldMk cId="692313280" sldId="839"/>
            <ac:graphicFrameMk id="7" creationId="{5660D7B9-2AFE-459A-88CF-B12E9607ECF2}"/>
          </ac:graphicFrameMkLst>
        </pc:graphicFrameChg>
      </pc:sldChg>
      <pc:sldChg chg="del ord">
        <pc:chgData name="Kisliuk, Adrian (ext)" userId="6e619ce3-2643-4cdf-9a13-b4c269650021" providerId="ADAL" clId="{AFCEEFB0-37BC-48D4-B200-D3706B2CD7FE}" dt="2021-04-21T12:34:17.640" v="20472" actId="47"/>
        <pc:sldMkLst>
          <pc:docMk/>
          <pc:sldMk cId="3717664771" sldId="840"/>
        </pc:sldMkLst>
      </pc:sldChg>
      <pc:sldChg chg="delSp del mod modTransition modShow">
        <pc:chgData name="Kisliuk, Adrian (ext)" userId="6e619ce3-2643-4cdf-9a13-b4c269650021" providerId="ADAL" clId="{AFCEEFB0-37BC-48D4-B200-D3706B2CD7FE}" dt="2021-04-21T08:39:16.748" v="16755" actId="47"/>
        <pc:sldMkLst>
          <pc:docMk/>
          <pc:sldMk cId="44353695" sldId="843"/>
        </pc:sldMkLst>
        <pc:spChg chg="del">
          <ac:chgData name="Kisliuk, Adrian (ext)" userId="6e619ce3-2643-4cdf-9a13-b4c269650021" providerId="ADAL" clId="{AFCEEFB0-37BC-48D4-B200-D3706B2CD7FE}" dt="2021-04-19T16:32:23.746" v="9344" actId="478"/>
          <ac:spMkLst>
            <pc:docMk/>
            <pc:sldMk cId="44353695" sldId="843"/>
            <ac:spMk id="4" creationId="{00000000-0000-0000-0000-000000000000}"/>
          </ac:spMkLst>
        </pc:spChg>
      </pc:sldChg>
      <pc:sldChg chg="delSp modSp del mod">
        <pc:chgData name="Kisliuk, Adrian (ext)" userId="6e619ce3-2643-4cdf-9a13-b4c269650021" providerId="ADAL" clId="{AFCEEFB0-37BC-48D4-B200-D3706B2CD7FE}" dt="2021-04-21T12:29:55.766" v="20420" actId="47"/>
        <pc:sldMkLst>
          <pc:docMk/>
          <pc:sldMk cId="3288340041" sldId="844"/>
        </pc:sldMkLst>
        <pc:spChg chg="del">
          <ac:chgData name="Kisliuk, Adrian (ext)" userId="6e619ce3-2643-4cdf-9a13-b4c269650021" providerId="ADAL" clId="{AFCEEFB0-37BC-48D4-B200-D3706B2CD7FE}" dt="2021-04-19T16:33:34.773" v="9351" actId="478"/>
          <ac:spMkLst>
            <pc:docMk/>
            <pc:sldMk cId="3288340041" sldId="844"/>
            <ac:spMk id="3" creationId="{0558053C-8B25-49BD-9A26-1A8B05118123}"/>
          </ac:spMkLst>
        </pc:spChg>
        <pc:graphicFrameChg chg="mod modGraphic">
          <ac:chgData name="Kisliuk, Adrian (ext)" userId="6e619ce3-2643-4cdf-9a13-b4c269650021" providerId="ADAL" clId="{AFCEEFB0-37BC-48D4-B200-D3706B2CD7FE}" dt="2021-04-21T12:23:31.280" v="20082" actId="20577"/>
          <ac:graphicFrameMkLst>
            <pc:docMk/>
            <pc:sldMk cId="3288340041" sldId="844"/>
            <ac:graphicFrameMk id="5" creationId="{C6BC0DD7-F970-4B15-AC2E-BC5C7F24E2FE}"/>
          </ac:graphicFrameMkLst>
        </pc:graphicFrameChg>
      </pc:sldChg>
      <pc:sldChg chg="delSp modSp add del mod ord modTransition modShow addCm modCm">
        <pc:chgData name="Kisliuk, Adrian (ext)" userId="6e619ce3-2643-4cdf-9a13-b4c269650021" providerId="ADAL" clId="{AFCEEFB0-37BC-48D4-B200-D3706B2CD7FE}" dt="2021-04-21T09:05:29.329" v="17047" actId="47"/>
        <pc:sldMkLst>
          <pc:docMk/>
          <pc:sldMk cId="1627132099" sldId="849"/>
        </pc:sldMkLst>
        <pc:spChg chg="del">
          <ac:chgData name="Kisliuk, Adrian (ext)" userId="6e619ce3-2643-4cdf-9a13-b4c269650021" providerId="ADAL" clId="{AFCEEFB0-37BC-48D4-B200-D3706B2CD7FE}" dt="2021-04-19T12:59:49.251" v="7367" actId="478"/>
          <ac:spMkLst>
            <pc:docMk/>
            <pc:sldMk cId="1627132099" sldId="849"/>
            <ac:spMk id="8" creationId="{CAE79D59-CD73-4ED7-A277-78F6997D187C}"/>
          </ac:spMkLst>
        </pc:spChg>
        <pc:spChg chg="mod">
          <ac:chgData name="Kisliuk, Adrian (ext)" userId="6e619ce3-2643-4cdf-9a13-b4c269650021" providerId="ADAL" clId="{AFCEEFB0-37BC-48D4-B200-D3706B2CD7FE}" dt="2021-04-19T13:01:09.662" v="7412" actId="1076"/>
          <ac:spMkLst>
            <pc:docMk/>
            <pc:sldMk cId="1627132099" sldId="849"/>
            <ac:spMk id="9" creationId="{E47DD0DE-A828-4AB7-825A-737E1DF0525A}"/>
          </ac:spMkLst>
        </pc:spChg>
        <pc:spChg chg="mod">
          <ac:chgData name="Kisliuk, Adrian (ext)" userId="6e619ce3-2643-4cdf-9a13-b4c269650021" providerId="ADAL" clId="{AFCEEFB0-37BC-48D4-B200-D3706B2CD7FE}" dt="2021-04-19T13:01:26.964" v="7425" actId="20577"/>
          <ac:spMkLst>
            <pc:docMk/>
            <pc:sldMk cId="1627132099" sldId="849"/>
            <ac:spMk id="44" creationId="{5BE3AE2B-4A0E-4204-B25A-B404EC4FDDA8}"/>
          </ac:spMkLst>
        </pc:spChg>
      </pc:sldChg>
      <pc:sldChg chg="add del">
        <pc:chgData name="Kisliuk, Adrian (ext)" userId="6e619ce3-2643-4cdf-9a13-b4c269650021" providerId="ADAL" clId="{AFCEEFB0-37BC-48D4-B200-D3706B2CD7FE}" dt="2021-04-21T09:05:25.363" v="17046" actId="47"/>
        <pc:sldMkLst>
          <pc:docMk/>
          <pc:sldMk cId="209716233" sldId="850"/>
        </pc:sldMkLst>
      </pc:sldChg>
      <pc:sldChg chg="delSp modSp del mod ord modTransition modShow addCm modCm">
        <pc:chgData name="Kisliuk, Adrian (ext)" userId="6e619ce3-2643-4cdf-9a13-b4c269650021" providerId="ADAL" clId="{AFCEEFB0-37BC-48D4-B200-D3706B2CD7FE}" dt="2021-04-21T08:33:50.996" v="16556" actId="2696"/>
        <pc:sldMkLst>
          <pc:docMk/>
          <pc:sldMk cId="3424724315" sldId="850"/>
        </pc:sldMkLst>
        <pc:spChg chg="del mod">
          <ac:chgData name="Kisliuk, Adrian (ext)" userId="6e619ce3-2643-4cdf-9a13-b4c269650021" providerId="ADAL" clId="{AFCEEFB0-37BC-48D4-B200-D3706B2CD7FE}" dt="2021-04-19T12:27:29.772" v="6982" actId="478"/>
          <ac:spMkLst>
            <pc:docMk/>
            <pc:sldMk cId="3424724315" sldId="850"/>
            <ac:spMk id="4" creationId="{00000000-0000-0000-0000-000000000000}"/>
          </ac:spMkLst>
        </pc:spChg>
        <pc:spChg chg="mod">
          <ac:chgData name="Kisliuk, Adrian (ext)" userId="6e619ce3-2643-4cdf-9a13-b4c269650021" providerId="ADAL" clId="{AFCEEFB0-37BC-48D4-B200-D3706B2CD7FE}" dt="2021-04-19T14:44:47.325" v="8364" actId="1076"/>
          <ac:spMkLst>
            <pc:docMk/>
            <pc:sldMk cId="3424724315" sldId="850"/>
            <ac:spMk id="7" creationId="{A01B97CA-E518-42F4-99E1-F023E52FB426}"/>
          </ac:spMkLst>
        </pc:spChg>
        <pc:spChg chg="mod">
          <ac:chgData name="Kisliuk, Adrian (ext)" userId="6e619ce3-2643-4cdf-9a13-b4c269650021" providerId="ADAL" clId="{AFCEEFB0-37BC-48D4-B200-D3706B2CD7FE}" dt="2021-04-16T14:09:11.660" v="1299" actId="1076"/>
          <ac:spMkLst>
            <pc:docMk/>
            <pc:sldMk cId="3424724315" sldId="850"/>
            <ac:spMk id="12" creationId="{B4F2CB6D-8100-4800-BD6C-F81203927C9B}"/>
          </ac:spMkLst>
        </pc:spChg>
        <pc:spChg chg="mod">
          <ac:chgData name="Kisliuk, Adrian (ext)" userId="6e619ce3-2643-4cdf-9a13-b4c269650021" providerId="ADAL" clId="{AFCEEFB0-37BC-48D4-B200-D3706B2CD7FE}" dt="2021-04-19T14:46:16.670" v="8368" actId="20577"/>
          <ac:spMkLst>
            <pc:docMk/>
            <pc:sldMk cId="3424724315" sldId="850"/>
            <ac:spMk id="26" creationId="{CE1C3E13-AF8F-4301-B411-986CE84A3DD5}"/>
          </ac:spMkLst>
        </pc:spChg>
      </pc:sldChg>
      <pc:sldChg chg="modSp del mod modTransition modShow addCm modCm">
        <pc:chgData name="Kisliuk, Adrian (ext)" userId="6e619ce3-2643-4cdf-9a13-b4c269650021" providerId="ADAL" clId="{AFCEEFB0-37BC-48D4-B200-D3706B2CD7FE}" dt="2021-04-21T08:51:29.193" v="16868" actId="47"/>
        <pc:sldMkLst>
          <pc:docMk/>
          <pc:sldMk cId="530366835" sldId="851"/>
        </pc:sldMkLst>
        <pc:spChg chg="mod">
          <ac:chgData name="Kisliuk, Adrian (ext)" userId="6e619ce3-2643-4cdf-9a13-b4c269650021" providerId="ADAL" clId="{AFCEEFB0-37BC-48D4-B200-D3706B2CD7FE}" dt="2021-04-16T14:50:38.485" v="2057" actId="20577"/>
          <ac:spMkLst>
            <pc:docMk/>
            <pc:sldMk cId="530366835" sldId="851"/>
            <ac:spMk id="4" creationId="{00000000-0000-0000-0000-000000000000}"/>
          </ac:spMkLst>
        </pc:spChg>
        <pc:spChg chg="mod">
          <ac:chgData name="Kisliuk, Adrian (ext)" userId="6e619ce3-2643-4cdf-9a13-b4c269650021" providerId="ADAL" clId="{AFCEEFB0-37BC-48D4-B200-D3706B2CD7FE}" dt="2021-04-16T09:05:20.989" v="1046" actId="20577"/>
          <ac:spMkLst>
            <pc:docMk/>
            <pc:sldMk cId="530366835" sldId="851"/>
            <ac:spMk id="9" creationId="{CA25D94E-4815-497C-B33B-5DF76250EE0D}"/>
          </ac:spMkLst>
        </pc:spChg>
        <pc:spChg chg="mod">
          <ac:chgData name="Kisliuk, Adrian (ext)" userId="6e619ce3-2643-4cdf-9a13-b4c269650021" providerId="ADAL" clId="{AFCEEFB0-37BC-48D4-B200-D3706B2CD7FE}" dt="2021-04-16T12:11:27.578" v="1076" actId="1076"/>
          <ac:spMkLst>
            <pc:docMk/>
            <pc:sldMk cId="530366835" sldId="851"/>
            <ac:spMk id="10" creationId="{D5B6F30A-C27B-4CD6-A9A9-AA3DB2C017FE}"/>
          </ac:spMkLst>
        </pc:spChg>
      </pc:sldChg>
      <pc:sldChg chg="delSp modSp del mod modTransition modShow delCm">
        <pc:chgData name="Kisliuk, Adrian (ext)" userId="6e619ce3-2643-4cdf-9a13-b4c269650021" providerId="ADAL" clId="{AFCEEFB0-37BC-48D4-B200-D3706B2CD7FE}" dt="2021-04-21T08:39:10.987" v="16754" actId="47"/>
        <pc:sldMkLst>
          <pc:docMk/>
          <pc:sldMk cId="408860177" sldId="852"/>
        </pc:sldMkLst>
        <pc:spChg chg="del mod">
          <ac:chgData name="Kisliuk, Adrian (ext)" userId="6e619ce3-2643-4cdf-9a13-b4c269650021" providerId="ADAL" clId="{AFCEEFB0-37BC-48D4-B200-D3706B2CD7FE}" dt="2021-04-19T16:32:20.884" v="9343" actId="478"/>
          <ac:spMkLst>
            <pc:docMk/>
            <pc:sldMk cId="408860177" sldId="852"/>
            <ac:spMk id="4" creationId="{00000000-0000-0000-0000-000000000000}"/>
          </ac:spMkLst>
        </pc:spChg>
      </pc:sldChg>
      <pc:sldChg chg="modSp add del mod ord modTransition modShow">
        <pc:chgData name="Kisliuk, Adrian (ext)" userId="6e619ce3-2643-4cdf-9a13-b4c269650021" providerId="ADAL" clId="{AFCEEFB0-37BC-48D4-B200-D3706B2CD7FE}" dt="2021-04-21T09:05:29.329" v="17047" actId="47"/>
        <pc:sldMkLst>
          <pc:docMk/>
          <pc:sldMk cId="2552030312" sldId="854"/>
        </pc:sldMkLst>
        <pc:spChg chg="mod">
          <ac:chgData name="Kisliuk, Adrian (ext)" userId="6e619ce3-2643-4cdf-9a13-b4c269650021" providerId="ADAL" clId="{AFCEEFB0-37BC-48D4-B200-D3706B2CD7FE}" dt="2021-04-16T08:14:19.815" v="496" actId="1035"/>
          <ac:spMkLst>
            <pc:docMk/>
            <pc:sldMk cId="2552030312" sldId="854"/>
            <ac:spMk id="8" creationId="{B6B871D8-C132-479D-8579-2FE6462D86E3}"/>
          </ac:spMkLst>
        </pc:spChg>
        <pc:spChg chg="mod">
          <ac:chgData name="Kisliuk, Adrian (ext)" userId="6e619ce3-2643-4cdf-9a13-b4c269650021" providerId="ADAL" clId="{AFCEEFB0-37BC-48D4-B200-D3706B2CD7FE}" dt="2021-04-16T15:13:35.153" v="2425" actId="20577"/>
          <ac:spMkLst>
            <pc:docMk/>
            <pc:sldMk cId="2552030312" sldId="854"/>
            <ac:spMk id="9" creationId="{C964F4FF-7D56-466B-A1EC-110646CC99CD}"/>
          </ac:spMkLst>
        </pc:spChg>
        <pc:spChg chg="mod">
          <ac:chgData name="Kisliuk, Adrian (ext)" userId="6e619ce3-2643-4cdf-9a13-b4c269650021" providerId="ADAL" clId="{AFCEEFB0-37BC-48D4-B200-D3706B2CD7FE}" dt="2021-04-16T08:14:19.815" v="496" actId="1035"/>
          <ac:spMkLst>
            <pc:docMk/>
            <pc:sldMk cId="2552030312" sldId="854"/>
            <ac:spMk id="10" creationId="{B7926D57-2347-40FA-8399-D501F67CB29D}"/>
          </ac:spMkLst>
        </pc:spChg>
        <pc:spChg chg="mod">
          <ac:chgData name="Kisliuk, Adrian (ext)" userId="6e619ce3-2643-4cdf-9a13-b4c269650021" providerId="ADAL" clId="{AFCEEFB0-37BC-48D4-B200-D3706B2CD7FE}" dt="2021-04-16T08:14:19.815" v="496" actId="1035"/>
          <ac:spMkLst>
            <pc:docMk/>
            <pc:sldMk cId="2552030312" sldId="854"/>
            <ac:spMk id="11" creationId="{C47485E1-A93F-4BA8-B32D-B372163F866D}"/>
          </ac:spMkLst>
        </pc:spChg>
        <pc:spChg chg="mod">
          <ac:chgData name="Kisliuk, Adrian (ext)" userId="6e619ce3-2643-4cdf-9a13-b4c269650021" providerId="ADAL" clId="{AFCEEFB0-37BC-48D4-B200-D3706B2CD7FE}" dt="2021-04-16T08:14:19.815" v="496" actId="1035"/>
          <ac:spMkLst>
            <pc:docMk/>
            <pc:sldMk cId="2552030312" sldId="854"/>
            <ac:spMk id="12" creationId="{DA6C3CCB-73A4-44E0-957C-C1A68722E66C}"/>
          </ac:spMkLst>
        </pc:spChg>
        <pc:spChg chg="mod">
          <ac:chgData name="Kisliuk, Adrian (ext)" userId="6e619ce3-2643-4cdf-9a13-b4c269650021" providerId="ADAL" clId="{AFCEEFB0-37BC-48D4-B200-D3706B2CD7FE}" dt="2021-04-16T08:14:19.815" v="496" actId="1035"/>
          <ac:spMkLst>
            <pc:docMk/>
            <pc:sldMk cId="2552030312" sldId="854"/>
            <ac:spMk id="14" creationId="{5691E2AD-7906-4457-AE2A-BAE55F1C0EDE}"/>
          </ac:spMkLst>
        </pc:spChg>
        <pc:graphicFrameChg chg="mod">
          <ac:chgData name="Kisliuk, Adrian (ext)" userId="6e619ce3-2643-4cdf-9a13-b4c269650021" providerId="ADAL" clId="{AFCEEFB0-37BC-48D4-B200-D3706B2CD7FE}" dt="2021-04-21T09:05:09.640" v="17018" actId="1076"/>
          <ac:graphicFrameMkLst>
            <pc:docMk/>
            <pc:sldMk cId="2552030312" sldId="854"/>
            <ac:graphicFrameMk id="6" creationId="{580DFCAE-76C4-413B-B499-F7B76F1E13AF}"/>
          </ac:graphicFrameMkLst>
        </pc:graphicFrameChg>
      </pc:sldChg>
      <pc:sldChg chg="modSp add del mod">
        <pc:chgData name="Kisliuk, Adrian (ext)" userId="6e619ce3-2643-4cdf-9a13-b4c269650021" providerId="ADAL" clId="{AFCEEFB0-37BC-48D4-B200-D3706B2CD7FE}" dt="2021-04-21T09:05:29.329" v="17047" actId="47"/>
        <pc:sldMkLst>
          <pc:docMk/>
          <pc:sldMk cId="1971424281" sldId="871"/>
        </pc:sldMkLst>
        <pc:graphicFrameChg chg="mod">
          <ac:chgData name="Kisliuk, Adrian (ext)" userId="6e619ce3-2643-4cdf-9a13-b4c269650021" providerId="ADAL" clId="{AFCEEFB0-37BC-48D4-B200-D3706B2CD7FE}" dt="2021-04-21T09:05:09.642" v="17021" actId="1076"/>
          <ac:graphicFrameMkLst>
            <pc:docMk/>
            <pc:sldMk cId="1971424281" sldId="871"/>
            <ac:graphicFrameMk id="6" creationId="{580DFCAE-76C4-413B-B499-F7B76F1E13AF}"/>
          </ac:graphicFrameMkLst>
        </pc:graphicFrameChg>
      </pc:sldChg>
      <pc:sldChg chg="modSp add del mod ord modTransition modShow addCm delCm modCm">
        <pc:chgData name="Kisliuk, Adrian (ext)" userId="6e619ce3-2643-4cdf-9a13-b4c269650021" providerId="ADAL" clId="{AFCEEFB0-37BC-48D4-B200-D3706B2CD7FE}" dt="2021-04-21T09:05:29.329" v="17047" actId="47"/>
        <pc:sldMkLst>
          <pc:docMk/>
          <pc:sldMk cId="1758910654" sldId="872"/>
        </pc:sldMkLst>
        <pc:spChg chg="mod">
          <ac:chgData name="Kisliuk, Adrian (ext)" userId="6e619ce3-2643-4cdf-9a13-b4c269650021" providerId="ADAL" clId="{AFCEEFB0-37BC-48D4-B200-D3706B2CD7FE}" dt="2021-04-16T12:28:24.623" v="1192" actId="20577"/>
          <ac:spMkLst>
            <pc:docMk/>
            <pc:sldMk cId="1758910654" sldId="872"/>
            <ac:spMk id="46" creationId="{2A188CE8-0E87-4C08-B317-E3C30658CF3A}"/>
          </ac:spMkLst>
        </pc:spChg>
        <pc:graphicFrameChg chg="mod">
          <ac:chgData name="Kisliuk, Adrian (ext)" userId="6e619ce3-2643-4cdf-9a13-b4c269650021" providerId="ADAL" clId="{AFCEEFB0-37BC-48D4-B200-D3706B2CD7FE}" dt="2021-04-21T09:05:09.643" v="17022" actId="1076"/>
          <ac:graphicFrameMkLst>
            <pc:docMk/>
            <pc:sldMk cId="1758910654" sldId="872"/>
            <ac:graphicFrameMk id="6" creationId="{580DFCAE-76C4-413B-B499-F7B76F1E13AF}"/>
          </ac:graphicFrameMkLst>
        </pc:graphicFrameChg>
      </pc:sldChg>
      <pc:sldChg chg="modSp add del mod">
        <pc:chgData name="Kisliuk, Adrian (ext)" userId="6e619ce3-2643-4cdf-9a13-b4c269650021" providerId="ADAL" clId="{AFCEEFB0-37BC-48D4-B200-D3706B2CD7FE}" dt="2021-04-21T09:05:25.363" v="17046" actId="47"/>
        <pc:sldMkLst>
          <pc:docMk/>
          <pc:sldMk cId="3563351920" sldId="873"/>
        </pc:sldMkLst>
        <pc:graphicFrameChg chg="mod">
          <ac:chgData name="Kisliuk, Adrian (ext)" userId="6e619ce3-2643-4cdf-9a13-b4c269650021" providerId="ADAL" clId="{AFCEEFB0-37BC-48D4-B200-D3706B2CD7FE}" dt="2021-04-21T09:05:11.159" v="17034" actId="1076"/>
          <ac:graphicFrameMkLst>
            <pc:docMk/>
            <pc:sldMk cId="3563351920" sldId="873"/>
            <ac:graphicFrameMk id="4" creationId="{C83F301A-78A1-4983-9CB8-1A10622AAB94}"/>
          </ac:graphicFrameMkLst>
        </pc:graphicFrameChg>
      </pc:sldChg>
      <pc:sldChg chg="addSp delSp modSp del mod">
        <pc:chgData name="Kisliuk, Adrian (ext)" userId="6e619ce3-2643-4cdf-9a13-b4c269650021" providerId="ADAL" clId="{AFCEEFB0-37BC-48D4-B200-D3706B2CD7FE}" dt="2021-04-21T08:34:08.162" v="16558" actId="2696"/>
        <pc:sldMkLst>
          <pc:docMk/>
          <pc:sldMk cId="3743295614" sldId="873"/>
        </pc:sldMkLst>
        <pc:spChg chg="add mod">
          <ac:chgData name="Kisliuk, Adrian (ext)" userId="6e619ce3-2643-4cdf-9a13-b4c269650021" providerId="ADAL" clId="{AFCEEFB0-37BC-48D4-B200-D3706B2CD7FE}" dt="2021-04-16T08:33:10.334" v="789" actId="20577"/>
          <ac:spMkLst>
            <pc:docMk/>
            <pc:sldMk cId="3743295614" sldId="873"/>
            <ac:spMk id="7" creationId="{51B4C151-7F3B-4DEA-A4A4-0A7CDD23F632}"/>
          </ac:spMkLst>
        </pc:spChg>
        <pc:spChg chg="add mod">
          <ac:chgData name="Kisliuk, Adrian (ext)" userId="6e619ce3-2643-4cdf-9a13-b4c269650021" providerId="ADAL" clId="{AFCEEFB0-37BC-48D4-B200-D3706B2CD7FE}" dt="2021-04-16T08:47:49.250" v="971" actId="207"/>
          <ac:spMkLst>
            <pc:docMk/>
            <pc:sldMk cId="3743295614" sldId="873"/>
            <ac:spMk id="8" creationId="{A925B3FD-24BE-411B-A901-9A29638207E9}"/>
          </ac:spMkLst>
        </pc:spChg>
        <pc:spChg chg="add del">
          <ac:chgData name="Kisliuk, Adrian (ext)" userId="6e619ce3-2643-4cdf-9a13-b4c269650021" providerId="ADAL" clId="{AFCEEFB0-37BC-48D4-B200-D3706B2CD7FE}" dt="2021-04-16T08:06:00.592" v="344" actId="478"/>
          <ac:spMkLst>
            <pc:docMk/>
            <pc:sldMk cId="3743295614" sldId="873"/>
            <ac:spMk id="34" creationId="{D007DA82-C325-4DA3-9E40-5BFAC41303C7}"/>
          </ac:spMkLst>
        </pc:spChg>
        <pc:graphicFrameChg chg="del">
          <ac:chgData name="Kisliuk, Adrian (ext)" userId="6e619ce3-2643-4cdf-9a13-b4c269650021" providerId="ADAL" clId="{AFCEEFB0-37BC-48D4-B200-D3706B2CD7FE}" dt="2021-04-16T08:04:06.345" v="311" actId="478"/>
          <ac:graphicFrameMkLst>
            <pc:docMk/>
            <pc:sldMk cId="3743295614" sldId="873"/>
            <ac:graphicFrameMk id="11" creationId="{DA95A6DF-05B3-4364-96B6-B05A3911B7BF}"/>
          </ac:graphicFrameMkLst>
        </pc:graphicFrameChg>
        <pc:cxnChg chg="add mod">
          <ac:chgData name="Kisliuk, Adrian (ext)" userId="6e619ce3-2643-4cdf-9a13-b4c269650021" providerId="ADAL" clId="{AFCEEFB0-37BC-48D4-B200-D3706B2CD7FE}" dt="2021-04-16T08:04:13.928" v="312"/>
          <ac:cxnSpMkLst>
            <pc:docMk/>
            <pc:sldMk cId="3743295614" sldId="873"/>
            <ac:cxnSpMk id="9" creationId="{A9C065DC-E8DD-4999-825B-47126D9F9E37}"/>
          </ac:cxnSpMkLst>
        </pc:cxnChg>
      </pc:sldChg>
      <pc:sldChg chg="del mod modTransition modShow">
        <pc:chgData name="Kisliuk, Adrian (ext)" userId="6e619ce3-2643-4cdf-9a13-b4c269650021" providerId="ADAL" clId="{AFCEEFB0-37BC-48D4-B200-D3706B2CD7FE}" dt="2021-04-16T08:34:36.495" v="818" actId="47"/>
        <pc:sldMkLst>
          <pc:docMk/>
          <pc:sldMk cId="476882913" sldId="877"/>
        </pc:sldMkLst>
      </pc:sldChg>
      <pc:sldChg chg="add del">
        <pc:chgData name="Kisliuk, Adrian (ext)" userId="6e619ce3-2643-4cdf-9a13-b4c269650021" providerId="ADAL" clId="{AFCEEFB0-37BC-48D4-B200-D3706B2CD7FE}" dt="2021-04-21T09:05:25.363" v="17046" actId="47"/>
        <pc:sldMkLst>
          <pc:docMk/>
          <pc:sldMk cId="1349561212" sldId="878"/>
        </pc:sldMkLst>
      </pc:sldChg>
      <pc:sldChg chg="modSp add del mod">
        <pc:chgData name="Kisliuk, Adrian (ext)" userId="6e619ce3-2643-4cdf-9a13-b4c269650021" providerId="ADAL" clId="{AFCEEFB0-37BC-48D4-B200-D3706B2CD7FE}" dt="2021-04-21T09:05:25.363" v="17046" actId="47"/>
        <pc:sldMkLst>
          <pc:docMk/>
          <pc:sldMk cId="94730238" sldId="879"/>
        </pc:sldMkLst>
        <pc:graphicFrameChg chg="mod">
          <ac:chgData name="Kisliuk, Adrian (ext)" userId="6e619ce3-2643-4cdf-9a13-b4c269650021" providerId="ADAL" clId="{AFCEEFB0-37BC-48D4-B200-D3706B2CD7FE}" dt="2021-04-21T09:05:11.160" v="17035" actId="1076"/>
          <ac:graphicFrameMkLst>
            <pc:docMk/>
            <pc:sldMk cId="94730238" sldId="879"/>
            <ac:graphicFrameMk id="4" creationId="{C83F301A-78A1-4983-9CB8-1A10622AAB94}"/>
          </ac:graphicFrameMkLst>
        </pc:graphicFrameChg>
      </pc:sldChg>
      <pc:sldChg chg="addSp delSp modSp add del mod">
        <pc:chgData name="Kisliuk, Adrian (ext)" userId="6e619ce3-2643-4cdf-9a13-b4c269650021" providerId="ADAL" clId="{AFCEEFB0-37BC-48D4-B200-D3706B2CD7FE}" dt="2021-04-21T08:34:08.162" v="16558" actId="2696"/>
        <pc:sldMkLst>
          <pc:docMk/>
          <pc:sldMk cId="738594756" sldId="879"/>
        </pc:sldMkLst>
        <pc:spChg chg="mod">
          <ac:chgData name="Kisliuk, Adrian (ext)" userId="6e619ce3-2643-4cdf-9a13-b4c269650021" providerId="ADAL" clId="{AFCEEFB0-37BC-48D4-B200-D3706B2CD7FE}" dt="2021-04-16T08:22:07.476" v="653" actId="948"/>
          <ac:spMkLst>
            <pc:docMk/>
            <pc:sldMk cId="738594756" sldId="879"/>
            <ac:spMk id="2" creationId="{4F0A5095-4837-4DA6-90E9-57CA6A6D96D3}"/>
          </ac:spMkLst>
        </pc:spChg>
        <pc:spChg chg="add del mod modVis">
          <ac:chgData name="Kisliuk, Adrian (ext)" userId="6e619ce3-2643-4cdf-9a13-b4c269650021" providerId="ADAL" clId="{AFCEEFB0-37BC-48D4-B200-D3706B2CD7FE}" dt="2021-04-16T08:03:04.399" v="154"/>
          <ac:spMkLst>
            <pc:docMk/>
            <pc:sldMk cId="738594756" sldId="879"/>
            <ac:spMk id="5" creationId="{05049C28-8EEE-4E39-81E3-3946BD9C7627}"/>
          </ac:spMkLst>
        </pc:spChg>
        <pc:spChg chg="add del mod modVis">
          <ac:chgData name="Kisliuk, Adrian (ext)" userId="6e619ce3-2643-4cdf-9a13-b4c269650021" providerId="ADAL" clId="{AFCEEFB0-37BC-48D4-B200-D3706B2CD7FE}" dt="2021-04-16T08:03:07.057" v="195"/>
          <ac:spMkLst>
            <pc:docMk/>
            <pc:sldMk cId="738594756" sldId="879"/>
            <ac:spMk id="6" creationId="{40995BB8-527E-4882-8AC1-ED8DAF77E70E}"/>
          </ac:spMkLst>
        </pc:spChg>
        <pc:spChg chg="add del mod modVis">
          <ac:chgData name="Kisliuk, Adrian (ext)" userId="6e619ce3-2643-4cdf-9a13-b4c269650021" providerId="ADAL" clId="{AFCEEFB0-37BC-48D4-B200-D3706B2CD7FE}" dt="2021-04-16T08:03:20.427" v="255"/>
          <ac:spMkLst>
            <pc:docMk/>
            <pc:sldMk cId="738594756" sldId="879"/>
            <ac:spMk id="7" creationId="{AFE011C3-B7DC-4214-B845-505BBEAF4867}"/>
          </ac:spMkLst>
        </pc:spChg>
        <pc:spChg chg="add del mod modVis">
          <ac:chgData name="Kisliuk, Adrian (ext)" userId="6e619ce3-2643-4cdf-9a13-b4c269650021" providerId="ADAL" clId="{AFCEEFB0-37BC-48D4-B200-D3706B2CD7FE}" dt="2021-04-16T08:03:22.652" v="305"/>
          <ac:spMkLst>
            <pc:docMk/>
            <pc:sldMk cId="738594756" sldId="879"/>
            <ac:spMk id="8" creationId="{20AC46CA-BF45-40D8-A1C9-448D2E502EFC}"/>
          </ac:spMkLst>
        </pc:spChg>
        <pc:spChg chg="add del mod modVis">
          <ac:chgData name="Kisliuk, Adrian (ext)" userId="6e619ce3-2643-4cdf-9a13-b4c269650021" providerId="ADAL" clId="{AFCEEFB0-37BC-48D4-B200-D3706B2CD7FE}" dt="2021-04-16T08:22:04.565" v="638"/>
          <ac:spMkLst>
            <pc:docMk/>
            <pc:sldMk cId="738594756" sldId="879"/>
            <ac:spMk id="9" creationId="{478B0038-26B0-4F5B-B824-036DC10632D6}"/>
          </ac:spMkLst>
        </pc:spChg>
        <pc:spChg chg="add del mod modVis">
          <ac:chgData name="Kisliuk, Adrian (ext)" userId="6e619ce3-2643-4cdf-9a13-b4c269650021" providerId="ADAL" clId="{AFCEEFB0-37BC-48D4-B200-D3706B2CD7FE}" dt="2021-04-16T08:22:07.502" v="690"/>
          <ac:spMkLst>
            <pc:docMk/>
            <pc:sldMk cId="738594756" sldId="879"/>
            <ac:spMk id="10" creationId="{D9EC1179-8DE6-4987-B7D1-9FF614DC68B4}"/>
          </ac:spMkLst>
        </pc:spChg>
        <pc:spChg chg="add del mod">
          <ac:chgData name="Kisliuk, Adrian (ext)" userId="6e619ce3-2643-4cdf-9a13-b4c269650021" providerId="ADAL" clId="{AFCEEFB0-37BC-48D4-B200-D3706B2CD7FE}" dt="2021-04-16T08:24:23.521" v="711" actId="478"/>
          <ac:spMkLst>
            <pc:docMk/>
            <pc:sldMk cId="738594756" sldId="879"/>
            <ac:spMk id="12" creationId="{19522AA3-4333-4348-A465-06BF527CE4E5}"/>
          </ac:spMkLst>
        </pc:spChg>
        <pc:spChg chg="add mod">
          <ac:chgData name="Kisliuk, Adrian (ext)" userId="6e619ce3-2643-4cdf-9a13-b4c269650021" providerId="ADAL" clId="{AFCEEFB0-37BC-48D4-B200-D3706B2CD7FE}" dt="2021-04-16T15:12:44.721" v="2422" actId="14100"/>
          <ac:spMkLst>
            <pc:docMk/>
            <pc:sldMk cId="738594756" sldId="879"/>
            <ac:spMk id="13" creationId="{E9125A68-AE47-4469-BBC8-42CFF6D66DBE}"/>
          </ac:spMkLst>
        </pc:spChg>
        <pc:spChg chg="add mod">
          <ac:chgData name="Kisliuk, Adrian (ext)" userId="6e619ce3-2643-4cdf-9a13-b4c269650021" providerId="ADAL" clId="{AFCEEFB0-37BC-48D4-B200-D3706B2CD7FE}" dt="2021-04-16T15:29:44.157" v="2526" actId="113"/>
          <ac:spMkLst>
            <pc:docMk/>
            <pc:sldMk cId="738594756" sldId="879"/>
            <ac:spMk id="15" creationId="{9A2F5527-B0DE-42BE-8BC5-000A684520A8}"/>
          </ac:spMkLst>
        </pc:spChg>
        <pc:spChg chg="del">
          <ac:chgData name="Kisliuk, Adrian (ext)" userId="6e619ce3-2643-4cdf-9a13-b4c269650021" providerId="ADAL" clId="{AFCEEFB0-37BC-48D4-B200-D3706B2CD7FE}" dt="2021-04-16T08:03:27.949" v="308" actId="478"/>
          <ac:spMkLst>
            <pc:docMk/>
            <pc:sldMk cId="738594756" sldId="879"/>
            <ac:spMk id="34" creationId="{D007DA82-C325-4DA3-9E40-5BFAC41303C7}"/>
          </ac:spMkLst>
        </pc:spChg>
        <pc:graphicFrameChg chg="mod">
          <ac:chgData name="Kisliuk, Adrian (ext)" userId="6e619ce3-2643-4cdf-9a13-b4c269650021" providerId="ADAL" clId="{AFCEEFB0-37BC-48D4-B200-D3706B2CD7FE}" dt="2021-04-16T08:22:07.504" v="692"/>
          <ac:graphicFrameMkLst>
            <pc:docMk/>
            <pc:sldMk cId="738594756" sldId="879"/>
            <ac:graphicFrameMk id="4" creationId="{C83F301A-78A1-4983-9CB8-1A10622AAB94}"/>
          </ac:graphicFrameMkLst>
        </pc:graphicFrameChg>
        <pc:graphicFrameChg chg="del modGraphic">
          <ac:chgData name="Kisliuk, Adrian (ext)" userId="6e619ce3-2643-4cdf-9a13-b4c269650021" providerId="ADAL" clId="{AFCEEFB0-37BC-48D4-B200-D3706B2CD7FE}" dt="2021-04-16T08:20:21.774" v="576" actId="478"/>
          <ac:graphicFrameMkLst>
            <pc:docMk/>
            <pc:sldMk cId="738594756" sldId="879"/>
            <ac:graphicFrameMk id="11" creationId="{DA95A6DF-05B3-4364-96B6-B05A3911B7BF}"/>
          </ac:graphicFrameMkLst>
        </pc:graphicFrameChg>
      </pc:sldChg>
      <pc:sldChg chg="addSp delSp modSp add del mod">
        <pc:chgData name="Kisliuk, Adrian (ext)" userId="6e619ce3-2643-4cdf-9a13-b4c269650021" providerId="ADAL" clId="{AFCEEFB0-37BC-48D4-B200-D3706B2CD7FE}" dt="2021-04-16T08:45:52.870" v="965" actId="47"/>
        <pc:sldMkLst>
          <pc:docMk/>
          <pc:sldMk cId="3264561987" sldId="880"/>
        </pc:sldMkLst>
        <pc:spChg chg="add mod">
          <ac:chgData name="Kisliuk, Adrian (ext)" userId="6e619ce3-2643-4cdf-9a13-b4c269650021" providerId="ADAL" clId="{AFCEEFB0-37BC-48D4-B200-D3706B2CD7FE}" dt="2021-04-16T08:44:09.211" v="926" actId="20577"/>
          <ac:spMkLst>
            <pc:docMk/>
            <pc:sldMk cId="3264561987" sldId="880"/>
            <ac:spMk id="6" creationId="{93D6895B-AAEB-44BE-AE5E-A13E20EB70BF}"/>
          </ac:spMkLst>
        </pc:spChg>
        <pc:spChg chg="add mod">
          <ac:chgData name="Kisliuk, Adrian (ext)" userId="6e619ce3-2643-4cdf-9a13-b4c269650021" providerId="ADAL" clId="{AFCEEFB0-37BC-48D4-B200-D3706B2CD7FE}" dt="2021-04-16T08:36:24.074" v="851" actId="20577"/>
          <ac:spMkLst>
            <pc:docMk/>
            <pc:sldMk cId="3264561987" sldId="880"/>
            <ac:spMk id="8" creationId="{CAE793C5-E8E0-4E24-811F-54E546A25CC6}"/>
          </ac:spMkLst>
        </pc:spChg>
        <pc:spChg chg="add mod">
          <ac:chgData name="Kisliuk, Adrian (ext)" userId="6e619ce3-2643-4cdf-9a13-b4c269650021" providerId="ADAL" clId="{AFCEEFB0-37BC-48D4-B200-D3706B2CD7FE}" dt="2021-04-16T08:36:21.598" v="841" actId="20577"/>
          <ac:spMkLst>
            <pc:docMk/>
            <pc:sldMk cId="3264561987" sldId="880"/>
            <ac:spMk id="9" creationId="{36F808C0-EA45-41E7-BE5D-491A84EBB2D9}"/>
          </ac:spMkLst>
        </pc:spChg>
        <pc:spChg chg="add mod">
          <ac:chgData name="Kisliuk, Adrian (ext)" userId="6e619ce3-2643-4cdf-9a13-b4c269650021" providerId="ADAL" clId="{AFCEEFB0-37BC-48D4-B200-D3706B2CD7FE}" dt="2021-04-16T08:34:12.068" v="817" actId="1035"/>
          <ac:spMkLst>
            <pc:docMk/>
            <pc:sldMk cId="3264561987" sldId="880"/>
            <ac:spMk id="10" creationId="{434C776A-5127-44CD-BB95-7094C64C8D83}"/>
          </ac:spMkLst>
        </pc:spChg>
        <pc:spChg chg="add mod">
          <ac:chgData name="Kisliuk, Adrian (ext)" userId="6e619ce3-2643-4cdf-9a13-b4c269650021" providerId="ADAL" clId="{AFCEEFB0-37BC-48D4-B200-D3706B2CD7FE}" dt="2021-04-16T08:34:12.068" v="817" actId="1035"/>
          <ac:spMkLst>
            <pc:docMk/>
            <pc:sldMk cId="3264561987" sldId="880"/>
            <ac:spMk id="11" creationId="{7A0A4621-9619-42A3-8E23-A2CB9D26E9D9}"/>
          </ac:spMkLst>
        </pc:spChg>
        <pc:spChg chg="add mod">
          <ac:chgData name="Kisliuk, Adrian (ext)" userId="6e619ce3-2643-4cdf-9a13-b4c269650021" providerId="ADAL" clId="{AFCEEFB0-37BC-48D4-B200-D3706B2CD7FE}" dt="2021-04-16T08:34:12.068" v="817" actId="1035"/>
          <ac:spMkLst>
            <pc:docMk/>
            <pc:sldMk cId="3264561987" sldId="880"/>
            <ac:spMk id="12" creationId="{C759BC1A-76C6-44BA-BE85-74A2DBEC8548}"/>
          </ac:spMkLst>
        </pc:spChg>
        <pc:spChg chg="add del mod">
          <ac:chgData name="Kisliuk, Adrian (ext)" userId="6e619ce3-2643-4cdf-9a13-b4c269650021" providerId="ADAL" clId="{AFCEEFB0-37BC-48D4-B200-D3706B2CD7FE}" dt="2021-04-16T08:36:25.301" v="854"/>
          <ac:spMkLst>
            <pc:docMk/>
            <pc:sldMk cId="3264561987" sldId="880"/>
            <ac:spMk id="15" creationId="{2580EE06-281A-431E-B579-0116B7A5F34D}"/>
          </ac:spMkLst>
        </pc:spChg>
        <pc:spChg chg="add del mod">
          <ac:chgData name="Kisliuk, Adrian (ext)" userId="6e619ce3-2643-4cdf-9a13-b4c269650021" providerId="ADAL" clId="{AFCEEFB0-37BC-48D4-B200-D3706B2CD7FE}" dt="2021-04-16T08:36:21.948" v="843"/>
          <ac:spMkLst>
            <pc:docMk/>
            <pc:sldMk cId="3264561987" sldId="880"/>
            <ac:spMk id="16" creationId="{A7633220-C727-4DAC-9785-5A76A4BDBA40}"/>
          </ac:spMkLst>
        </pc:spChg>
        <pc:graphicFrameChg chg="del">
          <ac:chgData name="Kisliuk, Adrian (ext)" userId="6e619ce3-2643-4cdf-9a13-b4c269650021" providerId="ADAL" clId="{AFCEEFB0-37BC-48D4-B200-D3706B2CD7FE}" dt="2021-04-16T08:06:59.918" v="360" actId="478"/>
          <ac:graphicFrameMkLst>
            <pc:docMk/>
            <pc:sldMk cId="3264561987" sldId="880"/>
            <ac:graphicFrameMk id="7" creationId="{03BBE539-69A4-4259-81B2-E5119E0E37B0}"/>
          </ac:graphicFrameMkLst>
        </pc:graphicFrameChg>
        <pc:cxnChg chg="add mod">
          <ac:chgData name="Kisliuk, Adrian (ext)" userId="6e619ce3-2643-4cdf-9a13-b4c269650021" providerId="ADAL" clId="{AFCEEFB0-37BC-48D4-B200-D3706B2CD7FE}" dt="2021-04-16T08:34:12.068" v="817" actId="1035"/>
          <ac:cxnSpMkLst>
            <pc:docMk/>
            <pc:sldMk cId="3264561987" sldId="880"/>
            <ac:cxnSpMk id="13" creationId="{C950D6F0-19BE-4D3C-8F78-498F23DC58AB}"/>
          </ac:cxnSpMkLst>
        </pc:cxnChg>
        <pc:cxnChg chg="add mod">
          <ac:chgData name="Kisliuk, Adrian (ext)" userId="6e619ce3-2643-4cdf-9a13-b4c269650021" providerId="ADAL" clId="{AFCEEFB0-37BC-48D4-B200-D3706B2CD7FE}" dt="2021-04-16T08:34:12.068" v="817" actId="1035"/>
          <ac:cxnSpMkLst>
            <pc:docMk/>
            <pc:sldMk cId="3264561987" sldId="880"/>
            <ac:cxnSpMk id="14" creationId="{3FDD6E01-7635-4573-9DB7-B8D1ADB9E13F}"/>
          </ac:cxnSpMkLst>
        </pc:cxnChg>
      </pc:sldChg>
      <pc:sldChg chg="addSp modSp add del mod modTransition modShow">
        <pc:chgData name="Kisliuk, Adrian (ext)" userId="6e619ce3-2643-4cdf-9a13-b4c269650021" providerId="ADAL" clId="{AFCEEFB0-37BC-48D4-B200-D3706B2CD7FE}" dt="2021-04-16T12:18:19.298" v="1082" actId="47"/>
        <pc:sldMkLst>
          <pc:docMk/>
          <pc:sldMk cId="2437024270" sldId="881"/>
        </pc:sldMkLst>
        <pc:spChg chg="mod">
          <ac:chgData name="Kisliuk, Adrian (ext)" userId="6e619ce3-2643-4cdf-9a13-b4c269650021" providerId="ADAL" clId="{AFCEEFB0-37BC-48D4-B200-D3706B2CD7FE}" dt="2021-04-16T08:48:04.795" v="973" actId="207"/>
          <ac:spMkLst>
            <pc:docMk/>
            <pc:sldMk cId="2437024270" sldId="881"/>
            <ac:spMk id="6" creationId="{93D6895B-AAEB-44BE-AE5E-A13E20EB70BF}"/>
          </ac:spMkLst>
        </pc:spChg>
        <pc:spChg chg="mod">
          <ac:chgData name="Kisliuk, Adrian (ext)" userId="6e619ce3-2643-4cdf-9a13-b4c269650021" providerId="ADAL" clId="{AFCEEFB0-37BC-48D4-B200-D3706B2CD7FE}" dt="2021-04-16T08:48:04.795" v="973" actId="207"/>
          <ac:spMkLst>
            <pc:docMk/>
            <pc:sldMk cId="2437024270" sldId="881"/>
            <ac:spMk id="8" creationId="{CAE793C5-E8E0-4E24-811F-54E546A25CC6}"/>
          </ac:spMkLst>
        </pc:spChg>
        <pc:spChg chg="mod">
          <ac:chgData name="Kisliuk, Adrian (ext)" userId="6e619ce3-2643-4cdf-9a13-b4c269650021" providerId="ADAL" clId="{AFCEEFB0-37BC-48D4-B200-D3706B2CD7FE}" dt="2021-04-16T08:48:04.795" v="973" actId="207"/>
          <ac:spMkLst>
            <pc:docMk/>
            <pc:sldMk cId="2437024270" sldId="881"/>
            <ac:spMk id="9" creationId="{36F808C0-EA45-41E7-BE5D-491A84EBB2D9}"/>
          </ac:spMkLst>
        </pc:spChg>
        <pc:spChg chg="mod">
          <ac:chgData name="Kisliuk, Adrian (ext)" userId="6e619ce3-2643-4cdf-9a13-b4c269650021" providerId="ADAL" clId="{AFCEEFB0-37BC-48D4-B200-D3706B2CD7FE}" dt="2021-04-16T08:48:04.795" v="973" actId="207"/>
          <ac:spMkLst>
            <pc:docMk/>
            <pc:sldMk cId="2437024270" sldId="881"/>
            <ac:spMk id="15" creationId="{2580EE06-281A-431E-B579-0116B7A5F34D}"/>
          </ac:spMkLst>
        </pc:spChg>
        <pc:spChg chg="mod">
          <ac:chgData name="Kisliuk, Adrian (ext)" userId="6e619ce3-2643-4cdf-9a13-b4c269650021" providerId="ADAL" clId="{AFCEEFB0-37BC-48D4-B200-D3706B2CD7FE}" dt="2021-04-16T08:48:04.795" v="973" actId="207"/>
          <ac:spMkLst>
            <pc:docMk/>
            <pc:sldMk cId="2437024270" sldId="881"/>
            <ac:spMk id="16" creationId="{A7633220-C727-4DAC-9785-5A76A4BDBA40}"/>
          </ac:spMkLst>
        </pc:spChg>
        <pc:spChg chg="add mod">
          <ac:chgData name="Kisliuk, Adrian (ext)" userId="6e619ce3-2643-4cdf-9a13-b4c269650021" providerId="ADAL" clId="{AFCEEFB0-37BC-48D4-B200-D3706B2CD7FE}" dt="2021-04-16T08:48:04.795" v="973" actId="207"/>
          <ac:spMkLst>
            <pc:docMk/>
            <pc:sldMk cId="2437024270" sldId="881"/>
            <ac:spMk id="17" creationId="{3243193C-ACD3-48F2-BDF2-6DD4792CEE4B}"/>
          </ac:spMkLst>
        </pc:spChg>
        <pc:spChg chg="add mod">
          <ac:chgData name="Kisliuk, Adrian (ext)" userId="6e619ce3-2643-4cdf-9a13-b4c269650021" providerId="ADAL" clId="{AFCEEFB0-37BC-48D4-B200-D3706B2CD7FE}" dt="2021-04-16T08:48:04.795" v="973" actId="207"/>
          <ac:spMkLst>
            <pc:docMk/>
            <pc:sldMk cId="2437024270" sldId="881"/>
            <ac:spMk id="18" creationId="{CBF25EAB-4F34-41B6-BB46-A82565B1DA0F}"/>
          </ac:spMkLst>
        </pc:spChg>
      </pc:sldChg>
      <pc:sldChg chg="modSp add del mod modTransition modShow">
        <pc:chgData name="Kisliuk, Adrian (ext)" userId="6e619ce3-2643-4cdf-9a13-b4c269650021" providerId="ADAL" clId="{AFCEEFB0-37BC-48D4-B200-D3706B2CD7FE}" dt="2021-04-16T12:18:19.298" v="1082" actId="47"/>
        <pc:sldMkLst>
          <pc:docMk/>
          <pc:sldMk cId="373351521" sldId="882"/>
        </pc:sldMkLst>
        <pc:spChg chg="mod">
          <ac:chgData name="Kisliuk, Adrian (ext)" userId="6e619ce3-2643-4cdf-9a13-b4c269650021" providerId="ADAL" clId="{AFCEEFB0-37BC-48D4-B200-D3706B2CD7FE}" dt="2021-04-16T08:47:58.437" v="972" actId="207"/>
          <ac:spMkLst>
            <pc:docMk/>
            <pc:sldMk cId="373351521" sldId="882"/>
            <ac:spMk id="6" creationId="{93D6895B-AAEB-44BE-AE5E-A13E20EB70BF}"/>
          </ac:spMkLst>
        </pc:spChg>
        <pc:spChg chg="mod">
          <ac:chgData name="Kisliuk, Adrian (ext)" userId="6e619ce3-2643-4cdf-9a13-b4c269650021" providerId="ADAL" clId="{AFCEEFB0-37BC-48D4-B200-D3706B2CD7FE}" dt="2021-04-16T08:47:58.437" v="972" actId="207"/>
          <ac:spMkLst>
            <pc:docMk/>
            <pc:sldMk cId="373351521" sldId="882"/>
            <ac:spMk id="8" creationId="{CAE793C5-E8E0-4E24-811F-54E546A25CC6}"/>
          </ac:spMkLst>
        </pc:spChg>
        <pc:spChg chg="mod">
          <ac:chgData name="Kisliuk, Adrian (ext)" userId="6e619ce3-2643-4cdf-9a13-b4c269650021" providerId="ADAL" clId="{AFCEEFB0-37BC-48D4-B200-D3706B2CD7FE}" dt="2021-04-16T08:47:58.437" v="972" actId="207"/>
          <ac:spMkLst>
            <pc:docMk/>
            <pc:sldMk cId="373351521" sldId="882"/>
            <ac:spMk id="9" creationId="{36F808C0-EA45-41E7-BE5D-491A84EBB2D9}"/>
          </ac:spMkLst>
        </pc:spChg>
        <pc:spChg chg="mod">
          <ac:chgData name="Kisliuk, Adrian (ext)" userId="6e619ce3-2643-4cdf-9a13-b4c269650021" providerId="ADAL" clId="{AFCEEFB0-37BC-48D4-B200-D3706B2CD7FE}" dt="2021-04-16T08:47:58.437" v="972" actId="207"/>
          <ac:spMkLst>
            <pc:docMk/>
            <pc:sldMk cId="373351521" sldId="882"/>
            <ac:spMk id="15" creationId="{2580EE06-281A-431E-B579-0116B7A5F34D}"/>
          </ac:spMkLst>
        </pc:spChg>
        <pc:spChg chg="mod">
          <ac:chgData name="Kisliuk, Adrian (ext)" userId="6e619ce3-2643-4cdf-9a13-b4c269650021" providerId="ADAL" clId="{AFCEEFB0-37BC-48D4-B200-D3706B2CD7FE}" dt="2021-04-16T08:47:58.437" v="972" actId="207"/>
          <ac:spMkLst>
            <pc:docMk/>
            <pc:sldMk cId="373351521" sldId="882"/>
            <ac:spMk id="16" creationId="{A7633220-C727-4DAC-9785-5A76A4BDBA40}"/>
          </ac:spMkLst>
        </pc:spChg>
        <pc:spChg chg="mod">
          <ac:chgData name="Kisliuk, Adrian (ext)" userId="6e619ce3-2643-4cdf-9a13-b4c269650021" providerId="ADAL" clId="{AFCEEFB0-37BC-48D4-B200-D3706B2CD7FE}" dt="2021-04-16T08:47:58.437" v="972" actId="207"/>
          <ac:spMkLst>
            <pc:docMk/>
            <pc:sldMk cId="373351521" sldId="882"/>
            <ac:spMk id="17" creationId="{3243193C-ACD3-48F2-BDF2-6DD4792CEE4B}"/>
          </ac:spMkLst>
        </pc:spChg>
        <pc:spChg chg="mod">
          <ac:chgData name="Kisliuk, Adrian (ext)" userId="6e619ce3-2643-4cdf-9a13-b4c269650021" providerId="ADAL" clId="{AFCEEFB0-37BC-48D4-B200-D3706B2CD7FE}" dt="2021-04-16T08:47:58.437" v="972" actId="207"/>
          <ac:spMkLst>
            <pc:docMk/>
            <pc:sldMk cId="373351521" sldId="882"/>
            <ac:spMk id="18" creationId="{CBF25EAB-4F34-41B6-BB46-A82565B1DA0F}"/>
          </ac:spMkLst>
        </pc:spChg>
        <pc:cxnChg chg="mod">
          <ac:chgData name="Kisliuk, Adrian (ext)" userId="6e619ce3-2643-4cdf-9a13-b4c269650021" providerId="ADAL" clId="{AFCEEFB0-37BC-48D4-B200-D3706B2CD7FE}" dt="2021-04-16T08:42:12.686" v="920" actId="408"/>
          <ac:cxnSpMkLst>
            <pc:docMk/>
            <pc:sldMk cId="373351521" sldId="882"/>
            <ac:cxnSpMk id="13" creationId="{C950D6F0-19BE-4D3C-8F78-498F23DC58AB}"/>
          </ac:cxnSpMkLst>
        </pc:cxnChg>
        <pc:cxnChg chg="mod">
          <ac:chgData name="Kisliuk, Adrian (ext)" userId="6e619ce3-2643-4cdf-9a13-b4c269650021" providerId="ADAL" clId="{AFCEEFB0-37BC-48D4-B200-D3706B2CD7FE}" dt="2021-04-16T08:42:12.686" v="920" actId="408"/>
          <ac:cxnSpMkLst>
            <pc:docMk/>
            <pc:sldMk cId="373351521" sldId="882"/>
            <ac:cxnSpMk id="14" creationId="{3FDD6E01-7635-4573-9DB7-B8D1ADB9E13F}"/>
          </ac:cxnSpMkLst>
        </pc:cxnChg>
      </pc:sldChg>
      <pc:sldChg chg="addSp delSp modSp add del mod ord modTransition modShow">
        <pc:chgData name="Kisliuk, Adrian (ext)" userId="6e619ce3-2643-4cdf-9a13-b4c269650021" providerId="ADAL" clId="{AFCEEFB0-37BC-48D4-B200-D3706B2CD7FE}" dt="2021-04-16T12:18:19.298" v="1082" actId="47"/>
        <pc:sldMkLst>
          <pc:docMk/>
          <pc:sldMk cId="1706853656" sldId="883"/>
        </pc:sldMkLst>
        <pc:spChg chg="mod">
          <ac:chgData name="Kisliuk, Adrian (ext)" userId="6e619ce3-2643-4cdf-9a13-b4c269650021" providerId="ADAL" clId="{AFCEEFB0-37BC-48D4-B200-D3706B2CD7FE}" dt="2021-04-16T08:48:09.827" v="974" actId="207"/>
          <ac:spMkLst>
            <pc:docMk/>
            <pc:sldMk cId="1706853656" sldId="883"/>
            <ac:spMk id="6" creationId="{93D6895B-AAEB-44BE-AE5E-A13E20EB70BF}"/>
          </ac:spMkLst>
        </pc:spChg>
        <pc:spChg chg="mod">
          <ac:chgData name="Kisliuk, Adrian (ext)" userId="6e619ce3-2643-4cdf-9a13-b4c269650021" providerId="ADAL" clId="{AFCEEFB0-37BC-48D4-B200-D3706B2CD7FE}" dt="2021-04-16T08:48:09.827" v="974" actId="207"/>
          <ac:spMkLst>
            <pc:docMk/>
            <pc:sldMk cId="1706853656" sldId="883"/>
            <ac:spMk id="8" creationId="{CAE793C5-E8E0-4E24-811F-54E546A25CC6}"/>
          </ac:spMkLst>
        </pc:spChg>
        <pc:spChg chg="mod">
          <ac:chgData name="Kisliuk, Adrian (ext)" userId="6e619ce3-2643-4cdf-9a13-b4c269650021" providerId="ADAL" clId="{AFCEEFB0-37BC-48D4-B200-D3706B2CD7FE}" dt="2021-04-16T08:48:09.827" v="974" actId="207"/>
          <ac:spMkLst>
            <pc:docMk/>
            <pc:sldMk cId="1706853656" sldId="883"/>
            <ac:spMk id="9" creationId="{36F808C0-EA45-41E7-BE5D-491A84EBB2D9}"/>
          </ac:spMkLst>
        </pc:spChg>
        <pc:spChg chg="add del mod">
          <ac:chgData name="Kisliuk, Adrian (ext)" userId="6e619ce3-2643-4cdf-9a13-b4c269650021" providerId="ADAL" clId="{AFCEEFB0-37BC-48D4-B200-D3706B2CD7FE}" dt="2021-04-16T08:44:39.247" v="937" actId="21"/>
          <ac:spMkLst>
            <pc:docMk/>
            <pc:sldMk cId="1706853656" sldId="883"/>
            <ac:spMk id="15" creationId="{6FAECD82-7D77-4A01-A8A2-8B01F78D503B}"/>
          </ac:spMkLst>
        </pc:spChg>
        <pc:spChg chg="add mod">
          <ac:chgData name="Kisliuk, Adrian (ext)" userId="6e619ce3-2643-4cdf-9a13-b4c269650021" providerId="ADAL" clId="{AFCEEFB0-37BC-48D4-B200-D3706B2CD7FE}" dt="2021-04-16T08:50:39.478" v="979" actId="948"/>
          <ac:spMkLst>
            <pc:docMk/>
            <pc:sldMk cId="1706853656" sldId="883"/>
            <ac:spMk id="16" creationId="{B45B4CF3-17AF-4872-8DF9-8C04D17EBC07}"/>
          </ac:spMkLst>
        </pc:spChg>
        <pc:spChg chg="add mod">
          <ac:chgData name="Kisliuk, Adrian (ext)" userId="6e619ce3-2643-4cdf-9a13-b4c269650021" providerId="ADAL" clId="{AFCEEFB0-37BC-48D4-B200-D3706B2CD7FE}" dt="2021-04-16T08:48:09.827" v="974" actId="207"/>
          <ac:spMkLst>
            <pc:docMk/>
            <pc:sldMk cId="1706853656" sldId="883"/>
            <ac:spMk id="17" creationId="{43DF0C81-5DB4-4087-855E-0D5C9F974D70}"/>
          </ac:spMkLst>
        </pc:spChg>
        <pc:spChg chg="add mod">
          <ac:chgData name="Kisliuk, Adrian (ext)" userId="6e619ce3-2643-4cdf-9a13-b4c269650021" providerId="ADAL" clId="{AFCEEFB0-37BC-48D4-B200-D3706B2CD7FE}" dt="2021-04-16T08:48:09.827" v="974" actId="207"/>
          <ac:spMkLst>
            <pc:docMk/>
            <pc:sldMk cId="1706853656" sldId="883"/>
            <ac:spMk id="18" creationId="{EEECFD10-A6CC-47AB-AA48-B0F68BF4B01F}"/>
          </ac:spMkLst>
        </pc:spChg>
        <pc:spChg chg="add del mod">
          <ac:chgData name="Kisliuk, Adrian (ext)" userId="6e619ce3-2643-4cdf-9a13-b4c269650021" providerId="ADAL" clId="{AFCEEFB0-37BC-48D4-B200-D3706B2CD7FE}" dt="2021-04-16T08:50:59.188" v="985" actId="478"/>
          <ac:spMkLst>
            <pc:docMk/>
            <pc:sldMk cId="1706853656" sldId="883"/>
            <ac:spMk id="19" creationId="{D1DDC662-5AB2-46B7-BC7A-D95AF58CCE47}"/>
          </ac:spMkLst>
        </pc:spChg>
      </pc:sldChg>
      <pc:sldChg chg="delSp modSp add del mod addCm delCm modCm">
        <pc:chgData name="Kisliuk, Adrian (ext)" userId="6e619ce3-2643-4cdf-9a13-b4c269650021" providerId="ADAL" clId="{AFCEEFB0-37BC-48D4-B200-D3706B2CD7FE}" dt="2021-04-21T08:34:08.162" v="16558" actId="2696"/>
        <pc:sldMkLst>
          <pc:docMk/>
          <pc:sldMk cId="3017263479" sldId="884"/>
        </pc:sldMkLst>
        <pc:spChg chg="del">
          <ac:chgData name="Kisliuk, Adrian (ext)" userId="6e619ce3-2643-4cdf-9a13-b4c269650021" providerId="ADAL" clId="{AFCEEFB0-37BC-48D4-B200-D3706B2CD7FE}" dt="2021-04-19T16:32:53.896" v="9348" actId="478"/>
          <ac:spMkLst>
            <pc:docMk/>
            <pc:sldMk cId="3017263479" sldId="884"/>
            <ac:spMk id="3" creationId="{A4056CE2-0170-418D-A03F-DA739A2D0A22}"/>
          </ac:spMkLst>
        </pc:spChg>
        <pc:spChg chg="mod">
          <ac:chgData name="Kisliuk, Adrian (ext)" userId="6e619ce3-2643-4cdf-9a13-b4c269650021" providerId="ADAL" clId="{AFCEEFB0-37BC-48D4-B200-D3706B2CD7FE}" dt="2021-04-16T15:12:00.097" v="2419" actId="20577"/>
          <ac:spMkLst>
            <pc:docMk/>
            <pc:sldMk cId="3017263479" sldId="884"/>
            <ac:spMk id="9" creationId="{36F808C0-EA45-41E7-BE5D-491A84EBB2D9}"/>
          </ac:spMkLst>
        </pc:spChg>
        <pc:spChg chg="mod">
          <ac:chgData name="Kisliuk, Adrian (ext)" userId="6e619ce3-2643-4cdf-9a13-b4c269650021" providerId="ADAL" clId="{AFCEEFB0-37BC-48D4-B200-D3706B2CD7FE}" dt="2021-04-16T14:12:42.735" v="1524" actId="20577"/>
          <ac:spMkLst>
            <pc:docMk/>
            <pc:sldMk cId="3017263479" sldId="884"/>
            <ac:spMk id="16" creationId="{B45B4CF3-17AF-4872-8DF9-8C04D17EBC07}"/>
          </ac:spMkLst>
        </pc:spChg>
        <pc:spChg chg="mod">
          <ac:chgData name="Kisliuk, Adrian (ext)" userId="6e619ce3-2643-4cdf-9a13-b4c269650021" providerId="ADAL" clId="{AFCEEFB0-37BC-48D4-B200-D3706B2CD7FE}" dt="2021-04-16T12:19:32.094" v="1096" actId="20577"/>
          <ac:spMkLst>
            <pc:docMk/>
            <pc:sldMk cId="3017263479" sldId="884"/>
            <ac:spMk id="17" creationId="{43DF0C81-5DB4-4087-855E-0D5C9F974D70}"/>
          </ac:spMkLst>
        </pc:spChg>
        <pc:spChg chg="mod">
          <ac:chgData name="Kisliuk, Adrian (ext)" userId="6e619ce3-2643-4cdf-9a13-b4c269650021" providerId="ADAL" clId="{AFCEEFB0-37BC-48D4-B200-D3706B2CD7FE}" dt="2021-04-16T12:20:34.796" v="1180" actId="20577"/>
          <ac:spMkLst>
            <pc:docMk/>
            <pc:sldMk cId="3017263479" sldId="884"/>
            <ac:spMk id="18" creationId="{EEECFD10-A6CC-47AB-AA48-B0F68BF4B01F}"/>
          </ac:spMkLst>
        </pc:spChg>
        <pc:spChg chg="mod">
          <ac:chgData name="Kisliuk, Adrian (ext)" userId="6e619ce3-2643-4cdf-9a13-b4c269650021" providerId="ADAL" clId="{AFCEEFB0-37BC-48D4-B200-D3706B2CD7FE}" dt="2021-04-16T14:13:14.444" v="1535" actId="14100"/>
          <ac:spMkLst>
            <pc:docMk/>
            <pc:sldMk cId="3017263479" sldId="884"/>
            <ac:spMk id="19" creationId="{D1DDC662-5AB2-46B7-BC7A-D95AF58CCE47}"/>
          </ac:spMkLst>
        </pc:spChg>
        <pc:spChg chg="mod">
          <ac:chgData name="Kisliuk, Adrian (ext)" userId="6e619ce3-2643-4cdf-9a13-b4c269650021" providerId="ADAL" clId="{AFCEEFB0-37BC-48D4-B200-D3706B2CD7FE}" dt="2021-04-19T13:09:46.324" v="7460" actId="1076"/>
          <ac:spMkLst>
            <pc:docMk/>
            <pc:sldMk cId="3017263479" sldId="884"/>
            <ac:spMk id="22" creationId="{96692CBC-CB2D-4D62-80F0-0010A89CD6A4}"/>
          </ac:spMkLst>
        </pc:spChg>
        <pc:spChg chg="mod">
          <ac:chgData name="Kisliuk, Adrian (ext)" userId="6e619ce3-2643-4cdf-9a13-b4c269650021" providerId="ADAL" clId="{AFCEEFB0-37BC-48D4-B200-D3706B2CD7FE}" dt="2021-04-19T13:09:50.157" v="7461" actId="1076"/>
          <ac:spMkLst>
            <pc:docMk/>
            <pc:sldMk cId="3017263479" sldId="884"/>
            <ac:spMk id="23" creationId="{B014D2A7-57A0-46E8-B967-1B4B3A1AB59C}"/>
          </ac:spMkLst>
        </pc:spChg>
      </pc:sldChg>
      <pc:sldChg chg="add del">
        <pc:chgData name="Kisliuk, Adrian (ext)" userId="6e619ce3-2643-4cdf-9a13-b4c269650021" providerId="ADAL" clId="{AFCEEFB0-37BC-48D4-B200-D3706B2CD7FE}" dt="2021-04-21T09:05:25.363" v="17046" actId="47"/>
        <pc:sldMkLst>
          <pc:docMk/>
          <pc:sldMk cId="3484891717" sldId="884"/>
        </pc:sldMkLst>
      </pc:sldChg>
      <pc:sldChg chg="modSp add del mod">
        <pc:chgData name="Kisliuk, Adrian (ext)" userId="6e619ce3-2643-4cdf-9a13-b4c269650021" providerId="ADAL" clId="{AFCEEFB0-37BC-48D4-B200-D3706B2CD7FE}" dt="2021-04-21T09:05:25.363" v="17046" actId="47"/>
        <pc:sldMkLst>
          <pc:docMk/>
          <pc:sldMk cId="1783665829" sldId="885"/>
        </pc:sldMkLst>
        <pc:graphicFrameChg chg="mod">
          <ac:chgData name="Kisliuk, Adrian (ext)" userId="6e619ce3-2643-4cdf-9a13-b4c269650021" providerId="ADAL" clId="{AFCEEFB0-37BC-48D4-B200-D3706B2CD7FE}" dt="2021-04-21T09:05:11.158" v="17033" actId="1076"/>
          <ac:graphicFrameMkLst>
            <pc:docMk/>
            <pc:sldMk cId="1783665829" sldId="885"/>
            <ac:graphicFrameMk id="6" creationId="{580DFCAE-76C4-413B-B499-F7B76F1E13AF}"/>
          </ac:graphicFrameMkLst>
        </pc:graphicFrameChg>
      </pc:sldChg>
      <pc:sldChg chg="addSp delSp modSp del mod addCm delCm modCm">
        <pc:chgData name="Kisliuk, Adrian (ext)" userId="6e619ce3-2643-4cdf-9a13-b4c269650021" providerId="ADAL" clId="{AFCEEFB0-37BC-48D4-B200-D3706B2CD7FE}" dt="2021-04-21T08:34:08.162" v="16558" actId="2696"/>
        <pc:sldMkLst>
          <pc:docMk/>
          <pc:sldMk cId="3195984845" sldId="885"/>
        </pc:sldMkLst>
        <pc:spChg chg="mod ord">
          <ac:chgData name="Kisliuk, Adrian (ext)" userId="6e619ce3-2643-4cdf-9a13-b4c269650021" providerId="ADAL" clId="{AFCEEFB0-37BC-48D4-B200-D3706B2CD7FE}" dt="2021-04-19T18:40:55.528" v="9396" actId="948"/>
          <ac:spMkLst>
            <pc:docMk/>
            <pc:sldMk cId="3195984845" sldId="885"/>
            <ac:spMk id="2" creationId="{DE936FAF-2E76-49E3-A26B-EE542092B6EF}"/>
          </ac:spMkLst>
        </pc:spChg>
        <pc:spChg chg="add del mod ord modVis">
          <ac:chgData name="Kisliuk, Adrian (ext)" userId="6e619ce3-2643-4cdf-9a13-b4c269650021" providerId="ADAL" clId="{AFCEEFB0-37BC-48D4-B200-D3706B2CD7FE}" dt="2021-04-16T14:11:51.162" v="1426"/>
          <ac:spMkLst>
            <pc:docMk/>
            <pc:sldMk cId="3195984845" sldId="885"/>
            <ac:spMk id="3" creationId="{809C92DC-3CAF-4EA6-9D2A-9F2EB6377A47}"/>
          </ac:spMkLst>
        </pc:spChg>
        <pc:spChg chg="add del mod modVis">
          <ac:chgData name="Kisliuk, Adrian (ext)" userId="6e619ce3-2643-4cdf-9a13-b4c269650021" providerId="ADAL" clId="{AFCEEFB0-37BC-48D4-B200-D3706B2CD7FE}" dt="2021-04-19T18:40:55.554" v="9433"/>
          <ac:spMkLst>
            <pc:docMk/>
            <pc:sldMk cId="3195984845" sldId="885"/>
            <ac:spMk id="3" creationId="{B87689C2-5DF2-4894-A753-C778ADCB6EFF}"/>
          </ac:spMkLst>
        </pc:spChg>
        <pc:spChg chg="del mod ord">
          <ac:chgData name="Kisliuk, Adrian (ext)" userId="6e619ce3-2643-4cdf-9a13-b4c269650021" providerId="ADAL" clId="{AFCEEFB0-37BC-48D4-B200-D3706B2CD7FE}" dt="2021-04-19T16:32:36.998" v="9347" actId="478"/>
          <ac:spMkLst>
            <pc:docMk/>
            <pc:sldMk cId="3195984845" sldId="885"/>
            <ac:spMk id="4" creationId="{00000000-0000-0000-0000-000000000000}"/>
          </ac:spMkLst>
        </pc:spChg>
        <pc:spChg chg="add del mod ord">
          <ac:chgData name="Kisliuk, Adrian (ext)" userId="6e619ce3-2643-4cdf-9a13-b4c269650021" providerId="ADAL" clId="{AFCEEFB0-37BC-48D4-B200-D3706B2CD7FE}" dt="2021-04-16T14:12:10.942" v="1513" actId="207"/>
          <ac:spMkLst>
            <pc:docMk/>
            <pc:sldMk cId="3195984845" sldId="885"/>
            <ac:spMk id="19" creationId="{153306F1-2A0E-4D68-BA66-B8AF04BFEC63}"/>
          </ac:spMkLst>
        </pc:spChg>
        <pc:spChg chg="mod ord">
          <ac:chgData name="Kisliuk, Adrian (ext)" userId="6e619ce3-2643-4cdf-9a13-b4c269650021" providerId="ADAL" clId="{AFCEEFB0-37BC-48D4-B200-D3706B2CD7FE}" dt="2021-04-19T10:47:07.027" v="3910" actId="1076"/>
          <ac:spMkLst>
            <pc:docMk/>
            <pc:sldMk cId="3195984845" sldId="885"/>
            <ac:spMk id="44" creationId="{5BE3AE2B-4A0E-4204-B25A-B404EC4FDDA8}"/>
          </ac:spMkLst>
        </pc:spChg>
        <pc:spChg chg="del mod ord">
          <ac:chgData name="Kisliuk, Adrian (ext)" userId="6e619ce3-2643-4cdf-9a13-b4c269650021" providerId="ADAL" clId="{AFCEEFB0-37BC-48D4-B200-D3706B2CD7FE}" dt="2021-04-16T14:11:53.420" v="1429" actId="478"/>
          <ac:spMkLst>
            <pc:docMk/>
            <pc:sldMk cId="3195984845" sldId="885"/>
            <ac:spMk id="45" creationId="{B56DBE83-7ABF-458F-AE37-A16EF1EED18D}"/>
          </ac:spMkLst>
        </pc:spChg>
        <pc:spChg chg="mod ord">
          <ac:chgData name="Kisliuk, Adrian (ext)" userId="6e619ce3-2643-4cdf-9a13-b4c269650021" providerId="ADAL" clId="{AFCEEFB0-37BC-48D4-B200-D3706B2CD7FE}" dt="2021-04-16T14:12:01.918" v="1512" actId="108"/>
          <ac:spMkLst>
            <pc:docMk/>
            <pc:sldMk cId="3195984845" sldId="885"/>
            <ac:spMk id="47" creationId="{37DFF5F4-D527-4405-AC09-3CCCB46550F7}"/>
          </ac:spMkLst>
        </pc:spChg>
        <pc:spChg chg="mod ord">
          <ac:chgData name="Kisliuk, Adrian (ext)" userId="6e619ce3-2643-4cdf-9a13-b4c269650021" providerId="ADAL" clId="{AFCEEFB0-37BC-48D4-B200-D3706B2CD7FE}" dt="2021-04-16T14:11:58.354" v="1453"/>
          <ac:spMkLst>
            <pc:docMk/>
            <pc:sldMk cId="3195984845" sldId="885"/>
            <ac:spMk id="62" creationId="{F18AB5D4-6684-476B-9E01-D52F3C475B9D}"/>
          </ac:spMkLst>
        </pc:spChg>
        <pc:spChg chg="mod ord">
          <ac:chgData name="Kisliuk, Adrian (ext)" userId="6e619ce3-2643-4cdf-9a13-b4c269650021" providerId="ADAL" clId="{AFCEEFB0-37BC-48D4-B200-D3706B2CD7FE}" dt="2021-04-16T14:11:58.354" v="1455"/>
          <ac:spMkLst>
            <pc:docMk/>
            <pc:sldMk cId="3195984845" sldId="885"/>
            <ac:spMk id="63" creationId="{156E2940-6C2C-441A-A0D1-AEFC1F642EB9}"/>
          </ac:spMkLst>
        </pc:spChg>
        <pc:spChg chg="mod ord">
          <ac:chgData name="Kisliuk, Adrian (ext)" userId="6e619ce3-2643-4cdf-9a13-b4c269650021" providerId="ADAL" clId="{AFCEEFB0-37BC-48D4-B200-D3706B2CD7FE}" dt="2021-04-16T14:11:58.354" v="1457"/>
          <ac:spMkLst>
            <pc:docMk/>
            <pc:sldMk cId="3195984845" sldId="885"/>
            <ac:spMk id="64" creationId="{57B5D130-FC55-4C74-87D8-90821A179825}"/>
          </ac:spMkLst>
        </pc:spChg>
        <pc:spChg chg="mod ord">
          <ac:chgData name="Kisliuk, Adrian (ext)" userId="6e619ce3-2643-4cdf-9a13-b4c269650021" providerId="ADAL" clId="{AFCEEFB0-37BC-48D4-B200-D3706B2CD7FE}" dt="2021-04-16T14:11:58.355" v="1459"/>
          <ac:spMkLst>
            <pc:docMk/>
            <pc:sldMk cId="3195984845" sldId="885"/>
            <ac:spMk id="65" creationId="{7602D122-9C28-4E79-B955-831037F7C36D}"/>
          </ac:spMkLst>
        </pc:spChg>
        <pc:spChg chg="mod ord">
          <ac:chgData name="Kisliuk, Adrian (ext)" userId="6e619ce3-2643-4cdf-9a13-b4c269650021" providerId="ADAL" clId="{AFCEEFB0-37BC-48D4-B200-D3706B2CD7FE}" dt="2021-04-16T14:11:58.355" v="1461"/>
          <ac:spMkLst>
            <pc:docMk/>
            <pc:sldMk cId="3195984845" sldId="885"/>
            <ac:spMk id="66" creationId="{DDF02AEA-B6ED-4260-8A2A-3A103611319E}"/>
          </ac:spMkLst>
        </pc:spChg>
        <pc:spChg chg="mod ord">
          <ac:chgData name="Kisliuk, Adrian (ext)" userId="6e619ce3-2643-4cdf-9a13-b4c269650021" providerId="ADAL" clId="{AFCEEFB0-37BC-48D4-B200-D3706B2CD7FE}" dt="2021-04-16T14:11:58.355" v="1463"/>
          <ac:spMkLst>
            <pc:docMk/>
            <pc:sldMk cId="3195984845" sldId="885"/>
            <ac:spMk id="68" creationId="{B2A5A05B-7AD7-4E6A-98D1-FE7D987B4310}"/>
          </ac:spMkLst>
        </pc:spChg>
        <pc:spChg chg="mod ord">
          <ac:chgData name="Kisliuk, Adrian (ext)" userId="6e619ce3-2643-4cdf-9a13-b4c269650021" providerId="ADAL" clId="{AFCEEFB0-37BC-48D4-B200-D3706B2CD7FE}" dt="2021-04-16T14:11:58.357" v="1473"/>
          <ac:spMkLst>
            <pc:docMk/>
            <pc:sldMk cId="3195984845" sldId="885"/>
            <ac:spMk id="78" creationId="{EFEAE6C7-D080-4E3D-B0AE-2FF273F24A55}"/>
          </ac:spMkLst>
        </pc:spChg>
        <pc:spChg chg="mod ord">
          <ac:chgData name="Kisliuk, Adrian (ext)" userId="6e619ce3-2643-4cdf-9a13-b4c269650021" providerId="ADAL" clId="{AFCEEFB0-37BC-48D4-B200-D3706B2CD7FE}" dt="2021-04-16T14:11:58.357" v="1475"/>
          <ac:spMkLst>
            <pc:docMk/>
            <pc:sldMk cId="3195984845" sldId="885"/>
            <ac:spMk id="79" creationId="{6D2871DB-9866-401C-A93C-3E81744868D8}"/>
          </ac:spMkLst>
        </pc:spChg>
        <pc:spChg chg="mod ord">
          <ac:chgData name="Kisliuk, Adrian (ext)" userId="6e619ce3-2643-4cdf-9a13-b4c269650021" providerId="ADAL" clId="{AFCEEFB0-37BC-48D4-B200-D3706B2CD7FE}" dt="2021-04-16T14:11:58.357" v="1477"/>
          <ac:spMkLst>
            <pc:docMk/>
            <pc:sldMk cId="3195984845" sldId="885"/>
            <ac:spMk id="80" creationId="{D62AAF46-5EF5-478D-A773-32134FFE6F46}"/>
          </ac:spMkLst>
        </pc:spChg>
        <pc:spChg chg="mod ord">
          <ac:chgData name="Kisliuk, Adrian (ext)" userId="6e619ce3-2643-4cdf-9a13-b4c269650021" providerId="ADAL" clId="{AFCEEFB0-37BC-48D4-B200-D3706B2CD7FE}" dt="2021-04-16T14:11:58.358" v="1479"/>
          <ac:spMkLst>
            <pc:docMk/>
            <pc:sldMk cId="3195984845" sldId="885"/>
            <ac:spMk id="84" creationId="{820BF3EB-52AC-44BA-BCD7-DC74E953293F}"/>
          </ac:spMkLst>
        </pc:spChg>
        <pc:spChg chg="mod ord">
          <ac:chgData name="Kisliuk, Adrian (ext)" userId="6e619ce3-2643-4cdf-9a13-b4c269650021" providerId="ADAL" clId="{AFCEEFB0-37BC-48D4-B200-D3706B2CD7FE}" dt="2021-04-16T14:11:58.358" v="1481"/>
          <ac:spMkLst>
            <pc:docMk/>
            <pc:sldMk cId="3195984845" sldId="885"/>
            <ac:spMk id="85" creationId="{03CC42B1-AE7E-4FE1-B0F3-05F1DD488C48}"/>
          </ac:spMkLst>
        </pc:spChg>
        <pc:spChg chg="mod ord">
          <ac:chgData name="Kisliuk, Adrian (ext)" userId="6e619ce3-2643-4cdf-9a13-b4c269650021" providerId="ADAL" clId="{AFCEEFB0-37BC-48D4-B200-D3706B2CD7FE}" dt="2021-04-16T14:11:58.358" v="1483"/>
          <ac:spMkLst>
            <pc:docMk/>
            <pc:sldMk cId="3195984845" sldId="885"/>
            <ac:spMk id="86" creationId="{534A0847-4210-41A6-91D9-69534E471020}"/>
          </ac:spMkLst>
        </pc:spChg>
        <pc:spChg chg="mod ord">
          <ac:chgData name="Kisliuk, Adrian (ext)" userId="6e619ce3-2643-4cdf-9a13-b4c269650021" providerId="ADAL" clId="{AFCEEFB0-37BC-48D4-B200-D3706B2CD7FE}" dt="2021-04-16T14:11:58.361" v="1499"/>
          <ac:spMkLst>
            <pc:docMk/>
            <pc:sldMk cId="3195984845" sldId="885"/>
            <ac:spMk id="101" creationId="{EE6AC1A2-B80F-47EA-935A-F7DEDD1A4F12}"/>
          </ac:spMkLst>
        </pc:spChg>
        <pc:spChg chg="mod ord">
          <ac:chgData name="Kisliuk, Adrian (ext)" userId="6e619ce3-2643-4cdf-9a13-b4c269650021" providerId="ADAL" clId="{AFCEEFB0-37BC-48D4-B200-D3706B2CD7FE}" dt="2021-04-16T14:11:58.362" v="1505"/>
          <ac:spMkLst>
            <pc:docMk/>
            <pc:sldMk cId="3195984845" sldId="885"/>
            <ac:spMk id="104" creationId="{AF5820CE-AD0B-4BF7-A703-422E6ACED06D}"/>
          </ac:spMkLst>
        </pc:spChg>
        <pc:spChg chg="mod ord">
          <ac:chgData name="Kisliuk, Adrian (ext)" userId="6e619ce3-2643-4cdf-9a13-b4c269650021" providerId="ADAL" clId="{AFCEEFB0-37BC-48D4-B200-D3706B2CD7FE}" dt="2021-04-16T14:11:58.362" v="1507"/>
          <ac:spMkLst>
            <pc:docMk/>
            <pc:sldMk cId="3195984845" sldId="885"/>
            <ac:spMk id="105" creationId="{CBA00073-9497-48E6-BB0D-55BEBABCF4F6}"/>
          </ac:spMkLst>
        </pc:spChg>
        <pc:spChg chg="mod ord">
          <ac:chgData name="Kisliuk, Adrian (ext)" userId="6e619ce3-2643-4cdf-9a13-b4c269650021" providerId="ADAL" clId="{AFCEEFB0-37BC-48D4-B200-D3706B2CD7FE}" dt="2021-04-16T14:11:58.362" v="1509"/>
          <ac:spMkLst>
            <pc:docMk/>
            <pc:sldMk cId="3195984845" sldId="885"/>
            <ac:spMk id="106" creationId="{DFECCB21-F97F-4D65-AE80-E5A36BB44075}"/>
          </ac:spMkLst>
        </pc:spChg>
        <pc:graphicFrameChg chg="mod ord">
          <ac:chgData name="Kisliuk, Adrian (ext)" userId="6e619ce3-2643-4cdf-9a13-b4c269650021" providerId="ADAL" clId="{AFCEEFB0-37BC-48D4-B200-D3706B2CD7FE}" dt="2021-04-19T18:40:55.555" v="9435"/>
          <ac:graphicFrameMkLst>
            <pc:docMk/>
            <pc:sldMk cId="3195984845" sldId="885"/>
            <ac:graphicFrameMk id="6" creationId="{580DFCAE-76C4-413B-B499-F7B76F1E13AF}"/>
          </ac:graphicFrameMkLst>
        </pc:graphicFrameChg>
        <pc:picChg chg="mod ord">
          <ac:chgData name="Kisliuk, Adrian (ext)" userId="6e619ce3-2643-4cdf-9a13-b4c269650021" providerId="ADAL" clId="{AFCEEFB0-37BC-48D4-B200-D3706B2CD7FE}" dt="2021-04-16T14:11:58.352" v="1445"/>
          <ac:picMkLst>
            <pc:docMk/>
            <pc:sldMk cId="3195984845" sldId="885"/>
            <ac:picMk id="33" creationId="{FDFCE72B-4FE7-427A-8A4C-F087F18E34A5}"/>
          </ac:picMkLst>
        </pc:picChg>
        <pc:picChg chg="mod ord">
          <ac:chgData name="Kisliuk, Adrian (ext)" userId="6e619ce3-2643-4cdf-9a13-b4c269650021" providerId="ADAL" clId="{AFCEEFB0-37BC-48D4-B200-D3706B2CD7FE}" dt="2021-04-16T14:11:58.360" v="1497"/>
          <ac:picMkLst>
            <pc:docMk/>
            <pc:sldMk cId="3195984845" sldId="885"/>
            <ac:picMk id="100" creationId="{508DCD31-2611-4665-9E3D-3EC2CE6FD3BA}"/>
          </ac:picMkLst>
        </pc:picChg>
        <pc:picChg chg="mod">
          <ac:chgData name="Kisliuk, Adrian (ext)" userId="6e619ce3-2643-4cdf-9a13-b4c269650021" providerId="ADAL" clId="{AFCEEFB0-37BC-48D4-B200-D3706B2CD7FE}" dt="2021-04-16T14:11:58.352" v="1443"/>
          <ac:picMkLst>
            <pc:docMk/>
            <pc:sldMk cId="3195984845" sldId="885"/>
            <ac:picMk id="1026" creationId="{92BEDCD2-D9FA-492D-9738-4357A3D8F149}"/>
          </ac:picMkLst>
        </pc:picChg>
        <pc:cxnChg chg="mod ord">
          <ac:chgData name="Kisliuk, Adrian (ext)" userId="6e619ce3-2643-4cdf-9a13-b4c269650021" providerId="ADAL" clId="{AFCEEFB0-37BC-48D4-B200-D3706B2CD7FE}" dt="2021-04-16T14:11:58.359" v="1487"/>
          <ac:cxnSpMkLst>
            <pc:docMk/>
            <pc:sldMk cId="3195984845" sldId="885"/>
            <ac:cxnSpMk id="28" creationId="{D58FBF2D-9638-4C4C-9995-1A16B6764B8D}"/>
          </ac:cxnSpMkLst>
        </pc:cxnChg>
        <pc:cxnChg chg="mod ord">
          <ac:chgData name="Kisliuk, Adrian (ext)" userId="6e619ce3-2643-4cdf-9a13-b4c269650021" providerId="ADAL" clId="{AFCEEFB0-37BC-48D4-B200-D3706B2CD7FE}" dt="2021-04-19T10:47:11.475" v="3911" actId="1076"/>
          <ac:cxnSpMkLst>
            <pc:docMk/>
            <pc:sldMk cId="3195984845" sldId="885"/>
            <ac:cxnSpMk id="46" creationId="{9CF4C57B-F2C2-4AD4-9E6C-5A566055A0AC}"/>
          </ac:cxnSpMkLst>
        </pc:cxnChg>
        <pc:cxnChg chg="mod ord">
          <ac:chgData name="Kisliuk, Adrian (ext)" userId="6e619ce3-2643-4cdf-9a13-b4c269650021" providerId="ADAL" clId="{AFCEEFB0-37BC-48D4-B200-D3706B2CD7FE}" dt="2021-04-16T14:11:58.351" v="1434"/>
          <ac:cxnSpMkLst>
            <pc:docMk/>
            <pc:sldMk cId="3195984845" sldId="885"/>
            <ac:cxnSpMk id="48" creationId="{1050C63E-5585-4A11-B1EC-F7EDA319A04E}"/>
          </ac:cxnSpMkLst>
        </pc:cxnChg>
        <pc:cxnChg chg="mod ord">
          <ac:chgData name="Kisliuk, Adrian (ext)" userId="6e619ce3-2643-4cdf-9a13-b4c269650021" providerId="ADAL" clId="{AFCEEFB0-37BC-48D4-B200-D3706B2CD7FE}" dt="2021-04-19T10:47:15.068" v="3912" actId="1076"/>
          <ac:cxnSpMkLst>
            <pc:docMk/>
            <pc:sldMk cId="3195984845" sldId="885"/>
            <ac:cxnSpMk id="49" creationId="{122C71A5-4FC6-4AFC-A80C-49393EFA0349}"/>
          </ac:cxnSpMkLst>
        </pc:cxnChg>
        <pc:cxnChg chg="mod ord">
          <ac:chgData name="Kisliuk, Adrian (ext)" userId="6e619ce3-2643-4cdf-9a13-b4c269650021" providerId="ADAL" clId="{AFCEEFB0-37BC-48D4-B200-D3706B2CD7FE}" dt="2021-04-16T14:11:58.356" v="1465"/>
          <ac:cxnSpMkLst>
            <pc:docMk/>
            <pc:sldMk cId="3195984845" sldId="885"/>
            <ac:cxnSpMk id="73" creationId="{2F15BCFC-3FEE-4805-BA9A-B4BAB1ACA66D}"/>
          </ac:cxnSpMkLst>
        </pc:cxnChg>
        <pc:cxnChg chg="mod ord">
          <ac:chgData name="Kisliuk, Adrian (ext)" userId="6e619ce3-2643-4cdf-9a13-b4c269650021" providerId="ADAL" clId="{AFCEEFB0-37BC-48D4-B200-D3706B2CD7FE}" dt="2021-04-16T14:11:58.356" v="1467"/>
          <ac:cxnSpMkLst>
            <pc:docMk/>
            <pc:sldMk cId="3195984845" sldId="885"/>
            <ac:cxnSpMk id="74" creationId="{A64193B5-2912-492F-A088-5824B259B522}"/>
          </ac:cxnSpMkLst>
        </pc:cxnChg>
        <pc:cxnChg chg="mod ord">
          <ac:chgData name="Kisliuk, Adrian (ext)" userId="6e619ce3-2643-4cdf-9a13-b4c269650021" providerId="ADAL" clId="{AFCEEFB0-37BC-48D4-B200-D3706B2CD7FE}" dt="2021-04-16T14:11:58.356" v="1469"/>
          <ac:cxnSpMkLst>
            <pc:docMk/>
            <pc:sldMk cId="3195984845" sldId="885"/>
            <ac:cxnSpMk id="76" creationId="{DC08D9EC-D551-471F-87B4-5FF5B2216AB5}"/>
          </ac:cxnSpMkLst>
        </pc:cxnChg>
        <pc:cxnChg chg="mod ord">
          <ac:chgData name="Kisliuk, Adrian (ext)" userId="6e619ce3-2643-4cdf-9a13-b4c269650021" providerId="ADAL" clId="{AFCEEFB0-37BC-48D4-B200-D3706B2CD7FE}" dt="2021-04-16T14:11:58.356" v="1471"/>
          <ac:cxnSpMkLst>
            <pc:docMk/>
            <pc:sldMk cId="3195984845" sldId="885"/>
            <ac:cxnSpMk id="77" creationId="{85831AFF-3A09-4D51-B790-683B1C245F79}"/>
          </ac:cxnSpMkLst>
        </pc:cxnChg>
        <pc:cxnChg chg="mod ord">
          <ac:chgData name="Kisliuk, Adrian (ext)" userId="6e619ce3-2643-4cdf-9a13-b4c269650021" providerId="ADAL" clId="{AFCEEFB0-37BC-48D4-B200-D3706B2CD7FE}" dt="2021-04-16T14:11:58.358" v="1485"/>
          <ac:cxnSpMkLst>
            <pc:docMk/>
            <pc:sldMk cId="3195984845" sldId="885"/>
            <ac:cxnSpMk id="91" creationId="{416B026B-522D-40D0-B416-BE13D14998EE}"/>
          </ac:cxnSpMkLst>
        </pc:cxnChg>
        <pc:cxnChg chg="mod ord">
          <ac:chgData name="Kisliuk, Adrian (ext)" userId="6e619ce3-2643-4cdf-9a13-b4c269650021" providerId="ADAL" clId="{AFCEEFB0-37BC-48D4-B200-D3706B2CD7FE}" dt="2021-04-16T14:11:58.359" v="1489"/>
          <ac:cxnSpMkLst>
            <pc:docMk/>
            <pc:sldMk cId="3195984845" sldId="885"/>
            <ac:cxnSpMk id="95" creationId="{18279AC8-99C4-43D8-8637-ECF649236B69}"/>
          </ac:cxnSpMkLst>
        </pc:cxnChg>
        <pc:cxnChg chg="mod ord">
          <ac:chgData name="Kisliuk, Adrian (ext)" userId="6e619ce3-2643-4cdf-9a13-b4c269650021" providerId="ADAL" clId="{AFCEEFB0-37BC-48D4-B200-D3706B2CD7FE}" dt="2021-04-16T14:11:58.359" v="1491"/>
          <ac:cxnSpMkLst>
            <pc:docMk/>
            <pc:sldMk cId="3195984845" sldId="885"/>
            <ac:cxnSpMk id="97" creationId="{06FDFB2F-A4D9-4714-B320-B8854CE04578}"/>
          </ac:cxnSpMkLst>
        </pc:cxnChg>
        <pc:cxnChg chg="mod ord">
          <ac:chgData name="Kisliuk, Adrian (ext)" userId="6e619ce3-2643-4cdf-9a13-b4c269650021" providerId="ADAL" clId="{AFCEEFB0-37BC-48D4-B200-D3706B2CD7FE}" dt="2021-04-16T14:11:58.360" v="1493"/>
          <ac:cxnSpMkLst>
            <pc:docMk/>
            <pc:sldMk cId="3195984845" sldId="885"/>
            <ac:cxnSpMk id="98" creationId="{86E5678F-0B47-4BB4-A77A-80319C4DC25D}"/>
          </ac:cxnSpMkLst>
        </pc:cxnChg>
        <pc:cxnChg chg="mod ord">
          <ac:chgData name="Kisliuk, Adrian (ext)" userId="6e619ce3-2643-4cdf-9a13-b4c269650021" providerId="ADAL" clId="{AFCEEFB0-37BC-48D4-B200-D3706B2CD7FE}" dt="2021-04-16T14:11:58.360" v="1495"/>
          <ac:cxnSpMkLst>
            <pc:docMk/>
            <pc:sldMk cId="3195984845" sldId="885"/>
            <ac:cxnSpMk id="99" creationId="{48DB8B6D-F8E7-4865-98CE-30E510E970FF}"/>
          </ac:cxnSpMkLst>
        </pc:cxnChg>
        <pc:cxnChg chg="mod ord">
          <ac:chgData name="Kisliuk, Adrian (ext)" userId="6e619ce3-2643-4cdf-9a13-b4c269650021" providerId="ADAL" clId="{AFCEEFB0-37BC-48D4-B200-D3706B2CD7FE}" dt="2021-04-16T14:11:58.361" v="1501"/>
          <ac:cxnSpMkLst>
            <pc:docMk/>
            <pc:sldMk cId="3195984845" sldId="885"/>
            <ac:cxnSpMk id="102" creationId="{ECE6F4AA-770F-47EB-BE7C-C29A072092BC}"/>
          </ac:cxnSpMkLst>
        </pc:cxnChg>
        <pc:cxnChg chg="mod ord">
          <ac:chgData name="Kisliuk, Adrian (ext)" userId="6e619ce3-2643-4cdf-9a13-b4c269650021" providerId="ADAL" clId="{AFCEEFB0-37BC-48D4-B200-D3706B2CD7FE}" dt="2021-04-16T14:11:58.361" v="1503"/>
          <ac:cxnSpMkLst>
            <pc:docMk/>
            <pc:sldMk cId="3195984845" sldId="885"/>
            <ac:cxnSpMk id="103" creationId="{DC4C5A09-C600-4328-B8BE-1F90893DA186}"/>
          </ac:cxnSpMkLst>
        </pc:cxnChg>
      </pc:sldChg>
      <pc:sldChg chg="delSp modSp add del mod ord modTransition modShow addCm delCm modCm">
        <pc:chgData name="Kisliuk, Adrian (ext)" userId="6e619ce3-2643-4cdf-9a13-b4c269650021" providerId="ADAL" clId="{AFCEEFB0-37BC-48D4-B200-D3706B2CD7FE}" dt="2021-04-21T08:39:04.798" v="16753" actId="47"/>
        <pc:sldMkLst>
          <pc:docMk/>
          <pc:sldMk cId="972601966" sldId="886"/>
        </pc:sldMkLst>
        <pc:spChg chg="del mod">
          <ac:chgData name="Kisliuk, Adrian (ext)" userId="6e619ce3-2643-4cdf-9a13-b4c269650021" providerId="ADAL" clId="{AFCEEFB0-37BC-48D4-B200-D3706B2CD7FE}" dt="2021-04-19T12:27:32.840" v="6983" actId="478"/>
          <ac:spMkLst>
            <pc:docMk/>
            <pc:sldMk cId="972601966" sldId="886"/>
            <ac:spMk id="4" creationId="{00000000-0000-0000-0000-000000000000}"/>
          </ac:spMkLst>
        </pc:spChg>
        <pc:spChg chg="mod">
          <ac:chgData name="Kisliuk, Adrian (ext)" userId="6e619ce3-2643-4cdf-9a13-b4c269650021" providerId="ADAL" clId="{AFCEEFB0-37BC-48D4-B200-D3706B2CD7FE}" dt="2021-04-19T14:42:20.671" v="8358" actId="1076"/>
          <ac:spMkLst>
            <pc:docMk/>
            <pc:sldMk cId="972601966" sldId="886"/>
            <ac:spMk id="10" creationId="{D5B6F30A-C27B-4CD6-A9A9-AA3DB2C017FE}"/>
          </ac:spMkLst>
        </pc:spChg>
        <pc:spChg chg="mod">
          <ac:chgData name="Kisliuk, Adrian (ext)" userId="6e619ce3-2643-4cdf-9a13-b4c269650021" providerId="ADAL" clId="{AFCEEFB0-37BC-48D4-B200-D3706B2CD7FE}" dt="2021-04-16T14:42:11.375" v="1721" actId="1076"/>
          <ac:spMkLst>
            <pc:docMk/>
            <pc:sldMk cId="972601966" sldId="886"/>
            <ac:spMk id="13" creationId="{EE3DAFB9-21D0-4FE2-8012-DA4DC9CB65A2}"/>
          </ac:spMkLst>
        </pc:spChg>
        <pc:spChg chg="mod">
          <ac:chgData name="Kisliuk, Adrian (ext)" userId="6e619ce3-2643-4cdf-9a13-b4c269650021" providerId="ADAL" clId="{AFCEEFB0-37BC-48D4-B200-D3706B2CD7FE}" dt="2021-04-16T14:52:56.357" v="2088" actId="20577"/>
          <ac:spMkLst>
            <pc:docMk/>
            <pc:sldMk cId="972601966" sldId="886"/>
            <ac:spMk id="26" creationId="{CE1C3E13-AF8F-4301-B411-986CE84A3DD5}"/>
          </ac:spMkLst>
        </pc:spChg>
      </pc:sldChg>
      <pc:sldChg chg="addSp delSp modSp add del mod ord">
        <pc:chgData name="Kisliuk, Adrian (ext)" userId="6e619ce3-2643-4cdf-9a13-b4c269650021" providerId="ADAL" clId="{AFCEEFB0-37BC-48D4-B200-D3706B2CD7FE}" dt="2021-04-21T09:05:29.329" v="17047" actId="47"/>
        <pc:sldMkLst>
          <pc:docMk/>
          <pc:sldMk cId="3931138914" sldId="887"/>
        </pc:sldMkLst>
        <pc:spChg chg="mod">
          <ac:chgData name="Kisliuk, Adrian (ext)" userId="6e619ce3-2643-4cdf-9a13-b4c269650021" providerId="ADAL" clId="{AFCEEFB0-37BC-48D4-B200-D3706B2CD7FE}" dt="2021-04-16T14:48:48.955" v="1975" actId="948"/>
          <ac:spMkLst>
            <pc:docMk/>
            <pc:sldMk cId="3931138914" sldId="887"/>
            <ac:spMk id="2" creationId="{C11920DB-DB27-4D35-BC7B-E98157E38E05}"/>
          </ac:spMkLst>
        </pc:spChg>
        <pc:spChg chg="add del mod modVis">
          <ac:chgData name="Kisliuk, Adrian (ext)" userId="6e619ce3-2643-4cdf-9a13-b4c269650021" providerId="ADAL" clId="{AFCEEFB0-37BC-48D4-B200-D3706B2CD7FE}" dt="2021-04-16T14:48:39.073" v="1782"/>
          <ac:spMkLst>
            <pc:docMk/>
            <pc:sldMk cId="3931138914" sldId="887"/>
            <ac:spMk id="3" creationId="{549F3434-6B2E-41F5-91F6-5312F2CDDA50}"/>
          </ac:spMkLst>
        </pc:spChg>
        <pc:spChg chg="mod">
          <ac:chgData name="Kisliuk, Adrian (ext)" userId="6e619ce3-2643-4cdf-9a13-b4c269650021" providerId="ADAL" clId="{AFCEEFB0-37BC-48D4-B200-D3706B2CD7FE}" dt="2021-04-16T14:49:37.402" v="2030" actId="20577"/>
          <ac:spMkLst>
            <pc:docMk/>
            <pc:sldMk cId="3931138914" sldId="887"/>
            <ac:spMk id="4" creationId="{00000000-0000-0000-0000-000000000000}"/>
          </ac:spMkLst>
        </pc:spChg>
        <pc:spChg chg="add del mod modVis">
          <ac:chgData name="Kisliuk, Adrian (ext)" userId="6e619ce3-2643-4cdf-9a13-b4c269650021" providerId="ADAL" clId="{AFCEEFB0-37BC-48D4-B200-D3706B2CD7FE}" dt="2021-04-16T14:48:41.300" v="1825"/>
          <ac:spMkLst>
            <pc:docMk/>
            <pc:sldMk cId="3931138914" sldId="887"/>
            <ac:spMk id="5" creationId="{630DB59B-0B05-4F23-BDE3-439FABF4B885}"/>
          </ac:spMkLst>
        </pc:spChg>
        <pc:spChg chg="del">
          <ac:chgData name="Kisliuk, Adrian (ext)" userId="6e619ce3-2643-4cdf-9a13-b4c269650021" providerId="ADAL" clId="{AFCEEFB0-37BC-48D4-B200-D3706B2CD7FE}" dt="2021-04-16T14:49:03.420" v="2021" actId="478"/>
          <ac:spMkLst>
            <pc:docMk/>
            <pc:sldMk cId="3931138914" sldId="887"/>
            <ac:spMk id="7" creationId="{A01B97CA-E518-42F4-99E1-F023E52FB426}"/>
          </ac:spMkLst>
        </pc:spChg>
        <pc:spChg chg="add del mod modVis">
          <ac:chgData name="Kisliuk, Adrian (ext)" userId="6e619ce3-2643-4cdf-9a13-b4c269650021" providerId="ADAL" clId="{AFCEEFB0-37BC-48D4-B200-D3706B2CD7FE}" dt="2021-04-16T14:48:43.588" v="1873"/>
          <ac:spMkLst>
            <pc:docMk/>
            <pc:sldMk cId="3931138914" sldId="887"/>
            <ac:spMk id="8" creationId="{F2D11E46-C387-4F93-9F83-6FF7F1049E5E}"/>
          </ac:spMkLst>
        </pc:spChg>
        <pc:spChg chg="add del mod modVis">
          <ac:chgData name="Kisliuk, Adrian (ext)" userId="6e619ce3-2643-4cdf-9a13-b4c269650021" providerId="ADAL" clId="{AFCEEFB0-37BC-48D4-B200-D3706B2CD7FE}" dt="2021-04-16T14:48:44.159" v="1914"/>
          <ac:spMkLst>
            <pc:docMk/>
            <pc:sldMk cId="3931138914" sldId="887"/>
            <ac:spMk id="10" creationId="{C44BE15F-3181-4EE8-A5E8-B8794CD46A76}"/>
          </ac:spMkLst>
        </pc:spChg>
        <pc:spChg chg="del">
          <ac:chgData name="Kisliuk, Adrian (ext)" userId="6e619ce3-2643-4cdf-9a13-b4c269650021" providerId="ADAL" clId="{AFCEEFB0-37BC-48D4-B200-D3706B2CD7FE}" dt="2021-04-16T14:48:54.836" v="2017" actId="478"/>
          <ac:spMkLst>
            <pc:docMk/>
            <pc:sldMk cId="3931138914" sldId="887"/>
            <ac:spMk id="11" creationId="{4F40012B-730E-4563-9DD9-41229AD9971E}"/>
          </ac:spMkLst>
        </pc:spChg>
        <pc:spChg chg="del">
          <ac:chgData name="Kisliuk, Adrian (ext)" userId="6e619ce3-2643-4cdf-9a13-b4c269650021" providerId="ADAL" clId="{AFCEEFB0-37BC-48D4-B200-D3706B2CD7FE}" dt="2021-04-16T14:49:02.388" v="2020" actId="478"/>
          <ac:spMkLst>
            <pc:docMk/>
            <pc:sldMk cId="3931138914" sldId="887"/>
            <ac:spMk id="12" creationId="{B4F2CB6D-8100-4800-BD6C-F81203927C9B}"/>
          </ac:spMkLst>
        </pc:spChg>
        <pc:spChg chg="del">
          <ac:chgData name="Kisliuk, Adrian (ext)" userId="6e619ce3-2643-4cdf-9a13-b4c269650021" providerId="ADAL" clId="{AFCEEFB0-37BC-48D4-B200-D3706B2CD7FE}" dt="2021-04-16T14:48:52.169" v="2015" actId="478"/>
          <ac:spMkLst>
            <pc:docMk/>
            <pc:sldMk cId="3931138914" sldId="887"/>
            <ac:spMk id="13" creationId="{A14801F6-224F-4B1F-9166-FFA690A76EA1}"/>
          </ac:spMkLst>
        </pc:spChg>
        <pc:spChg chg="add del mod modVis">
          <ac:chgData name="Kisliuk, Adrian (ext)" userId="6e619ce3-2643-4cdf-9a13-b4c269650021" providerId="ADAL" clId="{AFCEEFB0-37BC-48D4-B200-D3706B2CD7FE}" dt="2021-04-16T14:48:45.709" v="1959"/>
          <ac:spMkLst>
            <pc:docMk/>
            <pc:sldMk cId="3931138914" sldId="887"/>
            <ac:spMk id="14" creationId="{1C9B1A90-96B0-4B37-9F27-422E2548BBCA}"/>
          </ac:spMkLst>
        </pc:spChg>
        <pc:spChg chg="add del mod modVis">
          <ac:chgData name="Kisliuk, Adrian (ext)" userId="6e619ce3-2643-4cdf-9a13-b4c269650021" providerId="ADAL" clId="{AFCEEFB0-37BC-48D4-B200-D3706B2CD7FE}" dt="2021-04-16T14:48:48.982" v="2012"/>
          <ac:spMkLst>
            <pc:docMk/>
            <pc:sldMk cId="3931138914" sldId="887"/>
            <ac:spMk id="15" creationId="{F99D4108-87AC-4C5C-B0BB-8928DCFEC699}"/>
          </ac:spMkLst>
        </pc:spChg>
        <pc:spChg chg="add mod">
          <ac:chgData name="Kisliuk, Adrian (ext)" userId="6e619ce3-2643-4cdf-9a13-b4c269650021" providerId="ADAL" clId="{AFCEEFB0-37BC-48D4-B200-D3706B2CD7FE}" dt="2021-04-16T14:51:30.059" v="2058"/>
          <ac:spMkLst>
            <pc:docMk/>
            <pc:sldMk cId="3931138914" sldId="887"/>
            <ac:spMk id="17" creationId="{80C85612-3195-43C6-84FD-E4F97C4E2FAF}"/>
          </ac:spMkLst>
        </pc:spChg>
        <pc:spChg chg="add mod">
          <ac:chgData name="Kisliuk, Adrian (ext)" userId="6e619ce3-2643-4cdf-9a13-b4c269650021" providerId="ADAL" clId="{AFCEEFB0-37BC-48D4-B200-D3706B2CD7FE}" dt="2021-04-16T15:23:50.404" v="2500" actId="1076"/>
          <ac:spMkLst>
            <pc:docMk/>
            <pc:sldMk cId="3931138914" sldId="887"/>
            <ac:spMk id="18" creationId="{442089CF-6AF0-4D48-8DB1-159515C68877}"/>
          </ac:spMkLst>
        </pc:spChg>
        <pc:spChg chg="mod">
          <ac:chgData name="Kisliuk, Adrian (ext)" userId="6e619ce3-2643-4cdf-9a13-b4c269650021" providerId="ADAL" clId="{AFCEEFB0-37BC-48D4-B200-D3706B2CD7FE}" dt="2021-04-16T15:21:56.157" v="2431" actId="113"/>
          <ac:spMkLst>
            <pc:docMk/>
            <pc:sldMk cId="3931138914" sldId="887"/>
            <ac:spMk id="26" creationId="{CE1C3E13-AF8F-4301-B411-986CE84A3DD5}"/>
          </ac:spMkLst>
        </pc:spChg>
        <pc:graphicFrameChg chg="mod">
          <ac:chgData name="Kisliuk, Adrian (ext)" userId="6e619ce3-2643-4cdf-9a13-b4c269650021" providerId="ADAL" clId="{AFCEEFB0-37BC-48D4-B200-D3706B2CD7FE}" dt="2021-04-16T14:48:48.983" v="2014"/>
          <ac:graphicFrameMkLst>
            <pc:docMk/>
            <pc:sldMk cId="3931138914" sldId="887"/>
            <ac:graphicFrameMk id="6" creationId="{4828E88A-D5C2-4929-A058-2CC608F5A67D}"/>
          </ac:graphicFrameMkLst>
        </pc:graphicFrameChg>
        <pc:cxnChg chg="del">
          <ac:chgData name="Kisliuk, Adrian (ext)" userId="6e619ce3-2643-4cdf-9a13-b4c269650021" providerId="ADAL" clId="{AFCEEFB0-37BC-48D4-B200-D3706B2CD7FE}" dt="2021-04-16T14:48:53.414" v="2016" actId="478"/>
          <ac:cxnSpMkLst>
            <pc:docMk/>
            <pc:sldMk cId="3931138914" sldId="887"/>
            <ac:cxnSpMk id="9" creationId="{3DD83A66-4A24-4AF3-93FD-17C43013DBFE}"/>
          </ac:cxnSpMkLst>
        </pc:cxnChg>
      </pc:sldChg>
      <pc:sldChg chg="addSp delSp modSp add del mod modTransition modShow delCm">
        <pc:chgData name="Kisliuk, Adrian (ext)" userId="6e619ce3-2643-4cdf-9a13-b4c269650021" providerId="ADAL" clId="{AFCEEFB0-37BC-48D4-B200-D3706B2CD7FE}" dt="2021-04-21T09:05:29.329" v="17047" actId="47"/>
        <pc:sldMkLst>
          <pc:docMk/>
          <pc:sldMk cId="3383307614" sldId="888"/>
        </pc:sldMkLst>
        <pc:spChg chg="mod">
          <ac:chgData name="Kisliuk, Adrian (ext)" userId="6e619ce3-2643-4cdf-9a13-b4c269650021" providerId="ADAL" clId="{AFCEEFB0-37BC-48D4-B200-D3706B2CD7FE}" dt="2021-04-16T15:08:36.484" v="2408" actId="1038"/>
          <ac:spMkLst>
            <pc:docMk/>
            <pc:sldMk cId="3383307614" sldId="888"/>
            <ac:spMk id="79" creationId="{6D2871DB-9866-401C-A93C-3E81744868D8}"/>
          </ac:spMkLst>
        </pc:spChg>
        <pc:spChg chg="mod">
          <ac:chgData name="Kisliuk, Adrian (ext)" userId="6e619ce3-2643-4cdf-9a13-b4c269650021" providerId="ADAL" clId="{AFCEEFB0-37BC-48D4-B200-D3706B2CD7FE}" dt="2021-04-16T15:08:36.484" v="2408" actId="1038"/>
          <ac:spMkLst>
            <pc:docMk/>
            <pc:sldMk cId="3383307614" sldId="888"/>
            <ac:spMk id="80" creationId="{D62AAF46-5EF5-478D-A773-32134FFE6F46}"/>
          </ac:spMkLst>
        </pc:spChg>
        <pc:spChg chg="mod">
          <ac:chgData name="Kisliuk, Adrian (ext)" userId="6e619ce3-2643-4cdf-9a13-b4c269650021" providerId="ADAL" clId="{AFCEEFB0-37BC-48D4-B200-D3706B2CD7FE}" dt="2021-04-16T15:08:36.484" v="2408" actId="1038"/>
          <ac:spMkLst>
            <pc:docMk/>
            <pc:sldMk cId="3383307614" sldId="888"/>
            <ac:spMk id="84" creationId="{820BF3EB-52AC-44BA-BCD7-DC74E953293F}"/>
          </ac:spMkLst>
        </pc:spChg>
        <pc:graphicFrameChg chg="mod">
          <ac:chgData name="Kisliuk, Adrian (ext)" userId="6e619ce3-2643-4cdf-9a13-b4c269650021" providerId="ADAL" clId="{AFCEEFB0-37BC-48D4-B200-D3706B2CD7FE}" dt="2021-04-21T09:05:09.637" v="17017" actId="1076"/>
          <ac:graphicFrameMkLst>
            <pc:docMk/>
            <pc:sldMk cId="3383307614" sldId="888"/>
            <ac:graphicFrameMk id="6" creationId="{580DFCAE-76C4-413B-B499-F7B76F1E13AF}"/>
          </ac:graphicFrameMkLst>
        </pc:graphicFrameChg>
        <pc:cxnChg chg="del">
          <ac:chgData name="Kisliuk, Adrian (ext)" userId="6e619ce3-2643-4cdf-9a13-b4c269650021" providerId="ADAL" clId="{AFCEEFB0-37BC-48D4-B200-D3706B2CD7FE}" dt="2021-04-16T15:08:02.222" v="2392" actId="478"/>
          <ac:cxnSpMkLst>
            <pc:docMk/>
            <pc:sldMk cId="3383307614" sldId="888"/>
            <ac:cxnSpMk id="28" creationId="{D58FBF2D-9638-4C4C-9995-1A16B6764B8D}"/>
          </ac:cxnSpMkLst>
        </pc:cxnChg>
        <pc:cxnChg chg="add mod">
          <ac:chgData name="Kisliuk, Adrian (ext)" userId="6e619ce3-2643-4cdf-9a13-b4c269650021" providerId="ADAL" clId="{AFCEEFB0-37BC-48D4-B200-D3706B2CD7FE}" dt="2021-04-16T15:07:59.354" v="2391" actId="14100"/>
          <ac:cxnSpMkLst>
            <pc:docMk/>
            <pc:sldMk cId="3383307614" sldId="888"/>
            <ac:cxnSpMk id="42" creationId="{B505929E-440B-4172-A9A1-1BE7DA318BDC}"/>
          </ac:cxnSpMkLst>
        </pc:cxnChg>
        <pc:cxnChg chg="add mod">
          <ac:chgData name="Kisliuk, Adrian (ext)" userId="6e619ce3-2643-4cdf-9a13-b4c269650021" providerId="ADAL" clId="{AFCEEFB0-37BC-48D4-B200-D3706B2CD7FE}" dt="2021-04-16T15:08:11.905" v="2396" actId="14100"/>
          <ac:cxnSpMkLst>
            <pc:docMk/>
            <pc:sldMk cId="3383307614" sldId="888"/>
            <ac:cxnSpMk id="45" creationId="{8A882CF8-89EF-48C8-960B-F45CAC8C2AD4}"/>
          </ac:cxnSpMkLst>
        </pc:cxnChg>
        <pc:cxnChg chg="add mod">
          <ac:chgData name="Kisliuk, Adrian (ext)" userId="6e619ce3-2643-4cdf-9a13-b4c269650021" providerId="ADAL" clId="{AFCEEFB0-37BC-48D4-B200-D3706B2CD7FE}" dt="2021-04-16T15:08:18.898" v="2400" actId="14100"/>
          <ac:cxnSpMkLst>
            <pc:docMk/>
            <pc:sldMk cId="3383307614" sldId="888"/>
            <ac:cxnSpMk id="50" creationId="{CECA64DA-15F5-46D0-B092-4FA66DB57166}"/>
          </ac:cxnSpMkLst>
        </pc:cxnChg>
        <pc:cxnChg chg="add mod">
          <ac:chgData name="Kisliuk, Adrian (ext)" userId="6e619ce3-2643-4cdf-9a13-b4c269650021" providerId="ADAL" clId="{AFCEEFB0-37BC-48D4-B200-D3706B2CD7FE}" dt="2021-04-16T15:08:36.484" v="2408" actId="1038"/>
          <ac:cxnSpMkLst>
            <pc:docMk/>
            <pc:sldMk cId="3383307614" sldId="888"/>
            <ac:cxnSpMk id="51" creationId="{B71496C8-0B8E-4DCB-B3C8-14F6535E8E36}"/>
          </ac:cxnSpMkLst>
        </pc:cxnChg>
        <pc:cxnChg chg="add mod">
          <ac:chgData name="Kisliuk, Adrian (ext)" userId="6e619ce3-2643-4cdf-9a13-b4c269650021" providerId="ADAL" clId="{AFCEEFB0-37BC-48D4-B200-D3706B2CD7FE}" dt="2021-04-16T15:08:43.721" v="2411" actId="14100"/>
          <ac:cxnSpMkLst>
            <pc:docMk/>
            <pc:sldMk cId="3383307614" sldId="888"/>
            <ac:cxnSpMk id="55" creationId="{62FBAA8A-71C6-438F-BA39-EDE65B42CD85}"/>
          </ac:cxnSpMkLst>
        </pc:cxnChg>
        <pc:cxnChg chg="add mod">
          <ac:chgData name="Kisliuk, Adrian (ext)" userId="6e619ce3-2643-4cdf-9a13-b4c269650021" providerId="ADAL" clId="{AFCEEFB0-37BC-48D4-B200-D3706B2CD7FE}" dt="2021-04-16T15:08:48.491" v="2414" actId="14100"/>
          <ac:cxnSpMkLst>
            <pc:docMk/>
            <pc:sldMk cId="3383307614" sldId="888"/>
            <ac:cxnSpMk id="58" creationId="{EA8FC305-E9E6-4F95-83A6-2F2EE04AF56A}"/>
          </ac:cxnSpMkLst>
        </pc:cxnChg>
        <pc:cxnChg chg="del mod">
          <ac:chgData name="Kisliuk, Adrian (ext)" userId="6e619ce3-2643-4cdf-9a13-b4c269650021" providerId="ADAL" clId="{AFCEEFB0-37BC-48D4-B200-D3706B2CD7FE}" dt="2021-04-16T15:07:54.109" v="2389" actId="478"/>
          <ac:cxnSpMkLst>
            <pc:docMk/>
            <pc:sldMk cId="3383307614" sldId="888"/>
            <ac:cxnSpMk id="74" creationId="{A64193B5-2912-492F-A088-5824B259B522}"/>
          </ac:cxnSpMkLst>
        </pc:cxnChg>
        <pc:cxnChg chg="del mod">
          <ac:chgData name="Kisliuk, Adrian (ext)" userId="6e619ce3-2643-4cdf-9a13-b4c269650021" providerId="ADAL" clId="{AFCEEFB0-37BC-48D4-B200-D3706B2CD7FE}" dt="2021-04-16T15:08:13.208" v="2397" actId="478"/>
          <ac:cxnSpMkLst>
            <pc:docMk/>
            <pc:sldMk cId="3383307614" sldId="888"/>
            <ac:cxnSpMk id="91" creationId="{416B026B-522D-40D0-B416-BE13D14998EE}"/>
          </ac:cxnSpMkLst>
        </pc:cxnChg>
        <pc:cxnChg chg="del">
          <ac:chgData name="Kisliuk, Adrian (ext)" userId="6e619ce3-2643-4cdf-9a13-b4c269650021" providerId="ADAL" clId="{AFCEEFB0-37BC-48D4-B200-D3706B2CD7FE}" dt="2021-04-16T15:08:04.881" v="2393" actId="478"/>
          <ac:cxnSpMkLst>
            <pc:docMk/>
            <pc:sldMk cId="3383307614" sldId="888"/>
            <ac:cxnSpMk id="95" creationId="{18279AC8-99C4-43D8-8637-ECF649236B69}"/>
          </ac:cxnSpMkLst>
        </pc:cxnChg>
      </pc:sldChg>
      <pc:sldChg chg="new add del">
        <pc:chgData name="Kisliuk, Adrian (ext)" userId="6e619ce3-2643-4cdf-9a13-b4c269650021" providerId="ADAL" clId="{AFCEEFB0-37BC-48D4-B200-D3706B2CD7FE}" dt="2021-04-16T15:29:29.604" v="2516" actId="47"/>
        <pc:sldMkLst>
          <pc:docMk/>
          <pc:sldMk cId="2343869996" sldId="889"/>
        </pc:sldMkLst>
      </pc:sldChg>
      <pc:sldChg chg="addSp delSp modSp del mod">
        <pc:chgData name="Kisliuk, Adrian (ext)" userId="6e619ce3-2643-4cdf-9a13-b4c269650021" providerId="ADAL" clId="{AFCEEFB0-37BC-48D4-B200-D3706B2CD7FE}" dt="2021-04-19T10:32:18.497" v="3225" actId="47"/>
        <pc:sldMkLst>
          <pc:docMk/>
          <pc:sldMk cId="2401060283" sldId="889"/>
        </pc:sldMkLst>
        <pc:spChg chg="mod">
          <ac:chgData name="Kisliuk, Adrian (ext)" userId="6e619ce3-2643-4cdf-9a13-b4c269650021" providerId="ADAL" clId="{AFCEEFB0-37BC-48D4-B200-D3706B2CD7FE}" dt="2021-04-19T10:30:37.198" v="3105" actId="948"/>
          <ac:spMkLst>
            <pc:docMk/>
            <pc:sldMk cId="2401060283" sldId="889"/>
            <ac:spMk id="2" creationId="{C11920DB-DB27-4D35-BC7B-E98157E38E05}"/>
          </ac:spMkLst>
        </pc:spChg>
        <pc:spChg chg="add del mod modVis">
          <ac:chgData name="Kisliuk, Adrian (ext)" userId="6e619ce3-2643-4cdf-9a13-b4c269650021" providerId="ADAL" clId="{AFCEEFB0-37BC-48D4-B200-D3706B2CD7FE}" dt="2021-04-19T10:29:47.727" v="2594"/>
          <ac:spMkLst>
            <pc:docMk/>
            <pc:sldMk cId="2401060283" sldId="889"/>
            <ac:spMk id="3" creationId="{FB97D79A-3BC3-42A4-9055-0E4F13C62523}"/>
          </ac:spMkLst>
        </pc:spChg>
        <pc:spChg chg="add del mod modVis">
          <ac:chgData name="Kisliuk, Adrian (ext)" userId="6e619ce3-2643-4cdf-9a13-b4c269650021" providerId="ADAL" clId="{AFCEEFB0-37BC-48D4-B200-D3706B2CD7FE}" dt="2021-04-19T10:29:49.131" v="2636"/>
          <ac:spMkLst>
            <pc:docMk/>
            <pc:sldMk cId="2401060283" sldId="889"/>
            <ac:spMk id="5" creationId="{80AE791B-46C1-4858-A53D-B585E23964FA}"/>
          </ac:spMkLst>
        </pc:spChg>
        <pc:spChg chg="add del mod modVis">
          <ac:chgData name="Kisliuk, Adrian (ext)" userId="6e619ce3-2643-4cdf-9a13-b4c269650021" providerId="ADAL" clId="{AFCEEFB0-37BC-48D4-B200-D3706B2CD7FE}" dt="2021-04-19T10:29:58.235" v="2678"/>
          <ac:spMkLst>
            <pc:docMk/>
            <pc:sldMk cId="2401060283" sldId="889"/>
            <ac:spMk id="7" creationId="{2B5C5AB2-7672-49CE-9247-20A387EE57DF}"/>
          </ac:spMkLst>
        </pc:spChg>
        <pc:spChg chg="add del mod modVis">
          <ac:chgData name="Kisliuk, Adrian (ext)" userId="6e619ce3-2643-4cdf-9a13-b4c269650021" providerId="ADAL" clId="{AFCEEFB0-37BC-48D4-B200-D3706B2CD7FE}" dt="2021-04-19T10:30:02.481" v="2723"/>
          <ac:spMkLst>
            <pc:docMk/>
            <pc:sldMk cId="2401060283" sldId="889"/>
            <ac:spMk id="8" creationId="{159AD0C2-16F0-4BDB-A398-3968509F68C3}"/>
          </ac:spMkLst>
        </pc:spChg>
        <pc:spChg chg="add del mod modVis">
          <ac:chgData name="Kisliuk, Adrian (ext)" userId="6e619ce3-2643-4cdf-9a13-b4c269650021" providerId="ADAL" clId="{AFCEEFB0-37BC-48D4-B200-D3706B2CD7FE}" dt="2021-04-19T10:30:04.186" v="2765"/>
          <ac:spMkLst>
            <pc:docMk/>
            <pc:sldMk cId="2401060283" sldId="889"/>
            <ac:spMk id="9" creationId="{2E7ACBF5-60C8-476E-9F2F-9803C28B7929}"/>
          </ac:spMkLst>
        </pc:spChg>
        <pc:spChg chg="add del mod modVis">
          <ac:chgData name="Kisliuk, Adrian (ext)" userId="6e619ce3-2643-4cdf-9a13-b4c269650021" providerId="ADAL" clId="{AFCEEFB0-37BC-48D4-B200-D3706B2CD7FE}" dt="2021-04-19T10:30:06.904" v="2806"/>
          <ac:spMkLst>
            <pc:docMk/>
            <pc:sldMk cId="2401060283" sldId="889"/>
            <ac:spMk id="10" creationId="{56D7859E-9362-4881-8BD3-BB26CE55D046}"/>
          </ac:spMkLst>
        </pc:spChg>
        <pc:spChg chg="add del mod modVis">
          <ac:chgData name="Kisliuk, Adrian (ext)" userId="6e619ce3-2643-4cdf-9a13-b4c269650021" providerId="ADAL" clId="{AFCEEFB0-37BC-48D4-B200-D3706B2CD7FE}" dt="2021-04-19T10:30:10.374" v="2848"/>
          <ac:spMkLst>
            <pc:docMk/>
            <pc:sldMk cId="2401060283" sldId="889"/>
            <ac:spMk id="11" creationId="{5911A42F-F60E-4443-AE17-0AB59A57FEB4}"/>
          </ac:spMkLst>
        </pc:spChg>
        <pc:spChg chg="add del mod modVis">
          <ac:chgData name="Kisliuk, Adrian (ext)" userId="6e619ce3-2643-4cdf-9a13-b4c269650021" providerId="ADAL" clId="{AFCEEFB0-37BC-48D4-B200-D3706B2CD7FE}" dt="2021-04-19T10:30:13.744" v="2889"/>
          <ac:spMkLst>
            <pc:docMk/>
            <pc:sldMk cId="2401060283" sldId="889"/>
            <ac:spMk id="12" creationId="{F434960D-86E1-4EEF-AB54-9B6A0AF8D96C}"/>
          </ac:spMkLst>
        </pc:spChg>
        <pc:spChg chg="add del mod modVis">
          <ac:chgData name="Kisliuk, Adrian (ext)" userId="6e619ce3-2643-4cdf-9a13-b4c269650021" providerId="ADAL" clId="{AFCEEFB0-37BC-48D4-B200-D3706B2CD7FE}" dt="2021-04-19T10:30:15.958" v="2931"/>
          <ac:spMkLst>
            <pc:docMk/>
            <pc:sldMk cId="2401060283" sldId="889"/>
            <ac:spMk id="13" creationId="{0DE453FA-65B2-43C7-8428-B11ED60AF366}"/>
          </ac:spMkLst>
        </pc:spChg>
        <pc:spChg chg="add del mod modVis">
          <ac:chgData name="Kisliuk, Adrian (ext)" userId="6e619ce3-2643-4cdf-9a13-b4c269650021" providerId="ADAL" clId="{AFCEEFB0-37BC-48D4-B200-D3706B2CD7FE}" dt="2021-04-19T10:30:20.157" v="2972"/>
          <ac:spMkLst>
            <pc:docMk/>
            <pc:sldMk cId="2401060283" sldId="889"/>
            <ac:spMk id="14" creationId="{A5FAF295-D4A1-46BC-8FE3-8835D6EA755C}"/>
          </ac:spMkLst>
        </pc:spChg>
        <pc:spChg chg="add del mod modVis">
          <ac:chgData name="Kisliuk, Adrian (ext)" userId="6e619ce3-2643-4cdf-9a13-b4c269650021" providerId="ADAL" clId="{AFCEEFB0-37BC-48D4-B200-D3706B2CD7FE}" dt="2021-04-19T10:30:28.469" v="3013"/>
          <ac:spMkLst>
            <pc:docMk/>
            <pc:sldMk cId="2401060283" sldId="889"/>
            <ac:spMk id="15" creationId="{51308698-D2C1-483B-87B2-4666F0B0F32B}"/>
          </ac:spMkLst>
        </pc:spChg>
        <pc:spChg chg="add del mod modVis">
          <ac:chgData name="Kisliuk, Adrian (ext)" userId="6e619ce3-2643-4cdf-9a13-b4c269650021" providerId="ADAL" clId="{AFCEEFB0-37BC-48D4-B200-D3706B2CD7FE}" dt="2021-04-19T10:30:31.902" v="3058"/>
          <ac:spMkLst>
            <pc:docMk/>
            <pc:sldMk cId="2401060283" sldId="889"/>
            <ac:spMk id="16" creationId="{07745129-AC45-4765-88EF-B37E718DF004}"/>
          </ac:spMkLst>
        </pc:spChg>
        <pc:spChg chg="mod">
          <ac:chgData name="Kisliuk, Adrian (ext)" userId="6e619ce3-2643-4cdf-9a13-b4c269650021" providerId="ADAL" clId="{AFCEEFB0-37BC-48D4-B200-D3706B2CD7FE}" dt="2021-04-19T10:30:50.413" v="3146" actId="1076"/>
          <ac:spMkLst>
            <pc:docMk/>
            <pc:sldMk cId="2401060283" sldId="889"/>
            <ac:spMk id="17" creationId="{80C85612-3195-43C6-84FD-E4F97C4E2FAF}"/>
          </ac:spMkLst>
        </pc:spChg>
        <pc:spChg chg="mod">
          <ac:chgData name="Kisliuk, Adrian (ext)" userId="6e619ce3-2643-4cdf-9a13-b4c269650021" providerId="ADAL" clId="{AFCEEFB0-37BC-48D4-B200-D3706B2CD7FE}" dt="2021-04-19T10:31:05.277" v="3147" actId="1076"/>
          <ac:spMkLst>
            <pc:docMk/>
            <pc:sldMk cId="2401060283" sldId="889"/>
            <ac:spMk id="18" creationId="{442089CF-6AF0-4D48-8DB1-159515C68877}"/>
          </ac:spMkLst>
        </pc:spChg>
        <pc:spChg chg="add del mod modVis">
          <ac:chgData name="Kisliuk, Adrian (ext)" userId="6e619ce3-2643-4cdf-9a13-b4c269650021" providerId="ADAL" clId="{AFCEEFB0-37BC-48D4-B200-D3706B2CD7FE}" dt="2021-04-19T10:30:34.415" v="3100"/>
          <ac:spMkLst>
            <pc:docMk/>
            <pc:sldMk cId="2401060283" sldId="889"/>
            <ac:spMk id="19" creationId="{814A5108-A15D-438F-A0C3-B91ECEA1548D}"/>
          </ac:spMkLst>
        </pc:spChg>
        <pc:spChg chg="add del mod modVis">
          <ac:chgData name="Kisliuk, Adrian (ext)" userId="6e619ce3-2643-4cdf-9a13-b4c269650021" providerId="ADAL" clId="{AFCEEFB0-37BC-48D4-B200-D3706B2CD7FE}" dt="2021-04-19T10:30:37.232" v="3142"/>
          <ac:spMkLst>
            <pc:docMk/>
            <pc:sldMk cId="2401060283" sldId="889"/>
            <ac:spMk id="20" creationId="{B874C705-4492-4EEA-8584-9505B6E1EBBA}"/>
          </ac:spMkLst>
        </pc:spChg>
        <pc:spChg chg="mod">
          <ac:chgData name="Kisliuk, Adrian (ext)" userId="6e619ce3-2643-4cdf-9a13-b4c269650021" providerId="ADAL" clId="{AFCEEFB0-37BC-48D4-B200-D3706B2CD7FE}" dt="2021-04-19T10:31:50.723" v="3220" actId="20577"/>
          <ac:spMkLst>
            <pc:docMk/>
            <pc:sldMk cId="2401060283" sldId="889"/>
            <ac:spMk id="26" creationId="{CE1C3E13-AF8F-4301-B411-986CE84A3DD5}"/>
          </ac:spMkLst>
        </pc:spChg>
        <pc:graphicFrameChg chg="mod">
          <ac:chgData name="Kisliuk, Adrian (ext)" userId="6e619ce3-2643-4cdf-9a13-b4c269650021" providerId="ADAL" clId="{AFCEEFB0-37BC-48D4-B200-D3706B2CD7FE}" dt="2021-04-19T10:30:37.233" v="3144"/>
          <ac:graphicFrameMkLst>
            <pc:docMk/>
            <pc:sldMk cId="2401060283" sldId="889"/>
            <ac:graphicFrameMk id="6" creationId="{4828E88A-D5C2-4929-A058-2CC608F5A67D}"/>
          </ac:graphicFrameMkLst>
        </pc:graphicFrameChg>
      </pc:sldChg>
      <pc:sldChg chg="addSp delSp modSp add del mod ord">
        <pc:chgData name="Kisliuk, Adrian (ext)" userId="6e619ce3-2643-4cdf-9a13-b4c269650021" providerId="ADAL" clId="{AFCEEFB0-37BC-48D4-B200-D3706B2CD7FE}" dt="2021-04-19T12:13:28.029" v="6480" actId="47"/>
        <pc:sldMkLst>
          <pc:docMk/>
          <pc:sldMk cId="2081430487" sldId="890"/>
        </pc:sldMkLst>
        <pc:spChg chg="mod">
          <ac:chgData name="Kisliuk, Adrian (ext)" userId="6e619ce3-2643-4cdf-9a13-b4c269650021" providerId="ADAL" clId="{AFCEEFB0-37BC-48D4-B200-D3706B2CD7FE}" dt="2021-04-19T11:13:47.978" v="4951" actId="948"/>
          <ac:spMkLst>
            <pc:docMk/>
            <pc:sldMk cId="2081430487" sldId="890"/>
            <ac:spMk id="2" creationId="{C11920DB-DB27-4D35-BC7B-E98157E38E05}"/>
          </ac:spMkLst>
        </pc:spChg>
        <pc:spChg chg="add del mod modVis">
          <ac:chgData name="Kisliuk, Adrian (ext)" userId="6e619ce3-2643-4cdf-9a13-b4c269650021" providerId="ADAL" clId="{AFCEEFB0-37BC-48D4-B200-D3706B2CD7FE}" dt="2021-04-19T10:31:40.635" v="3217"/>
          <ac:spMkLst>
            <pc:docMk/>
            <pc:sldMk cId="2081430487" sldId="890"/>
            <ac:spMk id="3" creationId="{B6E620B8-61F5-4C9E-96B8-94A09ED630B0}"/>
          </ac:spMkLst>
        </pc:spChg>
        <pc:spChg chg="mod">
          <ac:chgData name="Kisliuk, Adrian (ext)" userId="6e619ce3-2643-4cdf-9a13-b4c269650021" providerId="ADAL" clId="{AFCEEFB0-37BC-48D4-B200-D3706B2CD7FE}" dt="2021-04-19T10:39:00.476" v="3483" actId="20577"/>
          <ac:spMkLst>
            <pc:docMk/>
            <pc:sldMk cId="2081430487" sldId="890"/>
            <ac:spMk id="4" creationId="{00000000-0000-0000-0000-000000000000}"/>
          </ac:spMkLst>
        </pc:spChg>
        <pc:spChg chg="add del mod modVis">
          <ac:chgData name="Kisliuk, Adrian (ext)" userId="6e619ce3-2643-4cdf-9a13-b4c269650021" providerId="ADAL" clId="{AFCEEFB0-37BC-48D4-B200-D3706B2CD7FE}" dt="2021-04-19T10:56:51.225" v="4201"/>
          <ac:spMkLst>
            <pc:docMk/>
            <pc:sldMk cId="2081430487" sldId="890"/>
            <ac:spMk id="5" creationId="{46A701EE-4540-4508-AC77-D2C26F14BC33}"/>
          </ac:spMkLst>
        </pc:spChg>
        <pc:spChg chg="del">
          <ac:chgData name="Kisliuk, Adrian (ext)" userId="6e619ce3-2643-4cdf-9a13-b4c269650021" providerId="ADAL" clId="{AFCEEFB0-37BC-48D4-B200-D3706B2CD7FE}" dt="2021-04-19T10:31:13.175" v="3151" actId="478"/>
          <ac:spMkLst>
            <pc:docMk/>
            <pc:sldMk cId="2081430487" sldId="890"/>
            <ac:spMk id="7" creationId="{A01B97CA-E518-42F4-99E1-F023E52FB426}"/>
          </ac:spMkLst>
        </pc:spChg>
        <pc:spChg chg="add del mod modVis">
          <ac:chgData name="Kisliuk, Adrian (ext)" userId="6e619ce3-2643-4cdf-9a13-b4c269650021" providerId="ADAL" clId="{AFCEEFB0-37BC-48D4-B200-D3706B2CD7FE}" dt="2021-04-19T10:56:54.206" v="4252"/>
          <ac:spMkLst>
            <pc:docMk/>
            <pc:sldMk cId="2081430487" sldId="890"/>
            <ac:spMk id="8" creationId="{369CAFE6-5650-4276-AB9E-349DEAEA38FF}"/>
          </ac:spMkLst>
        </pc:spChg>
        <pc:spChg chg="add del mod modVis">
          <ac:chgData name="Kisliuk, Adrian (ext)" userId="6e619ce3-2643-4cdf-9a13-b4c269650021" providerId="ADAL" clId="{AFCEEFB0-37BC-48D4-B200-D3706B2CD7FE}" dt="2021-04-19T10:56:55.137" v="4293"/>
          <ac:spMkLst>
            <pc:docMk/>
            <pc:sldMk cId="2081430487" sldId="890"/>
            <ac:spMk id="10" creationId="{3A8792B5-64E5-4DB9-8ADF-36E024BFE730}"/>
          </ac:spMkLst>
        </pc:spChg>
        <pc:spChg chg="mod">
          <ac:chgData name="Kisliuk, Adrian (ext)" userId="6e619ce3-2643-4cdf-9a13-b4c269650021" providerId="ADAL" clId="{AFCEEFB0-37BC-48D4-B200-D3706B2CD7FE}" dt="2021-04-19T10:44:56.980" v="3909" actId="20577"/>
          <ac:spMkLst>
            <pc:docMk/>
            <pc:sldMk cId="2081430487" sldId="890"/>
            <ac:spMk id="11" creationId="{4F40012B-730E-4563-9DD9-41229AD9971E}"/>
          </ac:spMkLst>
        </pc:spChg>
        <pc:spChg chg="del">
          <ac:chgData name="Kisliuk, Adrian (ext)" userId="6e619ce3-2643-4cdf-9a13-b4c269650021" providerId="ADAL" clId="{AFCEEFB0-37BC-48D4-B200-D3706B2CD7FE}" dt="2021-04-19T10:31:12.293" v="3150" actId="478"/>
          <ac:spMkLst>
            <pc:docMk/>
            <pc:sldMk cId="2081430487" sldId="890"/>
            <ac:spMk id="12" creationId="{B4F2CB6D-8100-4800-BD6C-F81203927C9B}"/>
          </ac:spMkLst>
        </pc:spChg>
        <pc:spChg chg="del">
          <ac:chgData name="Kisliuk, Adrian (ext)" userId="6e619ce3-2643-4cdf-9a13-b4c269650021" providerId="ADAL" clId="{AFCEEFB0-37BC-48D4-B200-D3706B2CD7FE}" dt="2021-04-19T10:31:11.557" v="3149" actId="478"/>
          <ac:spMkLst>
            <pc:docMk/>
            <pc:sldMk cId="2081430487" sldId="890"/>
            <ac:spMk id="13" creationId="{A14801F6-224F-4B1F-9166-FFA690A76EA1}"/>
          </ac:spMkLst>
        </pc:spChg>
        <pc:spChg chg="add mod">
          <ac:chgData name="Kisliuk, Adrian (ext)" userId="6e619ce3-2643-4cdf-9a13-b4c269650021" providerId="ADAL" clId="{AFCEEFB0-37BC-48D4-B200-D3706B2CD7FE}" dt="2021-04-19T11:21:59.749" v="5207" actId="1076"/>
          <ac:spMkLst>
            <pc:docMk/>
            <pc:sldMk cId="2081430487" sldId="890"/>
            <ac:spMk id="14" creationId="{F44970BA-9276-4EBB-A407-7B2C1F4DAAD1}"/>
          </ac:spMkLst>
        </pc:spChg>
        <pc:spChg chg="add mod">
          <ac:chgData name="Kisliuk, Adrian (ext)" userId="6e619ce3-2643-4cdf-9a13-b4c269650021" providerId="ADAL" clId="{AFCEEFB0-37BC-48D4-B200-D3706B2CD7FE}" dt="2021-04-19T10:32:16.812" v="3224"/>
          <ac:spMkLst>
            <pc:docMk/>
            <pc:sldMk cId="2081430487" sldId="890"/>
            <ac:spMk id="15" creationId="{691461B5-9417-4383-9745-57EF409979F4}"/>
          </ac:spMkLst>
        </pc:spChg>
        <pc:spChg chg="add del mod modVis">
          <ac:chgData name="Kisliuk, Adrian (ext)" userId="6e619ce3-2643-4cdf-9a13-b4c269650021" providerId="ADAL" clId="{AFCEEFB0-37BC-48D4-B200-D3706B2CD7FE}" dt="2021-04-19T10:56:56.897" v="4334"/>
          <ac:spMkLst>
            <pc:docMk/>
            <pc:sldMk cId="2081430487" sldId="890"/>
            <ac:spMk id="16" creationId="{60257F41-8FE9-465A-BAC4-24D9A584E73E}"/>
          </ac:spMkLst>
        </pc:spChg>
        <pc:spChg chg="add del mod modVis">
          <ac:chgData name="Kisliuk, Adrian (ext)" userId="6e619ce3-2643-4cdf-9a13-b4c269650021" providerId="ADAL" clId="{AFCEEFB0-37BC-48D4-B200-D3706B2CD7FE}" dt="2021-04-19T10:56:58.468" v="4375"/>
          <ac:spMkLst>
            <pc:docMk/>
            <pc:sldMk cId="2081430487" sldId="890"/>
            <ac:spMk id="17" creationId="{8BCED4C8-61B5-4DD6-AC89-2C023D491EF1}"/>
          </ac:spMkLst>
        </pc:spChg>
        <pc:spChg chg="add del mod modVis">
          <ac:chgData name="Kisliuk, Adrian (ext)" userId="6e619ce3-2643-4cdf-9a13-b4c269650021" providerId="ADAL" clId="{AFCEEFB0-37BC-48D4-B200-D3706B2CD7FE}" dt="2021-04-19T10:57:00.686" v="4416"/>
          <ac:spMkLst>
            <pc:docMk/>
            <pc:sldMk cId="2081430487" sldId="890"/>
            <ac:spMk id="18" creationId="{42A43A46-2A20-493E-A6E7-E746C23D6496}"/>
          </ac:spMkLst>
        </pc:spChg>
        <pc:spChg chg="add del mod modVis">
          <ac:chgData name="Kisliuk, Adrian (ext)" userId="6e619ce3-2643-4cdf-9a13-b4c269650021" providerId="ADAL" clId="{AFCEEFB0-37BC-48D4-B200-D3706B2CD7FE}" dt="2021-04-19T10:57:03.118" v="4463"/>
          <ac:spMkLst>
            <pc:docMk/>
            <pc:sldMk cId="2081430487" sldId="890"/>
            <ac:spMk id="19" creationId="{0F11B3CF-0CF7-4513-8DB9-4C74B5BF3451}"/>
          </ac:spMkLst>
        </pc:spChg>
        <pc:spChg chg="add del mod modVis">
          <ac:chgData name="Kisliuk, Adrian (ext)" userId="6e619ce3-2643-4cdf-9a13-b4c269650021" providerId="ADAL" clId="{AFCEEFB0-37BC-48D4-B200-D3706B2CD7FE}" dt="2021-04-19T10:57:04.961" v="4510"/>
          <ac:spMkLst>
            <pc:docMk/>
            <pc:sldMk cId="2081430487" sldId="890"/>
            <ac:spMk id="20" creationId="{DF27E992-1473-44E5-981C-E57A836542CC}"/>
          </ac:spMkLst>
        </pc:spChg>
        <pc:spChg chg="add del mod modVis">
          <ac:chgData name="Kisliuk, Adrian (ext)" userId="6e619ce3-2643-4cdf-9a13-b4c269650021" providerId="ADAL" clId="{AFCEEFB0-37BC-48D4-B200-D3706B2CD7FE}" dt="2021-04-19T10:57:05.741" v="4552"/>
          <ac:spMkLst>
            <pc:docMk/>
            <pc:sldMk cId="2081430487" sldId="890"/>
            <ac:spMk id="21" creationId="{1910EBBA-19EE-4A8F-8CB7-60417C429C02}"/>
          </ac:spMkLst>
        </pc:spChg>
        <pc:spChg chg="add del mod modVis">
          <ac:chgData name="Kisliuk, Adrian (ext)" userId="6e619ce3-2643-4cdf-9a13-b4c269650021" providerId="ADAL" clId="{AFCEEFB0-37BC-48D4-B200-D3706B2CD7FE}" dt="2021-04-19T10:57:07.272" v="4593"/>
          <ac:spMkLst>
            <pc:docMk/>
            <pc:sldMk cId="2081430487" sldId="890"/>
            <ac:spMk id="22" creationId="{44739FA4-76CB-44B5-8817-775FAFA2D649}"/>
          </ac:spMkLst>
        </pc:spChg>
        <pc:spChg chg="add del mod modVis">
          <ac:chgData name="Kisliuk, Adrian (ext)" userId="6e619ce3-2643-4cdf-9a13-b4c269650021" providerId="ADAL" clId="{AFCEEFB0-37BC-48D4-B200-D3706B2CD7FE}" dt="2021-04-19T10:57:08.810" v="4638"/>
          <ac:spMkLst>
            <pc:docMk/>
            <pc:sldMk cId="2081430487" sldId="890"/>
            <ac:spMk id="23" creationId="{7642BF0A-E983-4ADF-AB6D-7A733D3EBB84}"/>
          </ac:spMkLst>
        </pc:spChg>
        <pc:spChg chg="add del mod modVis">
          <ac:chgData name="Kisliuk, Adrian (ext)" userId="6e619ce3-2643-4cdf-9a13-b4c269650021" providerId="ADAL" clId="{AFCEEFB0-37BC-48D4-B200-D3706B2CD7FE}" dt="2021-04-19T10:57:16.005" v="4688"/>
          <ac:spMkLst>
            <pc:docMk/>
            <pc:sldMk cId="2081430487" sldId="890"/>
            <ac:spMk id="24" creationId="{9DDFDB67-FEC4-4652-96D5-22C7DFDA691B}"/>
          </ac:spMkLst>
        </pc:spChg>
        <pc:spChg chg="add del mod modVis">
          <ac:chgData name="Kisliuk, Adrian (ext)" userId="6e619ce3-2643-4cdf-9a13-b4c269650021" providerId="ADAL" clId="{AFCEEFB0-37BC-48D4-B200-D3706B2CD7FE}" dt="2021-04-19T10:57:35.402" v="4741"/>
          <ac:spMkLst>
            <pc:docMk/>
            <pc:sldMk cId="2081430487" sldId="890"/>
            <ac:spMk id="25" creationId="{66108CB1-B1ED-4A21-BD6D-C6D02679F248}"/>
          </ac:spMkLst>
        </pc:spChg>
        <pc:spChg chg="mod">
          <ac:chgData name="Kisliuk, Adrian (ext)" userId="6e619ce3-2643-4cdf-9a13-b4c269650021" providerId="ADAL" clId="{AFCEEFB0-37BC-48D4-B200-D3706B2CD7FE}" dt="2021-04-19T11:12:19.350" v="4946" actId="948"/>
          <ac:spMkLst>
            <pc:docMk/>
            <pc:sldMk cId="2081430487" sldId="890"/>
            <ac:spMk id="26" creationId="{CE1C3E13-AF8F-4301-B411-986CE84A3DD5}"/>
          </ac:spMkLst>
        </pc:spChg>
        <pc:spChg chg="add del mod modVis">
          <ac:chgData name="Kisliuk, Adrian (ext)" userId="6e619ce3-2643-4cdf-9a13-b4c269650021" providerId="ADAL" clId="{AFCEEFB0-37BC-48D4-B200-D3706B2CD7FE}" dt="2021-04-19T10:57:36.268" v="4792"/>
          <ac:spMkLst>
            <pc:docMk/>
            <pc:sldMk cId="2081430487" sldId="890"/>
            <ac:spMk id="27" creationId="{1F4F34CC-832D-4D7D-83C8-821FABBCC3DB}"/>
          </ac:spMkLst>
        </pc:spChg>
        <pc:spChg chg="add del mod modVis">
          <ac:chgData name="Kisliuk, Adrian (ext)" userId="6e619ce3-2643-4cdf-9a13-b4c269650021" providerId="ADAL" clId="{AFCEEFB0-37BC-48D4-B200-D3706B2CD7FE}" dt="2021-04-19T11:13:48.042" v="4998"/>
          <ac:spMkLst>
            <pc:docMk/>
            <pc:sldMk cId="2081430487" sldId="890"/>
            <ac:spMk id="28" creationId="{B267A30A-960B-4279-AFC5-E3A2F503A150}"/>
          </ac:spMkLst>
        </pc:spChg>
        <pc:graphicFrameChg chg="mod">
          <ac:chgData name="Kisliuk, Adrian (ext)" userId="6e619ce3-2643-4cdf-9a13-b4c269650021" providerId="ADAL" clId="{AFCEEFB0-37BC-48D4-B200-D3706B2CD7FE}" dt="2021-04-19T11:13:48.044" v="5000"/>
          <ac:graphicFrameMkLst>
            <pc:docMk/>
            <pc:sldMk cId="2081430487" sldId="890"/>
            <ac:graphicFrameMk id="6" creationId="{4828E88A-D5C2-4929-A058-2CC608F5A67D}"/>
          </ac:graphicFrameMkLst>
        </pc:graphicFrameChg>
      </pc:sldChg>
      <pc:sldChg chg="addSp delSp modSp add del mod ord modTransition modShow">
        <pc:chgData name="Kisliuk, Adrian (ext)" userId="6e619ce3-2643-4cdf-9a13-b4c269650021" providerId="ADAL" clId="{AFCEEFB0-37BC-48D4-B200-D3706B2CD7FE}" dt="2021-04-19T12:12:33.351" v="6475" actId="47"/>
        <pc:sldMkLst>
          <pc:docMk/>
          <pc:sldMk cId="222317428" sldId="891"/>
        </pc:sldMkLst>
        <pc:spChg chg="mod">
          <ac:chgData name="Kisliuk, Adrian (ext)" userId="6e619ce3-2643-4cdf-9a13-b4c269650021" providerId="ADAL" clId="{AFCEEFB0-37BC-48D4-B200-D3706B2CD7FE}" dt="2021-04-19T12:09:10.167" v="6369" actId="948"/>
          <ac:spMkLst>
            <pc:docMk/>
            <pc:sldMk cId="222317428" sldId="891"/>
            <ac:spMk id="2" creationId="{C11920DB-DB27-4D35-BC7B-E98157E38E05}"/>
          </ac:spMkLst>
        </pc:spChg>
        <pc:spChg chg="add del mod modVis">
          <ac:chgData name="Kisliuk, Adrian (ext)" userId="6e619ce3-2643-4cdf-9a13-b4c269650021" providerId="ADAL" clId="{AFCEEFB0-37BC-48D4-B200-D3706B2CD7FE}" dt="2021-04-19T10:38:28.499" v="3425"/>
          <ac:spMkLst>
            <pc:docMk/>
            <pc:sldMk cId="222317428" sldId="891"/>
            <ac:spMk id="3" creationId="{9B22346C-9B8E-46A1-A275-AB79123A38E4}"/>
          </ac:spMkLst>
        </pc:spChg>
        <pc:spChg chg="add del mod modVis">
          <ac:chgData name="Kisliuk, Adrian (ext)" userId="6e619ce3-2643-4cdf-9a13-b4c269650021" providerId="ADAL" clId="{AFCEEFB0-37BC-48D4-B200-D3706B2CD7FE}" dt="2021-04-19T12:08:59.739" v="6365"/>
          <ac:spMkLst>
            <pc:docMk/>
            <pc:sldMk cId="222317428" sldId="891"/>
            <ac:spMk id="3" creationId="{A3E25846-C308-40ED-8169-424643BD7FD9}"/>
          </ac:spMkLst>
        </pc:spChg>
        <pc:spChg chg="add del mod modVis">
          <ac:chgData name="Kisliuk, Adrian (ext)" userId="6e619ce3-2643-4cdf-9a13-b4c269650021" providerId="ADAL" clId="{AFCEEFB0-37BC-48D4-B200-D3706B2CD7FE}" dt="2021-04-19T10:38:30.826" v="3467"/>
          <ac:spMkLst>
            <pc:docMk/>
            <pc:sldMk cId="222317428" sldId="891"/>
            <ac:spMk id="5" creationId="{87492C51-D6B8-488B-AE57-738401E2A4E8}"/>
          </ac:spMkLst>
        </pc:spChg>
        <pc:spChg chg="add del mod modVis">
          <ac:chgData name="Kisliuk, Adrian (ext)" userId="6e619ce3-2643-4cdf-9a13-b4c269650021" providerId="ADAL" clId="{AFCEEFB0-37BC-48D4-B200-D3706B2CD7FE}" dt="2021-04-19T12:09:10.317" v="6406"/>
          <ac:spMkLst>
            <pc:docMk/>
            <pc:sldMk cId="222317428" sldId="891"/>
            <ac:spMk id="5" creationId="{A936A619-B4C9-4852-B119-6179B1208247}"/>
          </ac:spMkLst>
        </pc:spChg>
        <pc:spChg chg="add del mod modVis">
          <ac:chgData name="Kisliuk, Adrian (ext)" userId="6e619ce3-2643-4cdf-9a13-b4c269650021" providerId="ADAL" clId="{AFCEEFB0-37BC-48D4-B200-D3706B2CD7FE}" dt="2021-04-19T10:39:07.893" v="3525"/>
          <ac:spMkLst>
            <pc:docMk/>
            <pc:sldMk cId="222317428" sldId="891"/>
            <ac:spMk id="7" creationId="{908C7161-2695-42C2-B9B3-A68F66E04ABD}"/>
          </ac:spMkLst>
        </pc:spChg>
        <pc:spChg chg="add del mod modVis">
          <ac:chgData name="Kisliuk, Adrian (ext)" userId="6e619ce3-2643-4cdf-9a13-b4c269650021" providerId="ADAL" clId="{AFCEEFB0-37BC-48D4-B200-D3706B2CD7FE}" dt="2021-04-19T10:39:13.015" v="3569"/>
          <ac:spMkLst>
            <pc:docMk/>
            <pc:sldMk cId="222317428" sldId="891"/>
            <ac:spMk id="8" creationId="{0AF78FD3-E629-49CB-8043-2C3800E9A985}"/>
          </ac:spMkLst>
        </pc:spChg>
        <pc:spChg chg="add del mod modVis">
          <ac:chgData name="Kisliuk, Adrian (ext)" userId="6e619ce3-2643-4cdf-9a13-b4c269650021" providerId="ADAL" clId="{AFCEEFB0-37BC-48D4-B200-D3706B2CD7FE}" dt="2021-04-19T10:39:13.692" v="3610"/>
          <ac:spMkLst>
            <pc:docMk/>
            <pc:sldMk cId="222317428" sldId="891"/>
            <ac:spMk id="9" creationId="{691D7536-7A47-4FC1-9CA7-78915890AE11}"/>
          </ac:spMkLst>
        </pc:spChg>
        <pc:spChg chg="add del mod modVis">
          <ac:chgData name="Kisliuk, Adrian (ext)" userId="6e619ce3-2643-4cdf-9a13-b4c269650021" providerId="ADAL" clId="{AFCEEFB0-37BC-48D4-B200-D3706B2CD7FE}" dt="2021-04-19T10:39:20.994" v="3651"/>
          <ac:spMkLst>
            <pc:docMk/>
            <pc:sldMk cId="222317428" sldId="891"/>
            <ac:spMk id="10" creationId="{991D91A3-5E2F-48D8-B3FA-08D30020EFE5}"/>
          </ac:spMkLst>
        </pc:spChg>
        <pc:spChg chg="add del mod modVis">
          <ac:chgData name="Kisliuk, Adrian (ext)" userId="6e619ce3-2643-4cdf-9a13-b4c269650021" providerId="ADAL" clId="{AFCEEFB0-37BC-48D4-B200-D3706B2CD7FE}" dt="2021-04-19T11:07:05.903" v="4839"/>
          <ac:spMkLst>
            <pc:docMk/>
            <pc:sldMk cId="222317428" sldId="891"/>
            <ac:spMk id="11" creationId="{26E388CE-D182-471C-81C1-15A66DA58037}"/>
          </ac:spMkLst>
        </pc:spChg>
        <pc:spChg chg="add del mod modVis">
          <ac:chgData name="Kisliuk, Adrian (ext)" userId="6e619ce3-2643-4cdf-9a13-b4c269650021" providerId="ADAL" clId="{AFCEEFB0-37BC-48D4-B200-D3706B2CD7FE}" dt="2021-04-19T11:07:09.641" v="4881"/>
          <ac:spMkLst>
            <pc:docMk/>
            <pc:sldMk cId="222317428" sldId="891"/>
            <ac:spMk id="12" creationId="{8DA2C39D-83D9-4A2A-8DA2-7068288DBE78}"/>
          </ac:spMkLst>
        </pc:spChg>
        <pc:spChg chg="add del mod modVis">
          <ac:chgData name="Kisliuk, Adrian (ext)" userId="6e619ce3-2643-4cdf-9a13-b4c269650021" providerId="ADAL" clId="{AFCEEFB0-37BC-48D4-B200-D3706B2CD7FE}" dt="2021-04-19T11:14:14.372" v="5039"/>
          <ac:spMkLst>
            <pc:docMk/>
            <pc:sldMk cId="222317428" sldId="891"/>
            <ac:spMk id="13" creationId="{1D44947F-66A6-4130-BE86-29D2B4645811}"/>
          </ac:spMkLst>
        </pc:spChg>
        <pc:spChg chg="add del mod modVis">
          <ac:chgData name="Kisliuk, Adrian (ext)" userId="6e619ce3-2643-4cdf-9a13-b4c269650021" providerId="ADAL" clId="{AFCEEFB0-37BC-48D4-B200-D3706B2CD7FE}" dt="2021-04-19T11:14:31.284" v="5082"/>
          <ac:spMkLst>
            <pc:docMk/>
            <pc:sldMk cId="222317428" sldId="891"/>
            <ac:spMk id="14" creationId="{1E3B1A79-286A-49C8-B56A-8BF9EA4F9D9C}"/>
          </ac:spMkLst>
        </pc:spChg>
        <pc:spChg chg="add del mod modVis">
          <ac:chgData name="Kisliuk, Adrian (ext)" userId="6e619ce3-2643-4cdf-9a13-b4c269650021" providerId="ADAL" clId="{AFCEEFB0-37BC-48D4-B200-D3706B2CD7FE}" dt="2021-04-19T11:14:34.300" v="5134"/>
          <ac:spMkLst>
            <pc:docMk/>
            <pc:sldMk cId="222317428" sldId="891"/>
            <ac:spMk id="15" creationId="{A1D58347-75E7-40AA-956C-435EEAEDA860}"/>
          </ac:spMkLst>
        </pc:spChg>
        <pc:spChg chg="add del mod modVis">
          <ac:chgData name="Kisliuk, Adrian (ext)" userId="6e619ce3-2643-4cdf-9a13-b4c269650021" providerId="ADAL" clId="{AFCEEFB0-37BC-48D4-B200-D3706B2CD7FE}" dt="2021-04-19T11:14:59.082" v="5178"/>
          <ac:spMkLst>
            <pc:docMk/>
            <pc:sldMk cId="222317428" sldId="891"/>
            <ac:spMk id="16" creationId="{3A07CD1A-C3A3-40B9-A383-22EB81F612C3}"/>
          </ac:spMkLst>
        </pc:spChg>
        <pc:spChg chg="mod">
          <ac:chgData name="Kisliuk, Adrian (ext)" userId="6e619ce3-2643-4cdf-9a13-b4c269650021" providerId="ADAL" clId="{AFCEEFB0-37BC-48D4-B200-D3706B2CD7FE}" dt="2021-04-19T12:07:54.526" v="6320" actId="1076"/>
          <ac:spMkLst>
            <pc:docMk/>
            <pc:sldMk cId="222317428" sldId="891"/>
            <ac:spMk id="17" creationId="{80C85612-3195-43C6-84FD-E4F97C4E2FAF}"/>
          </ac:spMkLst>
        </pc:spChg>
        <pc:spChg chg="mod">
          <ac:chgData name="Kisliuk, Adrian (ext)" userId="6e619ce3-2643-4cdf-9a13-b4c269650021" providerId="ADAL" clId="{AFCEEFB0-37BC-48D4-B200-D3706B2CD7FE}" dt="2021-04-19T11:28:41.627" v="6001" actId="1076"/>
          <ac:spMkLst>
            <pc:docMk/>
            <pc:sldMk cId="222317428" sldId="891"/>
            <ac:spMk id="18" creationId="{442089CF-6AF0-4D48-8DB1-159515C68877}"/>
          </ac:spMkLst>
        </pc:spChg>
        <pc:spChg chg="add mod">
          <ac:chgData name="Kisliuk, Adrian (ext)" userId="6e619ce3-2643-4cdf-9a13-b4c269650021" providerId="ADAL" clId="{AFCEEFB0-37BC-48D4-B200-D3706B2CD7FE}" dt="2021-04-19T12:10:00.080" v="6428" actId="122"/>
          <ac:spMkLst>
            <pc:docMk/>
            <pc:sldMk cId="222317428" sldId="891"/>
            <ac:spMk id="20" creationId="{E998C406-AEC6-4386-8D24-24FF4F98BCBA}"/>
          </ac:spMkLst>
        </pc:spChg>
        <pc:spChg chg="add mod">
          <ac:chgData name="Kisliuk, Adrian (ext)" userId="6e619ce3-2643-4cdf-9a13-b4c269650021" providerId="ADAL" clId="{AFCEEFB0-37BC-48D4-B200-D3706B2CD7FE}" dt="2021-04-19T11:19:42.493" v="5202" actId="1076"/>
          <ac:spMkLst>
            <pc:docMk/>
            <pc:sldMk cId="222317428" sldId="891"/>
            <ac:spMk id="21" creationId="{3AB83401-9DB9-40AE-AF9F-C761EFD983AE}"/>
          </ac:spMkLst>
        </pc:spChg>
        <pc:spChg chg="mod">
          <ac:chgData name="Kisliuk, Adrian (ext)" userId="6e619ce3-2643-4cdf-9a13-b4c269650021" providerId="ADAL" clId="{AFCEEFB0-37BC-48D4-B200-D3706B2CD7FE}" dt="2021-04-19T12:09:57.033" v="6427" actId="122"/>
          <ac:spMkLst>
            <pc:docMk/>
            <pc:sldMk cId="222317428" sldId="891"/>
            <ac:spMk id="26" creationId="{CE1C3E13-AF8F-4301-B411-986CE84A3DD5}"/>
          </ac:spMkLst>
        </pc:spChg>
        <pc:graphicFrameChg chg="mod">
          <ac:chgData name="Kisliuk, Adrian (ext)" userId="6e619ce3-2643-4cdf-9a13-b4c269650021" providerId="ADAL" clId="{AFCEEFB0-37BC-48D4-B200-D3706B2CD7FE}" dt="2021-04-19T12:09:10.325" v="6408"/>
          <ac:graphicFrameMkLst>
            <pc:docMk/>
            <pc:sldMk cId="222317428" sldId="891"/>
            <ac:graphicFrameMk id="6" creationId="{4828E88A-D5C2-4929-A058-2CC608F5A67D}"/>
          </ac:graphicFrameMkLst>
        </pc:graphicFrameChg>
      </pc:sldChg>
      <pc:sldChg chg="addSp delSp modSp add del mod ord modTransition modShow">
        <pc:chgData name="Kisliuk, Adrian (ext)" userId="6e619ce3-2643-4cdf-9a13-b4c269650021" providerId="ADAL" clId="{AFCEEFB0-37BC-48D4-B200-D3706B2CD7FE}" dt="2021-04-21T08:33:50.996" v="16556" actId="2696"/>
        <pc:sldMkLst>
          <pc:docMk/>
          <pc:sldMk cId="2748698289" sldId="892"/>
        </pc:sldMkLst>
        <pc:spChg chg="mod">
          <ac:chgData name="Kisliuk, Adrian (ext)" userId="6e619ce3-2643-4cdf-9a13-b4c269650021" providerId="ADAL" clId="{AFCEEFB0-37BC-48D4-B200-D3706B2CD7FE}" dt="2021-04-19T12:15:19.087" v="6493" actId="948"/>
          <ac:spMkLst>
            <pc:docMk/>
            <pc:sldMk cId="2748698289" sldId="892"/>
            <ac:spMk id="2" creationId="{C11920DB-DB27-4D35-BC7B-E98157E38E05}"/>
          </ac:spMkLst>
        </pc:spChg>
        <pc:spChg chg="add del mod modVis">
          <ac:chgData name="Kisliuk, Adrian (ext)" userId="6e619ce3-2643-4cdf-9a13-b4c269650021" providerId="ADAL" clId="{AFCEEFB0-37BC-48D4-B200-D3706B2CD7FE}" dt="2021-04-19T12:15:19.171" v="6530"/>
          <ac:spMkLst>
            <pc:docMk/>
            <pc:sldMk cId="2748698289" sldId="892"/>
            <ac:spMk id="3" creationId="{8ABE60B8-ECB9-45E5-849D-1FE3E1F92DB1}"/>
          </ac:spMkLst>
        </pc:spChg>
        <pc:spChg chg="del">
          <ac:chgData name="Kisliuk, Adrian (ext)" userId="6e619ce3-2643-4cdf-9a13-b4c269650021" providerId="ADAL" clId="{AFCEEFB0-37BC-48D4-B200-D3706B2CD7FE}" dt="2021-04-19T12:27:23.246" v="6980" actId="478"/>
          <ac:spMkLst>
            <pc:docMk/>
            <pc:sldMk cId="2748698289" sldId="892"/>
            <ac:spMk id="4" creationId="{00000000-0000-0000-0000-000000000000}"/>
          </ac:spMkLst>
        </pc:spChg>
        <pc:spChg chg="add mod">
          <ac:chgData name="Kisliuk, Adrian (ext)" userId="6e619ce3-2643-4cdf-9a13-b4c269650021" providerId="ADAL" clId="{AFCEEFB0-37BC-48D4-B200-D3706B2CD7FE}" dt="2021-04-19T14:57:36.880" v="8398" actId="20577"/>
          <ac:spMkLst>
            <pc:docMk/>
            <pc:sldMk cId="2748698289" sldId="892"/>
            <ac:spMk id="10" creationId="{F4634E1B-2972-4D72-9658-99BB6BD08AA7}"/>
          </ac:spMkLst>
        </pc:spChg>
        <pc:spChg chg="del">
          <ac:chgData name="Kisliuk, Adrian (ext)" userId="6e619ce3-2643-4cdf-9a13-b4c269650021" providerId="ADAL" clId="{AFCEEFB0-37BC-48D4-B200-D3706B2CD7FE}" dt="2021-04-19T12:15:06.703" v="6488" actId="478"/>
          <ac:spMkLst>
            <pc:docMk/>
            <pc:sldMk cId="2748698289" sldId="892"/>
            <ac:spMk id="11" creationId="{4F40012B-730E-4563-9DD9-41229AD9971E}"/>
          </ac:spMkLst>
        </pc:spChg>
        <pc:spChg chg="del mod">
          <ac:chgData name="Kisliuk, Adrian (ext)" userId="6e619ce3-2643-4cdf-9a13-b4c269650021" providerId="ADAL" clId="{AFCEEFB0-37BC-48D4-B200-D3706B2CD7FE}" dt="2021-04-19T12:15:48.759" v="6542" actId="478"/>
          <ac:spMkLst>
            <pc:docMk/>
            <pc:sldMk cId="2748698289" sldId="892"/>
            <ac:spMk id="14" creationId="{F44970BA-9276-4EBB-A407-7B2C1F4DAAD1}"/>
          </ac:spMkLst>
        </pc:spChg>
        <pc:spChg chg="del">
          <ac:chgData name="Kisliuk, Adrian (ext)" userId="6e619ce3-2643-4cdf-9a13-b4c269650021" providerId="ADAL" clId="{AFCEEFB0-37BC-48D4-B200-D3706B2CD7FE}" dt="2021-04-19T12:15:51.560" v="6543" actId="478"/>
          <ac:spMkLst>
            <pc:docMk/>
            <pc:sldMk cId="2748698289" sldId="892"/>
            <ac:spMk id="15" creationId="{691461B5-9417-4383-9745-57EF409979F4}"/>
          </ac:spMkLst>
        </pc:spChg>
        <pc:spChg chg="mod">
          <ac:chgData name="Kisliuk, Adrian (ext)" userId="6e619ce3-2643-4cdf-9a13-b4c269650021" providerId="ADAL" clId="{AFCEEFB0-37BC-48D4-B200-D3706B2CD7FE}" dt="2021-04-19T12:15:33.366" v="6537" actId="14100"/>
          <ac:spMkLst>
            <pc:docMk/>
            <pc:sldMk cId="2748698289" sldId="892"/>
            <ac:spMk id="26" creationId="{CE1C3E13-AF8F-4301-B411-986CE84A3DD5}"/>
          </ac:spMkLst>
        </pc:spChg>
        <pc:graphicFrameChg chg="mod">
          <ac:chgData name="Kisliuk, Adrian (ext)" userId="6e619ce3-2643-4cdf-9a13-b4c269650021" providerId="ADAL" clId="{AFCEEFB0-37BC-48D4-B200-D3706B2CD7FE}" dt="2021-04-19T12:15:19.183" v="6532"/>
          <ac:graphicFrameMkLst>
            <pc:docMk/>
            <pc:sldMk cId="2748698289" sldId="892"/>
            <ac:graphicFrameMk id="6" creationId="{4828E88A-D5C2-4929-A058-2CC608F5A67D}"/>
          </ac:graphicFrameMkLst>
        </pc:graphicFrameChg>
        <pc:cxnChg chg="mod">
          <ac:chgData name="Kisliuk, Adrian (ext)" userId="6e619ce3-2643-4cdf-9a13-b4c269650021" providerId="ADAL" clId="{AFCEEFB0-37BC-48D4-B200-D3706B2CD7FE}" dt="2021-04-19T12:15:40.893" v="6540" actId="1076"/>
          <ac:cxnSpMkLst>
            <pc:docMk/>
            <pc:sldMk cId="2748698289" sldId="892"/>
            <ac:cxnSpMk id="9" creationId="{3DD83A66-4A24-4AF3-93FD-17C43013DBFE}"/>
          </ac:cxnSpMkLst>
        </pc:cxnChg>
      </pc:sldChg>
      <pc:sldChg chg="addSp delSp modSp add del mod modTransition modShow">
        <pc:chgData name="Kisliuk, Adrian (ext)" userId="6e619ce3-2643-4cdf-9a13-b4c269650021" providerId="ADAL" clId="{AFCEEFB0-37BC-48D4-B200-D3706B2CD7FE}" dt="2021-04-26T08:16:47.336" v="25270" actId="47"/>
        <pc:sldMkLst>
          <pc:docMk/>
          <pc:sldMk cId="3646338324" sldId="892"/>
        </pc:sldMkLst>
        <pc:spChg chg="mod">
          <ac:chgData name="Kisliuk, Adrian (ext)" userId="6e619ce3-2643-4cdf-9a13-b4c269650021" providerId="ADAL" clId="{AFCEEFB0-37BC-48D4-B200-D3706B2CD7FE}" dt="2021-04-24T20:52:56.424" v="24582" actId="948"/>
          <ac:spMkLst>
            <pc:docMk/>
            <pc:sldMk cId="3646338324" sldId="892"/>
            <ac:spMk id="2" creationId="{C11920DB-DB27-4D35-BC7B-E98157E38E05}"/>
          </ac:spMkLst>
        </pc:spChg>
        <pc:spChg chg="add del mod modVis">
          <ac:chgData name="Kisliuk, Adrian (ext)" userId="6e619ce3-2643-4cdf-9a13-b4c269650021" providerId="ADAL" clId="{AFCEEFB0-37BC-48D4-B200-D3706B2CD7FE}" dt="2021-04-24T20:52:54.047" v="24578"/>
          <ac:spMkLst>
            <pc:docMk/>
            <pc:sldMk cId="3646338324" sldId="892"/>
            <ac:spMk id="3" creationId="{E7F21DDF-6710-4700-969C-86E6A3E2B491}"/>
          </ac:spMkLst>
        </pc:spChg>
        <pc:spChg chg="add del mod modVis">
          <ac:chgData name="Kisliuk, Adrian (ext)" userId="6e619ce3-2643-4cdf-9a13-b4c269650021" providerId="ADAL" clId="{AFCEEFB0-37BC-48D4-B200-D3706B2CD7FE}" dt="2021-04-24T20:52:56.477" v="24619"/>
          <ac:spMkLst>
            <pc:docMk/>
            <pc:sldMk cId="3646338324" sldId="892"/>
            <ac:spMk id="4" creationId="{82637B78-3600-49FE-B87F-4CFC98508CCA}"/>
          </ac:spMkLst>
        </pc:spChg>
        <pc:spChg chg="mod">
          <ac:chgData name="Kisliuk, Adrian (ext)" userId="6e619ce3-2643-4cdf-9a13-b4c269650021" providerId="ADAL" clId="{AFCEEFB0-37BC-48D4-B200-D3706B2CD7FE}" dt="2021-04-24T20:59:36.727" v="24822" actId="1036"/>
          <ac:spMkLst>
            <pc:docMk/>
            <pc:sldMk cId="3646338324" sldId="892"/>
            <ac:spMk id="10" creationId="{F4634E1B-2972-4D72-9658-99BB6BD08AA7}"/>
          </ac:spMkLst>
        </pc:spChg>
        <pc:spChg chg="add mod">
          <ac:chgData name="Kisliuk, Adrian (ext)" userId="6e619ce3-2643-4cdf-9a13-b4c269650021" providerId="ADAL" clId="{AFCEEFB0-37BC-48D4-B200-D3706B2CD7FE}" dt="2021-04-24T20:59:36.727" v="24822" actId="1036"/>
          <ac:spMkLst>
            <pc:docMk/>
            <pc:sldMk cId="3646338324" sldId="892"/>
            <ac:spMk id="11" creationId="{69F9B0E1-3DE6-4AE8-8E7F-BB8E8C9BA89E}"/>
          </ac:spMkLst>
        </pc:spChg>
        <pc:spChg chg="add del mod">
          <ac:chgData name="Kisliuk, Adrian (ext)" userId="6e619ce3-2643-4cdf-9a13-b4c269650021" providerId="ADAL" clId="{AFCEEFB0-37BC-48D4-B200-D3706B2CD7FE}" dt="2021-04-24T20:56:22.555" v="24705" actId="478"/>
          <ac:spMkLst>
            <pc:docMk/>
            <pc:sldMk cId="3646338324" sldId="892"/>
            <ac:spMk id="12" creationId="{42534999-8B36-4165-90E3-9632BFE2DDA0}"/>
          </ac:spMkLst>
        </pc:spChg>
        <pc:spChg chg="add mod">
          <ac:chgData name="Kisliuk, Adrian (ext)" userId="6e619ce3-2643-4cdf-9a13-b4c269650021" providerId="ADAL" clId="{AFCEEFB0-37BC-48D4-B200-D3706B2CD7FE}" dt="2021-04-24T20:59:36.727" v="24822" actId="1036"/>
          <ac:spMkLst>
            <pc:docMk/>
            <pc:sldMk cId="3646338324" sldId="892"/>
            <ac:spMk id="13" creationId="{F0592F8E-4D6A-4915-841E-7C9755609AF9}"/>
          </ac:spMkLst>
        </pc:spChg>
        <pc:spChg chg="add mod">
          <ac:chgData name="Kisliuk, Adrian (ext)" userId="6e619ce3-2643-4cdf-9a13-b4c269650021" providerId="ADAL" clId="{AFCEEFB0-37BC-48D4-B200-D3706B2CD7FE}" dt="2021-04-24T21:13:04.506" v="24873" actId="20577"/>
          <ac:spMkLst>
            <pc:docMk/>
            <pc:sldMk cId="3646338324" sldId="892"/>
            <ac:spMk id="14" creationId="{1CDE58D4-3BC5-4DA0-B10D-D9A5DEDF7D50}"/>
          </ac:spMkLst>
        </pc:spChg>
        <pc:spChg chg="mod">
          <ac:chgData name="Kisliuk, Adrian (ext)" userId="6e619ce3-2643-4cdf-9a13-b4c269650021" providerId="ADAL" clId="{AFCEEFB0-37BC-48D4-B200-D3706B2CD7FE}" dt="2021-04-24T21:10:52.473" v="24867" actId="113"/>
          <ac:spMkLst>
            <pc:docMk/>
            <pc:sldMk cId="3646338324" sldId="892"/>
            <ac:spMk id="26" creationId="{CE1C3E13-AF8F-4301-B411-986CE84A3DD5}"/>
          </ac:spMkLst>
        </pc:spChg>
        <pc:graphicFrameChg chg="mod">
          <ac:chgData name="Kisliuk, Adrian (ext)" userId="6e619ce3-2643-4cdf-9a13-b4c269650021" providerId="ADAL" clId="{AFCEEFB0-37BC-48D4-B200-D3706B2CD7FE}" dt="2021-04-24T20:52:56.477" v="24621"/>
          <ac:graphicFrameMkLst>
            <pc:docMk/>
            <pc:sldMk cId="3646338324" sldId="892"/>
            <ac:graphicFrameMk id="6" creationId="{4828E88A-D5C2-4929-A058-2CC608F5A67D}"/>
          </ac:graphicFrameMkLst>
        </pc:graphicFrameChg>
        <pc:picChg chg="add mod modCrop">
          <ac:chgData name="Kisliuk, Adrian (ext)" userId="6e619ce3-2643-4cdf-9a13-b4c269650021" providerId="ADAL" clId="{AFCEEFB0-37BC-48D4-B200-D3706B2CD7FE}" dt="2021-04-24T21:08:54.376" v="24857" actId="207"/>
          <ac:picMkLst>
            <pc:docMk/>
            <pc:sldMk cId="3646338324" sldId="892"/>
            <ac:picMk id="8" creationId="{07D73012-E8F3-4A7F-8865-031AC9EB2BFF}"/>
          </ac:picMkLst>
        </pc:picChg>
        <pc:picChg chg="add mod modCrop">
          <ac:chgData name="Kisliuk, Adrian (ext)" userId="6e619ce3-2643-4cdf-9a13-b4c269650021" providerId="ADAL" clId="{AFCEEFB0-37BC-48D4-B200-D3706B2CD7FE}" dt="2021-04-24T21:10:22.243" v="24863" actId="207"/>
          <ac:picMkLst>
            <pc:docMk/>
            <pc:sldMk cId="3646338324" sldId="892"/>
            <ac:picMk id="20" creationId="{560A2801-DB97-41B9-9D20-726FC8ECE35C}"/>
          </ac:picMkLst>
        </pc:picChg>
        <pc:picChg chg="add mod modCrop">
          <ac:chgData name="Kisliuk, Adrian (ext)" userId="6e619ce3-2643-4cdf-9a13-b4c269650021" providerId="ADAL" clId="{AFCEEFB0-37BC-48D4-B200-D3706B2CD7FE}" dt="2021-04-24T21:09:50.896" v="24860" actId="207"/>
          <ac:picMkLst>
            <pc:docMk/>
            <pc:sldMk cId="3646338324" sldId="892"/>
            <ac:picMk id="22" creationId="{69203C09-4846-46D9-B741-D4C485BA90CB}"/>
          </ac:picMkLst>
        </pc:picChg>
        <pc:picChg chg="add mod modCrop">
          <ac:chgData name="Kisliuk, Adrian (ext)" userId="6e619ce3-2643-4cdf-9a13-b4c269650021" providerId="ADAL" clId="{AFCEEFB0-37BC-48D4-B200-D3706B2CD7FE}" dt="2021-04-24T21:09:05.351" v="24858" actId="207"/>
          <ac:picMkLst>
            <pc:docMk/>
            <pc:sldMk cId="3646338324" sldId="892"/>
            <ac:picMk id="24" creationId="{333A1619-BD02-4AE6-A307-3EB266D0B005}"/>
          </ac:picMkLst>
        </pc:picChg>
        <pc:cxnChg chg="del">
          <ac:chgData name="Kisliuk, Adrian (ext)" userId="6e619ce3-2643-4cdf-9a13-b4c269650021" providerId="ADAL" clId="{AFCEEFB0-37BC-48D4-B200-D3706B2CD7FE}" dt="2021-04-24T20:55:44.346" v="24701" actId="478"/>
          <ac:cxnSpMkLst>
            <pc:docMk/>
            <pc:sldMk cId="3646338324" sldId="892"/>
            <ac:cxnSpMk id="9" creationId="{3DD83A66-4A24-4AF3-93FD-17C43013DBFE}"/>
          </ac:cxnSpMkLst>
        </pc:cxnChg>
        <pc:cxnChg chg="add mod">
          <ac:chgData name="Kisliuk, Adrian (ext)" userId="6e619ce3-2643-4cdf-9a13-b4c269650021" providerId="ADAL" clId="{AFCEEFB0-37BC-48D4-B200-D3706B2CD7FE}" dt="2021-04-24T20:59:36.727" v="24822" actId="1036"/>
          <ac:cxnSpMkLst>
            <pc:docMk/>
            <pc:sldMk cId="3646338324" sldId="892"/>
            <ac:cxnSpMk id="15" creationId="{A3FB781A-5584-43B1-9ABA-0823628509BE}"/>
          </ac:cxnSpMkLst>
        </pc:cxnChg>
        <pc:cxnChg chg="add del mod">
          <ac:chgData name="Kisliuk, Adrian (ext)" userId="6e619ce3-2643-4cdf-9a13-b4c269650021" providerId="ADAL" clId="{AFCEEFB0-37BC-48D4-B200-D3706B2CD7FE}" dt="2021-04-24T20:58:27.276" v="24785" actId="478"/>
          <ac:cxnSpMkLst>
            <pc:docMk/>
            <pc:sldMk cId="3646338324" sldId="892"/>
            <ac:cxnSpMk id="16" creationId="{0D2799C8-6529-42CC-8E1B-FF9E424C4652}"/>
          </ac:cxnSpMkLst>
        </pc:cxnChg>
        <pc:cxnChg chg="add mod">
          <ac:chgData name="Kisliuk, Adrian (ext)" userId="6e619ce3-2643-4cdf-9a13-b4c269650021" providerId="ADAL" clId="{AFCEEFB0-37BC-48D4-B200-D3706B2CD7FE}" dt="2021-04-24T20:59:36.727" v="24822" actId="1036"/>
          <ac:cxnSpMkLst>
            <pc:docMk/>
            <pc:sldMk cId="3646338324" sldId="892"/>
            <ac:cxnSpMk id="17" creationId="{F136B905-901D-42A5-8985-A6E93B4F1141}"/>
          </ac:cxnSpMkLst>
        </pc:cxnChg>
        <pc:cxnChg chg="add mod">
          <ac:chgData name="Kisliuk, Adrian (ext)" userId="6e619ce3-2643-4cdf-9a13-b4c269650021" providerId="ADAL" clId="{AFCEEFB0-37BC-48D4-B200-D3706B2CD7FE}" dt="2021-04-24T20:59:36.727" v="24822" actId="1036"/>
          <ac:cxnSpMkLst>
            <pc:docMk/>
            <pc:sldMk cId="3646338324" sldId="892"/>
            <ac:cxnSpMk id="18" creationId="{07789FFF-7995-4BD9-8603-F383DD4F0C4C}"/>
          </ac:cxnSpMkLst>
        </pc:cxnChg>
      </pc:sldChg>
      <pc:sldChg chg="addSp delSp modSp add del mod delCm">
        <pc:chgData name="Kisliuk, Adrian (ext)" userId="6e619ce3-2643-4cdf-9a13-b4c269650021" providerId="ADAL" clId="{AFCEEFB0-37BC-48D4-B200-D3706B2CD7FE}" dt="2021-04-19T12:26:19.520" v="6919" actId="47"/>
        <pc:sldMkLst>
          <pc:docMk/>
          <pc:sldMk cId="2151005391" sldId="893"/>
        </pc:sldMkLst>
        <pc:spChg chg="add del mod modVis">
          <ac:chgData name="Kisliuk, Adrian (ext)" userId="6e619ce3-2643-4cdf-9a13-b4c269650021" providerId="ADAL" clId="{AFCEEFB0-37BC-48D4-B200-D3706B2CD7FE}" dt="2021-04-19T11:27:06.872" v="5910"/>
          <ac:spMkLst>
            <pc:docMk/>
            <pc:sldMk cId="2151005391" sldId="893"/>
            <ac:spMk id="3" creationId="{3D21C896-8A14-46E7-A52C-FD5309D56045}"/>
          </ac:spMkLst>
        </pc:spChg>
        <pc:spChg chg="add del mod modVis">
          <ac:chgData name="Kisliuk, Adrian (ext)" userId="6e619ce3-2643-4cdf-9a13-b4c269650021" providerId="ADAL" clId="{AFCEEFB0-37BC-48D4-B200-D3706B2CD7FE}" dt="2021-04-19T11:27:11.068" v="5951"/>
          <ac:spMkLst>
            <pc:docMk/>
            <pc:sldMk cId="2151005391" sldId="893"/>
            <ac:spMk id="5" creationId="{8A1221F6-2C87-4F14-B487-225AA54AB5AE}"/>
          </ac:spMkLst>
        </pc:spChg>
        <pc:spChg chg="add del mod modVis">
          <ac:chgData name="Kisliuk, Adrian (ext)" userId="6e619ce3-2643-4cdf-9a13-b4c269650021" providerId="ADAL" clId="{AFCEEFB0-37BC-48D4-B200-D3706B2CD7FE}" dt="2021-04-19T12:12:21.548" v="6472"/>
          <ac:spMkLst>
            <pc:docMk/>
            <pc:sldMk cId="2151005391" sldId="893"/>
            <ac:spMk id="8" creationId="{6D129E8F-EFBB-48C6-ABCB-D86FBBA4C694}"/>
          </ac:spMkLst>
        </pc:spChg>
        <pc:spChg chg="mod">
          <ac:chgData name="Kisliuk, Adrian (ext)" userId="6e619ce3-2643-4cdf-9a13-b4c269650021" providerId="ADAL" clId="{AFCEEFB0-37BC-48D4-B200-D3706B2CD7FE}" dt="2021-04-19T12:18:47.955" v="6690" actId="1035"/>
          <ac:spMkLst>
            <pc:docMk/>
            <pc:sldMk cId="2151005391" sldId="893"/>
            <ac:spMk id="29" creationId="{B5AFC59E-6F27-43BE-80D9-FDF9FDFFB87F}"/>
          </ac:spMkLst>
        </pc:spChg>
        <pc:spChg chg="mod">
          <ac:chgData name="Kisliuk, Adrian (ext)" userId="6e619ce3-2643-4cdf-9a13-b4c269650021" providerId="ADAL" clId="{AFCEEFB0-37BC-48D4-B200-D3706B2CD7FE}" dt="2021-04-19T12:18:47.955" v="6690" actId="1035"/>
          <ac:spMkLst>
            <pc:docMk/>
            <pc:sldMk cId="2151005391" sldId="893"/>
            <ac:spMk id="30" creationId="{199D8EFB-88FC-472F-BE8F-341B4A80D369}"/>
          </ac:spMkLst>
        </pc:spChg>
        <pc:spChg chg="mod">
          <ac:chgData name="Kisliuk, Adrian (ext)" userId="6e619ce3-2643-4cdf-9a13-b4c269650021" providerId="ADAL" clId="{AFCEEFB0-37BC-48D4-B200-D3706B2CD7FE}" dt="2021-04-19T12:18:47.955" v="6690" actId="1035"/>
          <ac:spMkLst>
            <pc:docMk/>
            <pc:sldMk cId="2151005391" sldId="893"/>
            <ac:spMk id="31" creationId="{1BB83D65-74FF-4A94-8BE0-D5B4D19D7974}"/>
          </ac:spMkLst>
        </pc:spChg>
        <pc:spChg chg="mod">
          <ac:chgData name="Kisliuk, Adrian (ext)" userId="6e619ce3-2643-4cdf-9a13-b4c269650021" providerId="ADAL" clId="{AFCEEFB0-37BC-48D4-B200-D3706B2CD7FE}" dt="2021-04-19T12:20:04.805" v="6706" actId="1076"/>
          <ac:spMkLst>
            <pc:docMk/>
            <pc:sldMk cId="2151005391" sldId="893"/>
            <ac:spMk id="41" creationId="{BEB3AAEA-7608-4765-955F-30B8C0640185}"/>
          </ac:spMkLst>
        </pc:spChg>
        <pc:spChg chg="mod">
          <ac:chgData name="Kisliuk, Adrian (ext)" userId="6e619ce3-2643-4cdf-9a13-b4c269650021" providerId="ADAL" clId="{AFCEEFB0-37BC-48D4-B200-D3706B2CD7FE}" dt="2021-04-19T12:18:56.374" v="6702" actId="1035"/>
          <ac:spMkLst>
            <pc:docMk/>
            <pc:sldMk cId="2151005391" sldId="893"/>
            <ac:spMk id="53" creationId="{710668EB-84E6-477B-B999-CBE96F3B621C}"/>
          </ac:spMkLst>
        </pc:spChg>
        <pc:spChg chg="mod">
          <ac:chgData name="Kisliuk, Adrian (ext)" userId="6e619ce3-2643-4cdf-9a13-b4c269650021" providerId="ADAL" clId="{AFCEEFB0-37BC-48D4-B200-D3706B2CD7FE}" dt="2021-04-19T12:18:56.374" v="6702" actId="1035"/>
          <ac:spMkLst>
            <pc:docMk/>
            <pc:sldMk cId="2151005391" sldId="893"/>
            <ac:spMk id="54" creationId="{990F7519-4871-489D-B558-E1EB43F5B6B2}"/>
          </ac:spMkLst>
        </pc:spChg>
        <pc:spChg chg="mod">
          <ac:chgData name="Kisliuk, Adrian (ext)" userId="6e619ce3-2643-4cdf-9a13-b4c269650021" providerId="ADAL" clId="{AFCEEFB0-37BC-48D4-B200-D3706B2CD7FE}" dt="2021-04-19T12:18:56.374" v="6702" actId="1035"/>
          <ac:spMkLst>
            <pc:docMk/>
            <pc:sldMk cId="2151005391" sldId="893"/>
            <ac:spMk id="55" creationId="{A83F9FBA-340A-47F2-9FC4-05E3FC35F52F}"/>
          </ac:spMkLst>
        </pc:spChg>
        <pc:spChg chg="mod">
          <ac:chgData name="Kisliuk, Adrian (ext)" userId="6e619ce3-2643-4cdf-9a13-b4c269650021" providerId="ADAL" clId="{AFCEEFB0-37BC-48D4-B200-D3706B2CD7FE}" dt="2021-04-19T12:18:47.955" v="6690" actId="1035"/>
          <ac:spMkLst>
            <pc:docMk/>
            <pc:sldMk cId="2151005391" sldId="893"/>
            <ac:spMk id="67" creationId="{69BD7A21-5246-48E7-8971-EE89AF43B7FB}"/>
          </ac:spMkLst>
        </pc:spChg>
        <pc:spChg chg="del">
          <ac:chgData name="Kisliuk, Adrian (ext)" userId="6e619ce3-2643-4cdf-9a13-b4c269650021" providerId="ADAL" clId="{AFCEEFB0-37BC-48D4-B200-D3706B2CD7FE}" dt="2021-04-19T12:16:12.343" v="6544" actId="478"/>
          <ac:spMkLst>
            <pc:docMk/>
            <pc:sldMk cId="2151005391" sldId="893"/>
            <ac:spMk id="68" creationId="{7674B0DD-BBB7-4A0E-8EE6-DC95C81BD1AF}"/>
          </ac:spMkLst>
        </pc:spChg>
        <pc:spChg chg="mod">
          <ac:chgData name="Kisliuk, Adrian (ext)" userId="6e619ce3-2643-4cdf-9a13-b4c269650021" providerId="ADAL" clId="{AFCEEFB0-37BC-48D4-B200-D3706B2CD7FE}" dt="2021-04-19T12:19:59.781" v="6705" actId="1076"/>
          <ac:spMkLst>
            <pc:docMk/>
            <pc:sldMk cId="2151005391" sldId="893"/>
            <ac:spMk id="78" creationId="{9DD98053-CA53-4F68-9322-5B080897B0CC}"/>
          </ac:spMkLst>
        </pc:spChg>
        <pc:spChg chg="add mod">
          <ac:chgData name="Kisliuk, Adrian (ext)" userId="6e619ce3-2643-4cdf-9a13-b4c269650021" providerId="ADAL" clId="{AFCEEFB0-37BC-48D4-B200-D3706B2CD7FE}" dt="2021-04-19T12:18:47.955" v="6690" actId="1035"/>
          <ac:spMkLst>
            <pc:docMk/>
            <pc:sldMk cId="2151005391" sldId="893"/>
            <ac:spMk id="93" creationId="{34203173-3F02-48EA-A834-E686FD63DFCC}"/>
          </ac:spMkLst>
        </pc:spChg>
        <pc:spChg chg="add mod">
          <ac:chgData name="Kisliuk, Adrian (ext)" userId="6e619ce3-2643-4cdf-9a13-b4c269650021" providerId="ADAL" clId="{AFCEEFB0-37BC-48D4-B200-D3706B2CD7FE}" dt="2021-04-19T12:20:19.146" v="6710" actId="20577"/>
          <ac:spMkLst>
            <pc:docMk/>
            <pc:sldMk cId="2151005391" sldId="893"/>
            <ac:spMk id="94" creationId="{834E0BCE-B615-41A5-8545-C37AEF6137A5}"/>
          </ac:spMkLst>
        </pc:spChg>
        <pc:spChg chg="add mod">
          <ac:chgData name="Kisliuk, Adrian (ext)" userId="6e619ce3-2643-4cdf-9a13-b4c269650021" providerId="ADAL" clId="{AFCEEFB0-37BC-48D4-B200-D3706B2CD7FE}" dt="2021-04-19T12:20:22.125" v="6711" actId="20577"/>
          <ac:spMkLst>
            <pc:docMk/>
            <pc:sldMk cId="2151005391" sldId="893"/>
            <ac:spMk id="95" creationId="{C9B8228D-764E-4438-8893-9467119F92BC}"/>
          </ac:spMkLst>
        </pc:spChg>
        <pc:spChg chg="mod">
          <ac:chgData name="Kisliuk, Adrian (ext)" userId="6e619ce3-2643-4cdf-9a13-b4c269650021" providerId="ADAL" clId="{AFCEEFB0-37BC-48D4-B200-D3706B2CD7FE}" dt="2021-04-19T12:12:21.451" v="6435" actId="948"/>
          <ac:spMkLst>
            <pc:docMk/>
            <pc:sldMk cId="2151005391" sldId="893"/>
            <ac:spMk id="100" creationId="{718CCEBD-1311-4DB9-8277-4828BEE859F1}"/>
          </ac:spMkLst>
        </pc:spChg>
        <pc:graphicFrameChg chg="mod">
          <ac:chgData name="Kisliuk, Adrian (ext)" userId="6e619ce3-2643-4cdf-9a13-b4c269650021" providerId="ADAL" clId="{AFCEEFB0-37BC-48D4-B200-D3706B2CD7FE}" dt="2021-04-19T12:12:21.553" v="6474"/>
          <ac:graphicFrameMkLst>
            <pc:docMk/>
            <pc:sldMk cId="2151005391" sldId="893"/>
            <ac:graphicFrameMk id="7" creationId="{5863A9E7-2E2A-4B1C-90C1-EF823E551718}"/>
          </ac:graphicFrameMkLst>
        </pc:graphicFrameChg>
        <pc:cxnChg chg="mod">
          <ac:chgData name="Kisliuk, Adrian (ext)" userId="6e619ce3-2643-4cdf-9a13-b4c269650021" providerId="ADAL" clId="{AFCEEFB0-37BC-48D4-B200-D3706B2CD7FE}" dt="2021-04-19T12:18:47.955" v="6690" actId="1035"/>
          <ac:cxnSpMkLst>
            <pc:docMk/>
            <pc:sldMk cId="2151005391" sldId="893"/>
            <ac:cxnSpMk id="61" creationId="{6B00E9D6-ABF8-4DBB-A008-1A5B147F2E51}"/>
          </ac:cxnSpMkLst>
        </pc:cxnChg>
        <pc:cxnChg chg="mod">
          <ac:chgData name="Kisliuk, Adrian (ext)" userId="6e619ce3-2643-4cdf-9a13-b4c269650021" providerId="ADAL" clId="{AFCEEFB0-37BC-48D4-B200-D3706B2CD7FE}" dt="2021-04-19T12:18:47.955" v="6690" actId="1035"/>
          <ac:cxnSpMkLst>
            <pc:docMk/>
            <pc:sldMk cId="2151005391" sldId="893"/>
            <ac:cxnSpMk id="62" creationId="{A7F613DE-CF25-4659-BEB5-A6293800A85C}"/>
          </ac:cxnSpMkLst>
        </pc:cxnChg>
        <pc:cxnChg chg="add del mod">
          <ac:chgData name="Kisliuk, Adrian (ext)" userId="6e619ce3-2643-4cdf-9a13-b4c269650021" providerId="ADAL" clId="{AFCEEFB0-37BC-48D4-B200-D3706B2CD7FE}" dt="2021-04-19T12:18:47.955" v="6690" actId="1035"/>
          <ac:cxnSpMkLst>
            <pc:docMk/>
            <pc:sldMk cId="2151005391" sldId="893"/>
            <ac:cxnSpMk id="63" creationId="{A063E153-814D-406B-9A67-EF20F840AEF5}"/>
          </ac:cxnSpMkLst>
        </pc:cxnChg>
        <pc:cxnChg chg="mod">
          <ac:chgData name="Kisliuk, Adrian (ext)" userId="6e619ce3-2643-4cdf-9a13-b4c269650021" providerId="ADAL" clId="{AFCEEFB0-37BC-48D4-B200-D3706B2CD7FE}" dt="2021-04-19T12:18:47.955" v="6690" actId="1035"/>
          <ac:cxnSpMkLst>
            <pc:docMk/>
            <pc:sldMk cId="2151005391" sldId="893"/>
            <ac:cxnSpMk id="64" creationId="{A05BC7AB-C665-46D6-941B-032814E263E2}"/>
          </ac:cxnSpMkLst>
        </pc:cxnChg>
      </pc:sldChg>
      <pc:sldChg chg="modSp add del mod">
        <pc:chgData name="Kisliuk, Adrian (ext)" userId="6e619ce3-2643-4cdf-9a13-b4c269650021" providerId="ADAL" clId="{AFCEEFB0-37BC-48D4-B200-D3706B2CD7FE}" dt="2021-04-21T09:05:25.363" v="17046" actId="47"/>
        <pc:sldMkLst>
          <pc:docMk/>
          <pc:sldMk cId="266907668" sldId="894"/>
        </pc:sldMkLst>
        <pc:graphicFrameChg chg="mod">
          <ac:chgData name="Kisliuk, Adrian (ext)" userId="6e619ce3-2643-4cdf-9a13-b4c269650021" providerId="ADAL" clId="{AFCEEFB0-37BC-48D4-B200-D3706B2CD7FE}" dt="2021-04-21T09:05:12.458" v="17039" actId="1076"/>
          <ac:graphicFrameMkLst>
            <pc:docMk/>
            <pc:sldMk cId="266907668" sldId="894"/>
            <ac:graphicFrameMk id="4" creationId="{C83F301A-78A1-4983-9CB8-1A10622AAB94}"/>
          </ac:graphicFrameMkLst>
        </pc:graphicFrameChg>
      </pc:sldChg>
      <pc:sldChg chg="addSp delSp modSp add del mod">
        <pc:chgData name="Kisliuk, Adrian (ext)" userId="6e619ce3-2643-4cdf-9a13-b4c269650021" providerId="ADAL" clId="{AFCEEFB0-37BC-48D4-B200-D3706B2CD7FE}" dt="2021-04-21T08:34:08.162" v="16558" actId="2696"/>
        <pc:sldMkLst>
          <pc:docMk/>
          <pc:sldMk cId="4134518933" sldId="894"/>
        </pc:sldMkLst>
        <pc:spChg chg="mod">
          <ac:chgData name="Kisliuk, Adrian (ext)" userId="6e619ce3-2643-4cdf-9a13-b4c269650021" providerId="ADAL" clId="{AFCEEFB0-37BC-48D4-B200-D3706B2CD7FE}" dt="2021-04-19T11:44:27.356" v="6124" actId="948"/>
          <ac:spMkLst>
            <pc:docMk/>
            <pc:sldMk cId="4134518933" sldId="894"/>
            <ac:spMk id="2" creationId="{4F0A5095-4837-4DA6-90E9-57CA6A6D96D3}"/>
          </ac:spMkLst>
        </pc:spChg>
        <pc:spChg chg="add del mod modVis">
          <ac:chgData name="Kisliuk, Adrian (ext)" userId="6e619ce3-2643-4cdf-9a13-b4c269650021" providerId="ADAL" clId="{AFCEEFB0-37BC-48D4-B200-D3706B2CD7FE}" dt="2021-04-19T11:44:22.047" v="6059"/>
          <ac:spMkLst>
            <pc:docMk/>
            <pc:sldMk cId="4134518933" sldId="894"/>
            <ac:spMk id="5" creationId="{C047D9B4-30F4-4D7D-A713-012F0D79AFBB}"/>
          </ac:spMkLst>
        </pc:spChg>
        <pc:spChg chg="add del mod modVis">
          <ac:chgData name="Kisliuk, Adrian (ext)" userId="6e619ce3-2643-4cdf-9a13-b4c269650021" providerId="ADAL" clId="{AFCEEFB0-37BC-48D4-B200-D3706B2CD7FE}" dt="2021-04-19T11:44:25.750" v="6117"/>
          <ac:spMkLst>
            <pc:docMk/>
            <pc:sldMk cId="4134518933" sldId="894"/>
            <ac:spMk id="6" creationId="{B56BE7F5-9757-4458-9618-EABE5A970E28}"/>
          </ac:spMkLst>
        </pc:spChg>
        <pc:spChg chg="add del mod modVis">
          <ac:chgData name="Kisliuk, Adrian (ext)" userId="6e619ce3-2643-4cdf-9a13-b4c269650021" providerId="ADAL" clId="{AFCEEFB0-37BC-48D4-B200-D3706B2CD7FE}" dt="2021-04-19T11:44:27.392" v="6161"/>
          <ac:spMkLst>
            <pc:docMk/>
            <pc:sldMk cId="4134518933" sldId="894"/>
            <ac:spMk id="7" creationId="{BB422DDD-5A40-4471-B42D-9D682C65B313}"/>
          </ac:spMkLst>
        </pc:spChg>
        <pc:spChg chg="add mod">
          <ac:chgData name="Kisliuk, Adrian (ext)" userId="6e619ce3-2643-4cdf-9a13-b4c269650021" providerId="ADAL" clId="{AFCEEFB0-37BC-48D4-B200-D3706B2CD7FE}" dt="2021-04-19T11:44:58.940" v="6171" actId="5793"/>
          <ac:spMkLst>
            <pc:docMk/>
            <pc:sldMk cId="4134518933" sldId="894"/>
            <ac:spMk id="10" creationId="{AAE5C266-2E2E-491C-A502-046A4B11F045}"/>
          </ac:spMkLst>
        </pc:spChg>
        <pc:spChg chg="add mod">
          <ac:chgData name="Kisliuk, Adrian (ext)" userId="6e619ce3-2643-4cdf-9a13-b4c269650021" providerId="ADAL" clId="{AFCEEFB0-37BC-48D4-B200-D3706B2CD7FE}" dt="2021-04-19T11:44:48.391" v="6165"/>
          <ac:spMkLst>
            <pc:docMk/>
            <pc:sldMk cId="4134518933" sldId="894"/>
            <ac:spMk id="11" creationId="{D82E8B9F-48EF-4C27-9882-15FB0898ADD6}"/>
          </ac:spMkLst>
        </pc:spChg>
        <pc:spChg chg="add mod">
          <ac:chgData name="Kisliuk, Adrian (ext)" userId="6e619ce3-2643-4cdf-9a13-b4c269650021" providerId="ADAL" clId="{AFCEEFB0-37BC-48D4-B200-D3706B2CD7FE}" dt="2021-04-19T11:44:48.391" v="6165"/>
          <ac:spMkLst>
            <pc:docMk/>
            <pc:sldMk cId="4134518933" sldId="894"/>
            <ac:spMk id="12" creationId="{0740A65E-54BA-413A-BC18-A5D0015C1F64}"/>
          </ac:spMkLst>
        </pc:spChg>
        <pc:spChg chg="del">
          <ac:chgData name="Kisliuk, Adrian (ext)" userId="6e619ce3-2643-4cdf-9a13-b4c269650021" providerId="ADAL" clId="{AFCEEFB0-37BC-48D4-B200-D3706B2CD7FE}" dt="2021-04-19T11:44:51.291" v="6166" actId="478"/>
          <ac:spMkLst>
            <pc:docMk/>
            <pc:sldMk cId="4134518933" sldId="894"/>
            <ac:spMk id="13" creationId="{E9125A68-AE47-4469-BBC8-42CFF6D66DBE}"/>
          </ac:spMkLst>
        </pc:spChg>
        <pc:spChg chg="add mod">
          <ac:chgData name="Kisliuk, Adrian (ext)" userId="6e619ce3-2643-4cdf-9a13-b4c269650021" providerId="ADAL" clId="{AFCEEFB0-37BC-48D4-B200-D3706B2CD7FE}" dt="2021-04-19T11:44:48.391" v="6165"/>
          <ac:spMkLst>
            <pc:docMk/>
            <pc:sldMk cId="4134518933" sldId="894"/>
            <ac:spMk id="14" creationId="{B24DEC34-DB3F-49D1-8F37-6F7E0A5861AA}"/>
          </ac:spMkLst>
        </pc:spChg>
        <pc:spChg chg="del mod">
          <ac:chgData name="Kisliuk, Adrian (ext)" userId="6e619ce3-2643-4cdf-9a13-b4c269650021" providerId="ADAL" clId="{AFCEEFB0-37BC-48D4-B200-D3706B2CD7FE}" dt="2021-04-19T11:44:54.366" v="6167" actId="478"/>
          <ac:spMkLst>
            <pc:docMk/>
            <pc:sldMk cId="4134518933" sldId="894"/>
            <ac:spMk id="15" creationId="{9A2F5527-B0DE-42BE-8BC5-000A684520A8}"/>
          </ac:spMkLst>
        </pc:spChg>
        <pc:graphicFrameChg chg="mod">
          <ac:chgData name="Kisliuk, Adrian (ext)" userId="6e619ce3-2643-4cdf-9a13-b4c269650021" providerId="ADAL" clId="{AFCEEFB0-37BC-48D4-B200-D3706B2CD7FE}" dt="2021-04-19T11:44:27.394" v="6163"/>
          <ac:graphicFrameMkLst>
            <pc:docMk/>
            <pc:sldMk cId="4134518933" sldId="894"/>
            <ac:graphicFrameMk id="4" creationId="{C83F301A-78A1-4983-9CB8-1A10622AAB94}"/>
          </ac:graphicFrameMkLst>
        </pc:graphicFrameChg>
        <pc:cxnChg chg="add mod">
          <ac:chgData name="Kisliuk, Adrian (ext)" userId="6e619ce3-2643-4cdf-9a13-b4c269650021" providerId="ADAL" clId="{AFCEEFB0-37BC-48D4-B200-D3706B2CD7FE}" dt="2021-04-19T11:45:05.327" v="6172"/>
          <ac:cxnSpMkLst>
            <pc:docMk/>
            <pc:sldMk cId="4134518933" sldId="894"/>
            <ac:cxnSpMk id="16" creationId="{F220F5C0-6EDA-4CA1-8728-695AD01E9752}"/>
          </ac:cxnSpMkLst>
        </pc:cxnChg>
        <pc:cxnChg chg="add mod">
          <ac:chgData name="Kisliuk, Adrian (ext)" userId="6e619ce3-2643-4cdf-9a13-b4c269650021" providerId="ADAL" clId="{AFCEEFB0-37BC-48D4-B200-D3706B2CD7FE}" dt="2021-04-19T11:45:05.327" v="6172"/>
          <ac:cxnSpMkLst>
            <pc:docMk/>
            <pc:sldMk cId="4134518933" sldId="894"/>
            <ac:cxnSpMk id="17" creationId="{5C67095C-46AE-491D-B6DD-B2063112750F}"/>
          </ac:cxnSpMkLst>
        </pc:cxnChg>
      </pc:sldChg>
      <pc:sldChg chg="addSp delSp modSp add del mod modTransition modShow delCm">
        <pc:chgData name="Kisliuk, Adrian (ext)" userId="6e619ce3-2643-4cdf-9a13-b4c269650021" providerId="ADAL" clId="{AFCEEFB0-37BC-48D4-B200-D3706B2CD7FE}" dt="2021-04-21T12:31:20.034" v="20442" actId="47"/>
        <pc:sldMkLst>
          <pc:docMk/>
          <pc:sldMk cId="2006354459" sldId="895"/>
        </pc:sldMkLst>
        <pc:spChg chg="del">
          <ac:chgData name="Kisliuk, Adrian (ext)" userId="6e619ce3-2643-4cdf-9a13-b4c269650021" providerId="ADAL" clId="{AFCEEFB0-37BC-48D4-B200-D3706B2CD7FE}" dt="2021-04-19T12:27:27.200" v="6981" actId="478"/>
          <ac:spMkLst>
            <pc:docMk/>
            <pc:sldMk cId="2006354459" sldId="895"/>
            <ac:spMk id="2" creationId="{50E68478-280C-4B71-A2DA-1A37303CE9F7}"/>
          </ac:spMkLst>
        </pc:spChg>
        <pc:spChg chg="add del mod modVis">
          <ac:chgData name="Kisliuk, Adrian (ext)" userId="6e619ce3-2643-4cdf-9a13-b4c269650021" providerId="ADAL" clId="{AFCEEFB0-37BC-48D4-B200-D3706B2CD7FE}" dt="2021-04-20T06:42:53.005" v="13556" actId="962"/>
          <ac:spMkLst>
            <pc:docMk/>
            <pc:sldMk cId="2006354459" sldId="895"/>
            <ac:spMk id="2" creationId="{CD039458-06CD-425F-A6C8-57A40DD230C5}"/>
          </ac:spMkLst>
        </pc:spChg>
        <pc:spChg chg="add del mod modVis">
          <ac:chgData name="Kisliuk, Adrian (ext)" userId="6e619ce3-2643-4cdf-9a13-b4c269650021" providerId="ADAL" clId="{AFCEEFB0-37BC-48D4-B200-D3706B2CD7FE}" dt="2021-04-19T15:26:32.881" v="8460"/>
          <ac:spMkLst>
            <pc:docMk/>
            <pc:sldMk cId="2006354459" sldId="895"/>
            <ac:spMk id="2" creationId="{D24DC522-B740-405F-945F-706021A5F3B9}"/>
          </ac:spMkLst>
        </pc:spChg>
        <pc:spChg chg="add del mod modVis">
          <ac:chgData name="Kisliuk, Adrian (ext)" userId="6e619ce3-2643-4cdf-9a13-b4c269650021" providerId="ADAL" clId="{AFCEEFB0-37BC-48D4-B200-D3706B2CD7FE}" dt="2021-04-21T09:25:47.246" v="17372"/>
          <ac:spMkLst>
            <pc:docMk/>
            <pc:sldMk cId="2006354459" sldId="895"/>
            <ac:spMk id="2" creationId="{F17A8520-D205-4381-925E-CA042B31E810}"/>
          </ac:spMkLst>
        </pc:spChg>
        <pc:spChg chg="add del mod modVis">
          <ac:chgData name="Kisliuk, Adrian (ext)" userId="6e619ce3-2643-4cdf-9a13-b4c269650021" providerId="ADAL" clId="{AFCEEFB0-37BC-48D4-B200-D3706B2CD7FE}" dt="2021-04-21T09:45:50.856" v="17480"/>
          <ac:spMkLst>
            <pc:docMk/>
            <pc:sldMk cId="2006354459" sldId="895"/>
            <ac:spMk id="3" creationId="{578B6F8E-9AE2-4448-B597-DCEFD4D99E21}"/>
          </ac:spMkLst>
        </pc:spChg>
        <pc:spChg chg="add del mod modVis">
          <ac:chgData name="Kisliuk, Adrian (ext)" userId="6e619ce3-2643-4cdf-9a13-b4c269650021" providerId="ADAL" clId="{AFCEEFB0-37BC-48D4-B200-D3706B2CD7FE}" dt="2021-04-19T15:26:34.852" v="8501"/>
          <ac:spMkLst>
            <pc:docMk/>
            <pc:sldMk cId="2006354459" sldId="895"/>
            <ac:spMk id="3" creationId="{E9F62E20-5E40-42BF-BCAE-214AC21296C7}"/>
          </ac:spMkLst>
        </pc:spChg>
        <pc:spChg chg="mod">
          <ac:chgData name="Kisliuk, Adrian (ext)" userId="6e619ce3-2643-4cdf-9a13-b4c269650021" providerId="ADAL" clId="{AFCEEFB0-37BC-48D4-B200-D3706B2CD7FE}" dt="2021-04-21T10:16:07.742" v="18481" actId="1035"/>
          <ac:spMkLst>
            <pc:docMk/>
            <pc:sldMk cId="2006354459" sldId="895"/>
            <ac:spMk id="4" creationId="{8B09BFA6-1414-43CC-93DC-744E01FD1F42}"/>
          </ac:spMkLst>
        </pc:spChg>
        <pc:spChg chg="add del mod modVis">
          <ac:chgData name="Kisliuk, Adrian (ext)" userId="6e619ce3-2643-4cdf-9a13-b4c269650021" providerId="ADAL" clId="{AFCEEFB0-37BC-48D4-B200-D3706B2CD7FE}" dt="2021-04-19T15:26:43.823" v="8542"/>
          <ac:spMkLst>
            <pc:docMk/>
            <pc:sldMk cId="2006354459" sldId="895"/>
            <ac:spMk id="5" creationId="{1AE5AFF6-D853-4803-9D4B-00E7C3DAF057}"/>
          </ac:spMkLst>
        </pc:spChg>
        <pc:spChg chg="add del mod modVis">
          <ac:chgData name="Kisliuk, Adrian (ext)" userId="6e619ce3-2643-4cdf-9a13-b4c269650021" providerId="ADAL" clId="{AFCEEFB0-37BC-48D4-B200-D3706B2CD7FE}" dt="2021-04-21T10:00:47.659" v="17805"/>
          <ac:spMkLst>
            <pc:docMk/>
            <pc:sldMk cId="2006354459" sldId="895"/>
            <ac:spMk id="5" creationId="{1BD143EC-16A3-4C62-BF84-3CA5B887FB37}"/>
          </ac:spMkLst>
        </pc:spChg>
        <pc:spChg chg="add del mod modVis">
          <ac:chgData name="Kisliuk, Adrian (ext)" userId="6e619ce3-2643-4cdf-9a13-b4c269650021" providerId="ADAL" clId="{AFCEEFB0-37BC-48D4-B200-D3706B2CD7FE}" dt="2021-04-19T12:26:16.314" v="6916"/>
          <ac:spMkLst>
            <pc:docMk/>
            <pc:sldMk cId="2006354459" sldId="895"/>
            <ac:spMk id="8" creationId="{A560C6A2-8DDC-4F8B-8D42-3F960C44DCDA}"/>
          </ac:spMkLst>
        </pc:spChg>
        <pc:spChg chg="add del mod modVis">
          <ac:chgData name="Kisliuk, Adrian (ext)" userId="6e619ce3-2643-4cdf-9a13-b4c269650021" providerId="ADAL" clId="{AFCEEFB0-37BC-48D4-B200-D3706B2CD7FE}" dt="2021-04-19T12:26:36.685" v="6964"/>
          <ac:spMkLst>
            <pc:docMk/>
            <pc:sldMk cId="2006354459" sldId="895"/>
            <ac:spMk id="9" creationId="{3D12BEF9-6485-4689-8D86-13C35C9E128B}"/>
          </ac:spMkLst>
        </pc:spChg>
        <pc:spChg chg="add del mod modVis">
          <ac:chgData name="Kisliuk, Adrian (ext)" userId="6e619ce3-2643-4cdf-9a13-b4c269650021" providerId="ADAL" clId="{AFCEEFB0-37BC-48D4-B200-D3706B2CD7FE}" dt="2021-04-19T12:27:50.217" v="7022"/>
          <ac:spMkLst>
            <pc:docMk/>
            <pc:sldMk cId="2006354459" sldId="895"/>
            <ac:spMk id="10" creationId="{AD3E74C4-D923-4648-897D-006969C6DB43}"/>
          </ac:spMkLst>
        </pc:spChg>
        <pc:spChg chg="add del mod modVis">
          <ac:chgData name="Kisliuk, Adrian (ext)" userId="6e619ce3-2643-4cdf-9a13-b4c269650021" providerId="ADAL" clId="{AFCEEFB0-37BC-48D4-B200-D3706B2CD7FE}" dt="2021-04-19T12:28:13.335" v="7069"/>
          <ac:spMkLst>
            <pc:docMk/>
            <pc:sldMk cId="2006354459" sldId="895"/>
            <ac:spMk id="11" creationId="{4A3CFF91-CB47-4D48-B8DA-F5F33E8A8305}"/>
          </ac:spMkLst>
        </pc:spChg>
        <pc:spChg chg="add del mod modVis">
          <ac:chgData name="Kisliuk, Adrian (ext)" userId="6e619ce3-2643-4cdf-9a13-b4c269650021" providerId="ADAL" clId="{AFCEEFB0-37BC-48D4-B200-D3706B2CD7FE}" dt="2021-04-19T12:28:15.434" v="7116"/>
          <ac:spMkLst>
            <pc:docMk/>
            <pc:sldMk cId="2006354459" sldId="895"/>
            <ac:spMk id="12" creationId="{7C4C2897-33A9-4823-8125-33C1F65877D9}"/>
          </ac:spMkLst>
        </pc:spChg>
        <pc:spChg chg="add del mod modVis">
          <ac:chgData name="Kisliuk, Adrian (ext)" userId="6e619ce3-2643-4cdf-9a13-b4c269650021" providerId="ADAL" clId="{AFCEEFB0-37BC-48D4-B200-D3706B2CD7FE}" dt="2021-04-19T12:28:19.631" v="7163"/>
          <ac:spMkLst>
            <pc:docMk/>
            <pc:sldMk cId="2006354459" sldId="895"/>
            <ac:spMk id="13" creationId="{3B5393D0-6F0F-49D6-B48D-747B735E6B7D}"/>
          </ac:spMkLst>
        </pc:spChg>
        <pc:spChg chg="add del mod modVis">
          <ac:chgData name="Kisliuk, Adrian (ext)" userId="6e619ce3-2643-4cdf-9a13-b4c269650021" providerId="ADAL" clId="{AFCEEFB0-37BC-48D4-B200-D3706B2CD7FE}" dt="2021-04-19T12:28:34.752" v="7204"/>
          <ac:spMkLst>
            <pc:docMk/>
            <pc:sldMk cId="2006354459" sldId="895"/>
            <ac:spMk id="14" creationId="{460B9662-0037-40A9-B6CA-4681751EDF5E}"/>
          </ac:spMkLst>
        </pc:spChg>
        <pc:spChg chg="add del mod modVis">
          <ac:chgData name="Kisliuk, Adrian (ext)" userId="6e619ce3-2643-4cdf-9a13-b4c269650021" providerId="ADAL" clId="{AFCEEFB0-37BC-48D4-B200-D3706B2CD7FE}" dt="2021-04-19T12:28:47.063" v="7245"/>
          <ac:spMkLst>
            <pc:docMk/>
            <pc:sldMk cId="2006354459" sldId="895"/>
            <ac:spMk id="15" creationId="{2F2A2719-4A33-4AA7-B8BF-2144021802E3}"/>
          </ac:spMkLst>
        </pc:spChg>
        <pc:spChg chg="mod">
          <ac:chgData name="Kisliuk, Adrian (ext)" userId="6e619ce3-2643-4cdf-9a13-b4c269650021" providerId="ADAL" clId="{AFCEEFB0-37BC-48D4-B200-D3706B2CD7FE}" dt="2021-04-21T10:16:07.742" v="18481" actId="1035"/>
          <ac:spMkLst>
            <pc:docMk/>
            <pc:sldMk cId="2006354459" sldId="895"/>
            <ac:spMk id="29" creationId="{B5AFC59E-6F27-43BE-80D9-FDF9FDFFB87F}"/>
          </ac:spMkLst>
        </pc:spChg>
        <pc:spChg chg="mod">
          <ac:chgData name="Kisliuk, Adrian (ext)" userId="6e619ce3-2643-4cdf-9a13-b4c269650021" providerId="ADAL" clId="{AFCEEFB0-37BC-48D4-B200-D3706B2CD7FE}" dt="2021-04-21T10:16:07.742" v="18481" actId="1035"/>
          <ac:spMkLst>
            <pc:docMk/>
            <pc:sldMk cId="2006354459" sldId="895"/>
            <ac:spMk id="30" creationId="{199D8EFB-88FC-472F-BE8F-341B4A80D369}"/>
          </ac:spMkLst>
        </pc:spChg>
        <pc:spChg chg="mod">
          <ac:chgData name="Kisliuk, Adrian (ext)" userId="6e619ce3-2643-4cdf-9a13-b4c269650021" providerId="ADAL" clId="{AFCEEFB0-37BC-48D4-B200-D3706B2CD7FE}" dt="2021-04-21T10:16:07.742" v="18481" actId="1035"/>
          <ac:spMkLst>
            <pc:docMk/>
            <pc:sldMk cId="2006354459" sldId="895"/>
            <ac:spMk id="31" creationId="{1BB83D65-74FF-4A94-8BE0-D5B4D19D7974}"/>
          </ac:spMkLst>
        </pc:spChg>
        <pc:spChg chg="mod">
          <ac:chgData name="Kisliuk, Adrian (ext)" userId="6e619ce3-2643-4cdf-9a13-b4c269650021" providerId="ADAL" clId="{AFCEEFB0-37BC-48D4-B200-D3706B2CD7FE}" dt="2021-04-21T10:16:37" v="18490" actId="1035"/>
          <ac:spMkLst>
            <pc:docMk/>
            <pc:sldMk cId="2006354459" sldId="895"/>
            <ac:spMk id="32" creationId="{DA99D21D-0AD7-4A7E-9602-DCBC860847F1}"/>
          </ac:spMkLst>
        </pc:spChg>
        <pc:spChg chg="mod">
          <ac:chgData name="Kisliuk, Adrian (ext)" userId="6e619ce3-2643-4cdf-9a13-b4c269650021" providerId="ADAL" clId="{AFCEEFB0-37BC-48D4-B200-D3706B2CD7FE}" dt="2021-04-21T10:16:37" v="18490" actId="1035"/>
          <ac:spMkLst>
            <pc:docMk/>
            <pc:sldMk cId="2006354459" sldId="895"/>
            <ac:spMk id="33" creationId="{992D1074-C583-484C-85C4-37F8D5D59A8C}"/>
          </ac:spMkLst>
        </pc:spChg>
        <pc:spChg chg="mod">
          <ac:chgData name="Kisliuk, Adrian (ext)" userId="6e619ce3-2643-4cdf-9a13-b4c269650021" providerId="ADAL" clId="{AFCEEFB0-37BC-48D4-B200-D3706B2CD7FE}" dt="2021-04-21T10:16:37" v="18490" actId="1035"/>
          <ac:spMkLst>
            <pc:docMk/>
            <pc:sldMk cId="2006354459" sldId="895"/>
            <ac:spMk id="34" creationId="{EC228732-8A0E-43E7-B7C7-82EF3A584AFB}"/>
          </ac:spMkLst>
        </pc:spChg>
        <pc:spChg chg="mod">
          <ac:chgData name="Kisliuk, Adrian (ext)" userId="6e619ce3-2643-4cdf-9a13-b4c269650021" providerId="ADAL" clId="{AFCEEFB0-37BC-48D4-B200-D3706B2CD7FE}" dt="2021-04-21T10:16:37" v="18490" actId="1035"/>
          <ac:spMkLst>
            <pc:docMk/>
            <pc:sldMk cId="2006354459" sldId="895"/>
            <ac:spMk id="35" creationId="{78A17BAE-8640-4431-A76D-EC0926C0323F}"/>
          </ac:spMkLst>
        </pc:spChg>
        <pc:spChg chg="mod">
          <ac:chgData name="Kisliuk, Adrian (ext)" userId="6e619ce3-2643-4cdf-9a13-b4c269650021" providerId="ADAL" clId="{AFCEEFB0-37BC-48D4-B200-D3706B2CD7FE}" dt="2021-04-21T10:16:37" v="18490" actId="1035"/>
          <ac:spMkLst>
            <pc:docMk/>
            <pc:sldMk cId="2006354459" sldId="895"/>
            <ac:spMk id="36" creationId="{44E53A76-1FF2-4561-AB4A-3F6C08A2FDD4}"/>
          </ac:spMkLst>
        </pc:spChg>
        <pc:spChg chg="mod">
          <ac:chgData name="Kisliuk, Adrian (ext)" userId="6e619ce3-2643-4cdf-9a13-b4c269650021" providerId="ADAL" clId="{AFCEEFB0-37BC-48D4-B200-D3706B2CD7FE}" dt="2021-04-21T10:16:37" v="18490" actId="1035"/>
          <ac:spMkLst>
            <pc:docMk/>
            <pc:sldMk cId="2006354459" sldId="895"/>
            <ac:spMk id="39" creationId="{130F0DB6-CE93-4039-A548-8355E4DBEE7C}"/>
          </ac:spMkLst>
        </pc:spChg>
        <pc:spChg chg="mod">
          <ac:chgData name="Kisliuk, Adrian (ext)" userId="6e619ce3-2643-4cdf-9a13-b4c269650021" providerId="ADAL" clId="{AFCEEFB0-37BC-48D4-B200-D3706B2CD7FE}" dt="2021-04-21T10:16:37" v="18490" actId="1035"/>
          <ac:spMkLst>
            <pc:docMk/>
            <pc:sldMk cId="2006354459" sldId="895"/>
            <ac:spMk id="40" creationId="{4A8C49D1-E95B-458C-806E-968AC60A73CC}"/>
          </ac:spMkLst>
        </pc:spChg>
        <pc:spChg chg="mod">
          <ac:chgData name="Kisliuk, Adrian (ext)" userId="6e619ce3-2643-4cdf-9a13-b4c269650021" providerId="ADAL" clId="{AFCEEFB0-37BC-48D4-B200-D3706B2CD7FE}" dt="2021-04-21T10:16:37" v="18490" actId="1035"/>
          <ac:spMkLst>
            <pc:docMk/>
            <pc:sldMk cId="2006354459" sldId="895"/>
            <ac:spMk id="41" creationId="{BEB3AAEA-7608-4765-955F-30B8C0640185}"/>
          </ac:spMkLst>
        </pc:spChg>
        <pc:spChg chg="mod">
          <ac:chgData name="Kisliuk, Adrian (ext)" userId="6e619ce3-2643-4cdf-9a13-b4c269650021" providerId="ADAL" clId="{AFCEEFB0-37BC-48D4-B200-D3706B2CD7FE}" dt="2021-04-21T10:16:37" v="18490" actId="1035"/>
          <ac:spMkLst>
            <pc:docMk/>
            <pc:sldMk cId="2006354459" sldId="895"/>
            <ac:spMk id="42" creationId="{91A23A11-CF4F-4C12-89D8-F3200E1AEBAF}"/>
          </ac:spMkLst>
        </pc:spChg>
        <pc:spChg chg="mod">
          <ac:chgData name="Kisliuk, Adrian (ext)" userId="6e619ce3-2643-4cdf-9a13-b4c269650021" providerId="ADAL" clId="{AFCEEFB0-37BC-48D4-B200-D3706B2CD7FE}" dt="2021-04-21T10:16:37" v="18490" actId="1035"/>
          <ac:spMkLst>
            <pc:docMk/>
            <pc:sldMk cId="2006354459" sldId="895"/>
            <ac:spMk id="43" creationId="{B9067C4C-21AB-49D4-BD59-3CD7826D0B1F}"/>
          </ac:spMkLst>
        </pc:spChg>
        <pc:spChg chg="mod">
          <ac:chgData name="Kisliuk, Adrian (ext)" userId="6e619ce3-2643-4cdf-9a13-b4c269650021" providerId="ADAL" clId="{AFCEEFB0-37BC-48D4-B200-D3706B2CD7FE}" dt="2021-04-21T10:16:37" v="18490" actId="1035"/>
          <ac:spMkLst>
            <pc:docMk/>
            <pc:sldMk cId="2006354459" sldId="895"/>
            <ac:spMk id="44" creationId="{6C0F3FDB-9047-4906-9E63-DCEE0779FD77}"/>
          </ac:spMkLst>
        </pc:spChg>
        <pc:spChg chg="mod">
          <ac:chgData name="Kisliuk, Adrian (ext)" userId="6e619ce3-2643-4cdf-9a13-b4c269650021" providerId="ADAL" clId="{AFCEEFB0-37BC-48D4-B200-D3706B2CD7FE}" dt="2021-04-21T10:16:37" v="18490" actId="1035"/>
          <ac:spMkLst>
            <pc:docMk/>
            <pc:sldMk cId="2006354459" sldId="895"/>
            <ac:spMk id="45" creationId="{DDFF6376-166C-4D27-8D6A-16635BB15179}"/>
          </ac:spMkLst>
        </pc:spChg>
        <pc:spChg chg="mod">
          <ac:chgData name="Kisliuk, Adrian (ext)" userId="6e619ce3-2643-4cdf-9a13-b4c269650021" providerId="ADAL" clId="{AFCEEFB0-37BC-48D4-B200-D3706B2CD7FE}" dt="2021-04-21T10:16:37" v="18490" actId="1035"/>
          <ac:spMkLst>
            <pc:docMk/>
            <pc:sldMk cId="2006354459" sldId="895"/>
            <ac:spMk id="50" creationId="{B5934D37-F96D-4A98-9241-13260DD67447}"/>
          </ac:spMkLst>
        </pc:spChg>
        <pc:spChg chg="mod">
          <ac:chgData name="Kisliuk, Adrian (ext)" userId="6e619ce3-2643-4cdf-9a13-b4c269650021" providerId="ADAL" clId="{AFCEEFB0-37BC-48D4-B200-D3706B2CD7FE}" dt="2021-04-21T10:16:37" v="18490" actId="1035"/>
          <ac:spMkLst>
            <pc:docMk/>
            <pc:sldMk cId="2006354459" sldId="895"/>
            <ac:spMk id="51" creationId="{C22B3DB2-2CBE-4627-96CF-D654369CBE05}"/>
          </ac:spMkLst>
        </pc:spChg>
        <pc:spChg chg="mod">
          <ac:chgData name="Kisliuk, Adrian (ext)" userId="6e619ce3-2643-4cdf-9a13-b4c269650021" providerId="ADAL" clId="{AFCEEFB0-37BC-48D4-B200-D3706B2CD7FE}" dt="2021-04-21T10:16:37" v="18490" actId="1035"/>
          <ac:spMkLst>
            <pc:docMk/>
            <pc:sldMk cId="2006354459" sldId="895"/>
            <ac:spMk id="52" creationId="{DC0AD07F-1761-42B1-9EA8-8540CD91CC2D}"/>
          </ac:spMkLst>
        </pc:spChg>
        <pc:spChg chg="mod">
          <ac:chgData name="Kisliuk, Adrian (ext)" userId="6e619ce3-2643-4cdf-9a13-b4c269650021" providerId="ADAL" clId="{AFCEEFB0-37BC-48D4-B200-D3706B2CD7FE}" dt="2021-04-21T10:16:07.742" v="18481" actId="1035"/>
          <ac:spMkLst>
            <pc:docMk/>
            <pc:sldMk cId="2006354459" sldId="895"/>
            <ac:spMk id="53" creationId="{710668EB-84E6-477B-B999-CBE96F3B621C}"/>
          </ac:spMkLst>
        </pc:spChg>
        <pc:spChg chg="mod">
          <ac:chgData name="Kisliuk, Adrian (ext)" userId="6e619ce3-2643-4cdf-9a13-b4c269650021" providerId="ADAL" clId="{AFCEEFB0-37BC-48D4-B200-D3706B2CD7FE}" dt="2021-04-21T10:16:07.742" v="18481" actId="1035"/>
          <ac:spMkLst>
            <pc:docMk/>
            <pc:sldMk cId="2006354459" sldId="895"/>
            <ac:spMk id="54" creationId="{990F7519-4871-489D-B558-E1EB43F5B6B2}"/>
          </ac:spMkLst>
        </pc:spChg>
        <pc:spChg chg="mod">
          <ac:chgData name="Kisliuk, Adrian (ext)" userId="6e619ce3-2643-4cdf-9a13-b4c269650021" providerId="ADAL" clId="{AFCEEFB0-37BC-48D4-B200-D3706B2CD7FE}" dt="2021-04-21T10:16:07.742" v="18481" actId="1035"/>
          <ac:spMkLst>
            <pc:docMk/>
            <pc:sldMk cId="2006354459" sldId="895"/>
            <ac:spMk id="55" creationId="{A83F9FBA-340A-47F2-9FC4-05E3FC35F52F}"/>
          </ac:spMkLst>
        </pc:spChg>
        <pc:spChg chg="mod">
          <ac:chgData name="Kisliuk, Adrian (ext)" userId="6e619ce3-2643-4cdf-9a13-b4c269650021" providerId="ADAL" clId="{AFCEEFB0-37BC-48D4-B200-D3706B2CD7FE}" dt="2021-04-21T10:16:37" v="18490" actId="1035"/>
          <ac:spMkLst>
            <pc:docMk/>
            <pc:sldMk cId="2006354459" sldId="895"/>
            <ac:spMk id="59" creationId="{C4ED78C6-0F2E-476B-9A02-F42B53222EA6}"/>
          </ac:spMkLst>
        </pc:spChg>
        <pc:spChg chg="mod">
          <ac:chgData name="Kisliuk, Adrian (ext)" userId="6e619ce3-2643-4cdf-9a13-b4c269650021" providerId="ADAL" clId="{AFCEEFB0-37BC-48D4-B200-D3706B2CD7FE}" dt="2021-04-21T10:16:37" v="18490" actId="1035"/>
          <ac:spMkLst>
            <pc:docMk/>
            <pc:sldMk cId="2006354459" sldId="895"/>
            <ac:spMk id="66" creationId="{8DB15C6C-26B2-4E0E-8012-91AC0D578236}"/>
          </ac:spMkLst>
        </pc:spChg>
        <pc:spChg chg="mod">
          <ac:chgData name="Kisliuk, Adrian (ext)" userId="6e619ce3-2643-4cdf-9a13-b4c269650021" providerId="ADAL" clId="{AFCEEFB0-37BC-48D4-B200-D3706B2CD7FE}" dt="2021-04-21T10:16:07.742" v="18481" actId="1035"/>
          <ac:spMkLst>
            <pc:docMk/>
            <pc:sldMk cId="2006354459" sldId="895"/>
            <ac:spMk id="67" creationId="{69BD7A21-5246-48E7-8971-EE89AF43B7FB}"/>
          </ac:spMkLst>
        </pc:spChg>
        <pc:spChg chg="del mod">
          <ac:chgData name="Kisliuk, Adrian (ext)" userId="6e619ce3-2643-4cdf-9a13-b4c269650021" providerId="ADAL" clId="{AFCEEFB0-37BC-48D4-B200-D3706B2CD7FE}" dt="2021-04-19T12:25:08.861" v="6873" actId="478"/>
          <ac:spMkLst>
            <pc:docMk/>
            <pc:sldMk cId="2006354459" sldId="895"/>
            <ac:spMk id="68" creationId="{7674B0DD-BBB7-4A0E-8EE6-DC95C81BD1AF}"/>
          </ac:spMkLst>
        </pc:spChg>
        <pc:spChg chg="mod">
          <ac:chgData name="Kisliuk, Adrian (ext)" userId="6e619ce3-2643-4cdf-9a13-b4c269650021" providerId="ADAL" clId="{AFCEEFB0-37BC-48D4-B200-D3706B2CD7FE}" dt="2021-04-21T10:16:37" v="18490" actId="1035"/>
          <ac:spMkLst>
            <pc:docMk/>
            <pc:sldMk cId="2006354459" sldId="895"/>
            <ac:spMk id="69" creationId="{0B5DCB8A-087B-4670-9212-F2E3FEC89102}"/>
          </ac:spMkLst>
        </pc:spChg>
        <pc:spChg chg="mod">
          <ac:chgData name="Kisliuk, Adrian (ext)" userId="6e619ce3-2643-4cdf-9a13-b4c269650021" providerId="ADAL" clId="{AFCEEFB0-37BC-48D4-B200-D3706B2CD7FE}" dt="2021-04-21T10:16:07.742" v="18481" actId="1035"/>
          <ac:spMkLst>
            <pc:docMk/>
            <pc:sldMk cId="2006354459" sldId="895"/>
            <ac:spMk id="70" creationId="{A6E85F34-F3FF-45FB-8F43-6E829CE9DD65}"/>
          </ac:spMkLst>
        </pc:spChg>
        <pc:spChg chg="mod">
          <ac:chgData name="Kisliuk, Adrian (ext)" userId="6e619ce3-2643-4cdf-9a13-b4c269650021" providerId="ADAL" clId="{AFCEEFB0-37BC-48D4-B200-D3706B2CD7FE}" dt="2021-04-21T10:16:37" v="18490" actId="1035"/>
          <ac:spMkLst>
            <pc:docMk/>
            <pc:sldMk cId="2006354459" sldId="895"/>
            <ac:spMk id="71" creationId="{4B62EC6E-0E3B-4D8A-A332-428F7C77471E}"/>
          </ac:spMkLst>
        </pc:spChg>
        <pc:spChg chg="mod">
          <ac:chgData name="Kisliuk, Adrian (ext)" userId="6e619ce3-2643-4cdf-9a13-b4c269650021" providerId="ADAL" clId="{AFCEEFB0-37BC-48D4-B200-D3706B2CD7FE}" dt="2021-04-21T10:16:37" v="18490" actId="1035"/>
          <ac:spMkLst>
            <pc:docMk/>
            <pc:sldMk cId="2006354459" sldId="895"/>
            <ac:spMk id="72" creationId="{F387C8CF-50CE-4F74-8615-0F336D3BC11D}"/>
          </ac:spMkLst>
        </pc:spChg>
        <pc:spChg chg="mod">
          <ac:chgData name="Kisliuk, Adrian (ext)" userId="6e619ce3-2643-4cdf-9a13-b4c269650021" providerId="ADAL" clId="{AFCEEFB0-37BC-48D4-B200-D3706B2CD7FE}" dt="2021-04-21T10:16:37" v="18490" actId="1035"/>
          <ac:spMkLst>
            <pc:docMk/>
            <pc:sldMk cId="2006354459" sldId="895"/>
            <ac:spMk id="73" creationId="{E078C03A-75D8-40C1-BCF7-FDEEABC87E83}"/>
          </ac:spMkLst>
        </pc:spChg>
        <pc:spChg chg="mod">
          <ac:chgData name="Kisliuk, Adrian (ext)" userId="6e619ce3-2643-4cdf-9a13-b4c269650021" providerId="ADAL" clId="{AFCEEFB0-37BC-48D4-B200-D3706B2CD7FE}" dt="2021-04-21T10:16:37" v="18490" actId="1035"/>
          <ac:spMkLst>
            <pc:docMk/>
            <pc:sldMk cId="2006354459" sldId="895"/>
            <ac:spMk id="76" creationId="{8060BAA4-321B-4EE7-9C2C-C1859C14637C}"/>
          </ac:spMkLst>
        </pc:spChg>
        <pc:spChg chg="mod">
          <ac:chgData name="Kisliuk, Adrian (ext)" userId="6e619ce3-2643-4cdf-9a13-b4c269650021" providerId="ADAL" clId="{AFCEEFB0-37BC-48D4-B200-D3706B2CD7FE}" dt="2021-04-21T10:16:37" v="18490" actId="1035"/>
          <ac:spMkLst>
            <pc:docMk/>
            <pc:sldMk cId="2006354459" sldId="895"/>
            <ac:spMk id="77" creationId="{11DCE4A2-056D-42ED-8D6F-D3406FF41A32}"/>
          </ac:spMkLst>
        </pc:spChg>
        <pc:spChg chg="mod">
          <ac:chgData name="Kisliuk, Adrian (ext)" userId="6e619ce3-2643-4cdf-9a13-b4c269650021" providerId="ADAL" clId="{AFCEEFB0-37BC-48D4-B200-D3706B2CD7FE}" dt="2021-04-21T10:16:37" v="18490" actId="1035"/>
          <ac:spMkLst>
            <pc:docMk/>
            <pc:sldMk cId="2006354459" sldId="895"/>
            <ac:spMk id="78" creationId="{9DD98053-CA53-4F68-9322-5B080897B0CC}"/>
          </ac:spMkLst>
        </pc:spChg>
        <pc:spChg chg="mod">
          <ac:chgData name="Kisliuk, Adrian (ext)" userId="6e619ce3-2643-4cdf-9a13-b4c269650021" providerId="ADAL" clId="{AFCEEFB0-37BC-48D4-B200-D3706B2CD7FE}" dt="2021-04-21T10:16:37" v="18490" actId="1035"/>
          <ac:spMkLst>
            <pc:docMk/>
            <pc:sldMk cId="2006354459" sldId="895"/>
            <ac:spMk id="79" creationId="{0757E8F6-ABE3-4F1A-9E69-E647C802B8EE}"/>
          </ac:spMkLst>
        </pc:spChg>
        <pc:spChg chg="mod">
          <ac:chgData name="Kisliuk, Adrian (ext)" userId="6e619ce3-2643-4cdf-9a13-b4c269650021" providerId="ADAL" clId="{AFCEEFB0-37BC-48D4-B200-D3706B2CD7FE}" dt="2021-04-21T10:16:37" v="18490" actId="1035"/>
          <ac:spMkLst>
            <pc:docMk/>
            <pc:sldMk cId="2006354459" sldId="895"/>
            <ac:spMk id="80" creationId="{F7C31C21-A9CE-4A5C-BE0D-C82F7ABAB293}"/>
          </ac:spMkLst>
        </pc:spChg>
        <pc:spChg chg="mod">
          <ac:chgData name="Kisliuk, Adrian (ext)" userId="6e619ce3-2643-4cdf-9a13-b4c269650021" providerId="ADAL" clId="{AFCEEFB0-37BC-48D4-B200-D3706B2CD7FE}" dt="2021-04-21T10:16:37" v="18490" actId="1035"/>
          <ac:spMkLst>
            <pc:docMk/>
            <pc:sldMk cId="2006354459" sldId="895"/>
            <ac:spMk id="81" creationId="{5F4D3579-ADF4-42A4-A94F-8E1F8B62510B}"/>
          </ac:spMkLst>
        </pc:spChg>
        <pc:spChg chg="mod">
          <ac:chgData name="Kisliuk, Adrian (ext)" userId="6e619ce3-2643-4cdf-9a13-b4c269650021" providerId="ADAL" clId="{AFCEEFB0-37BC-48D4-B200-D3706B2CD7FE}" dt="2021-04-21T10:16:37" v="18490" actId="1035"/>
          <ac:spMkLst>
            <pc:docMk/>
            <pc:sldMk cId="2006354459" sldId="895"/>
            <ac:spMk id="82" creationId="{7DFB7BB8-4991-4C5C-87B1-4C1FC01A2439}"/>
          </ac:spMkLst>
        </pc:spChg>
        <pc:spChg chg="mod">
          <ac:chgData name="Kisliuk, Adrian (ext)" userId="6e619ce3-2643-4cdf-9a13-b4c269650021" providerId="ADAL" clId="{AFCEEFB0-37BC-48D4-B200-D3706B2CD7FE}" dt="2021-04-21T10:16:37" v="18490" actId="1035"/>
          <ac:spMkLst>
            <pc:docMk/>
            <pc:sldMk cId="2006354459" sldId="895"/>
            <ac:spMk id="87" creationId="{03738768-CBAA-4EF4-8DE9-4EE45AE55D4E}"/>
          </ac:spMkLst>
        </pc:spChg>
        <pc:spChg chg="mod">
          <ac:chgData name="Kisliuk, Adrian (ext)" userId="6e619ce3-2643-4cdf-9a13-b4c269650021" providerId="ADAL" clId="{AFCEEFB0-37BC-48D4-B200-D3706B2CD7FE}" dt="2021-04-21T10:16:37" v="18490" actId="1035"/>
          <ac:spMkLst>
            <pc:docMk/>
            <pc:sldMk cId="2006354459" sldId="895"/>
            <ac:spMk id="88" creationId="{F509201B-54F6-45D9-9B53-469684E516C5}"/>
          </ac:spMkLst>
        </pc:spChg>
        <pc:spChg chg="mod">
          <ac:chgData name="Kisliuk, Adrian (ext)" userId="6e619ce3-2643-4cdf-9a13-b4c269650021" providerId="ADAL" clId="{AFCEEFB0-37BC-48D4-B200-D3706B2CD7FE}" dt="2021-04-21T10:16:37" v="18490" actId="1035"/>
          <ac:spMkLst>
            <pc:docMk/>
            <pc:sldMk cId="2006354459" sldId="895"/>
            <ac:spMk id="89" creationId="{B989BEF5-64C4-410D-B3EF-B3FF04AEADE7}"/>
          </ac:spMkLst>
        </pc:spChg>
        <pc:spChg chg="mod">
          <ac:chgData name="Kisliuk, Adrian (ext)" userId="6e619ce3-2643-4cdf-9a13-b4c269650021" providerId="ADAL" clId="{AFCEEFB0-37BC-48D4-B200-D3706B2CD7FE}" dt="2021-04-21T10:16:37" v="18490" actId="1035"/>
          <ac:spMkLst>
            <pc:docMk/>
            <pc:sldMk cId="2006354459" sldId="895"/>
            <ac:spMk id="90" creationId="{3030FB26-5D29-4D7A-B8F1-B81F4F0B157A}"/>
          </ac:spMkLst>
        </pc:spChg>
        <pc:spChg chg="mod">
          <ac:chgData name="Kisliuk, Adrian (ext)" userId="6e619ce3-2643-4cdf-9a13-b4c269650021" providerId="ADAL" clId="{AFCEEFB0-37BC-48D4-B200-D3706B2CD7FE}" dt="2021-04-21T10:16:37" v="18490" actId="1035"/>
          <ac:spMkLst>
            <pc:docMk/>
            <pc:sldMk cId="2006354459" sldId="895"/>
            <ac:spMk id="91" creationId="{8CF78AAB-4AA0-4DA2-811B-319688ABE337}"/>
          </ac:spMkLst>
        </pc:spChg>
        <pc:spChg chg="mod">
          <ac:chgData name="Kisliuk, Adrian (ext)" userId="6e619ce3-2643-4cdf-9a13-b4c269650021" providerId="ADAL" clId="{AFCEEFB0-37BC-48D4-B200-D3706B2CD7FE}" dt="2021-04-21T10:16:21.466" v="18483" actId="1076"/>
          <ac:spMkLst>
            <pc:docMk/>
            <pc:sldMk cId="2006354459" sldId="895"/>
            <ac:spMk id="92" creationId="{6B158B4D-3498-4ECB-918B-585D6BF5D6A6}"/>
          </ac:spMkLst>
        </pc:spChg>
        <pc:spChg chg="add mod">
          <ac:chgData name="Kisliuk, Adrian (ext)" userId="6e619ce3-2643-4cdf-9a13-b4c269650021" providerId="ADAL" clId="{AFCEEFB0-37BC-48D4-B200-D3706B2CD7FE}" dt="2021-04-21T10:16:07.742" v="18481" actId="1035"/>
          <ac:spMkLst>
            <pc:docMk/>
            <pc:sldMk cId="2006354459" sldId="895"/>
            <ac:spMk id="93" creationId="{25C5CD64-B41E-4145-A97C-D1F97F6BB017}"/>
          </ac:spMkLst>
        </pc:spChg>
        <pc:spChg chg="add mod">
          <ac:chgData name="Kisliuk, Adrian (ext)" userId="6e619ce3-2643-4cdf-9a13-b4c269650021" providerId="ADAL" clId="{AFCEEFB0-37BC-48D4-B200-D3706B2CD7FE}" dt="2021-04-21T10:16:07.742" v="18481" actId="1035"/>
          <ac:spMkLst>
            <pc:docMk/>
            <pc:sldMk cId="2006354459" sldId="895"/>
            <ac:spMk id="94" creationId="{3BA7101D-B563-4CC7-9AB5-43BA12BD444B}"/>
          </ac:spMkLst>
        </pc:spChg>
        <pc:spChg chg="add mod">
          <ac:chgData name="Kisliuk, Adrian (ext)" userId="6e619ce3-2643-4cdf-9a13-b4c269650021" providerId="ADAL" clId="{AFCEEFB0-37BC-48D4-B200-D3706B2CD7FE}" dt="2021-04-21T10:16:37" v="18490" actId="1035"/>
          <ac:spMkLst>
            <pc:docMk/>
            <pc:sldMk cId="2006354459" sldId="895"/>
            <ac:spMk id="95" creationId="{A76A5DEE-7790-4B42-84D3-351F66FD3F46}"/>
          </ac:spMkLst>
        </pc:spChg>
        <pc:spChg chg="add mod">
          <ac:chgData name="Kisliuk, Adrian (ext)" userId="6e619ce3-2643-4cdf-9a13-b4c269650021" providerId="ADAL" clId="{AFCEEFB0-37BC-48D4-B200-D3706B2CD7FE}" dt="2021-04-21T10:16:37" v="18490" actId="1035"/>
          <ac:spMkLst>
            <pc:docMk/>
            <pc:sldMk cId="2006354459" sldId="895"/>
            <ac:spMk id="96" creationId="{94B655F2-17E5-4447-97E1-2A2BB3A0F665}"/>
          </ac:spMkLst>
        </pc:spChg>
        <pc:spChg chg="add del mod">
          <ac:chgData name="Kisliuk, Adrian (ext)" userId="6e619ce3-2643-4cdf-9a13-b4c269650021" providerId="ADAL" clId="{AFCEEFB0-37BC-48D4-B200-D3706B2CD7FE}" dt="2021-04-21T09:53:30.171" v="17565"/>
          <ac:spMkLst>
            <pc:docMk/>
            <pc:sldMk cId="2006354459" sldId="895"/>
            <ac:spMk id="97" creationId="{6340A6E0-3C7F-4142-88BC-C1522EDFAAF7}"/>
          </ac:spMkLst>
        </pc:spChg>
        <pc:spChg chg="add del mod">
          <ac:chgData name="Kisliuk, Adrian (ext)" userId="6e619ce3-2643-4cdf-9a13-b4c269650021" providerId="ADAL" clId="{AFCEEFB0-37BC-48D4-B200-D3706B2CD7FE}" dt="2021-04-19T12:22:39.253" v="6842" actId="478"/>
          <ac:spMkLst>
            <pc:docMk/>
            <pc:sldMk cId="2006354459" sldId="895"/>
            <ac:spMk id="97" creationId="{C1B295C4-4FB3-48F4-A6B2-4208956C220B}"/>
          </ac:spMkLst>
        </pc:spChg>
        <pc:spChg chg="add del mod">
          <ac:chgData name="Kisliuk, Adrian (ext)" userId="6e619ce3-2643-4cdf-9a13-b4c269650021" providerId="ADAL" clId="{AFCEEFB0-37BC-48D4-B200-D3706B2CD7FE}" dt="2021-04-19T12:22:39.253" v="6842" actId="478"/>
          <ac:spMkLst>
            <pc:docMk/>
            <pc:sldMk cId="2006354459" sldId="895"/>
            <ac:spMk id="98" creationId="{1B56AAE2-FFB7-4B7A-BB7A-2C40BE5CE9D5}"/>
          </ac:spMkLst>
        </pc:spChg>
        <pc:spChg chg="add mod">
          <ac:chgData name="Kisliuk, Adrian (ext)" userId="6e619ce3-2643-4cdf-9a13-b4c269650021" providerId="ADAL" clId="{AFCEEFB0-37BC-48D4-B200-D3706B2CD7FE}" dt="2021-04-21T10:16:07.742" v="18481" actId="1035"/>
          <ac:spMkLst>
            <pc:docMk/>
            <pc:sldMk cId="2006354459" sldId="895"/>
            <ac:spMk id="99" creationId="{B09C9A7A-70EF-4FD7-AA3D-96FF20B267C4}"/>
          </ac:spMkLst>
        </pc:spChg>
        <pc:spChg chg="mod">
          <ac:chgData name="Kisliuk, Adrian (ext)" userId="6e619ce3-2643-4cdf-9a13-b4c269650021" providerId="ADAL" clId="{AFCEEFB0-37BC-48D4-B200-D3706B2CD7FE}" dt="2021-04-21T10:00:47.611" v="17768" actId="948"/>
          <ac:spMkLst>
            <pc:docMk/>
            <pc:sldMk cId="2006354459" sldId="895"/>
            <ac:spMk id="100" creationId="{718CCEBD-1311-4DB9-8277-4828BEE859F1}"/>
          </ac:spMkLst>
        </pc:spChg>
        <pc:spChg chg="add del mod">
          <ac:chgData name="Kisliuk, Adrian (ext)" userId="6e619ce3-2643-4cdf-9a13-b4c269650021" providerId="ADAL" clId="{AFCEEFB0-37BC-48D4-B200-D3706B2CD7FE}" dt="2021-04-19T12:24:39.756" v="6866" actId="478"/>
          <ac:spMkLst>
            <pc:docMk/>
            <pc:sldMk cId="2006354459" sldId="895"/>
            <ac:spMk id="101" creationId="{EAA2E5B4-E62F-4281-A460-6F36AD9253F1}"/>
          </ac:spMkLst>
        </pc:spChg>
        <pc:spChg chg="mod">
          <ac:chgData name="Kisliuk, Adrian (ext)" userId="6e619ce3-2643-4cdf-9a13-b4c269650021" providerId="ADAL" clId="{AFCEEFB0-37BC-48D4-B200-D3706B2CD7FE}" dt="2021-04-21T10:16:12.905" v="18482" actId="1076"/>
          <ac:spMkLst>
            <pc:docMk/>
            <pc:sldMk cId="2006354459" sldId="895"/>
            <ac:spMk id="102" creationId="{A5D062CC-D751-AF4C-BA87-7B77A3888231}"/>
          </ac:spMkLst>
        </pc:spChg>
        <pc:grpChg chg="mod">
          <ac:chgData name="Kisliuk, Adrian (ext)" userId="6e619ce3-2643-4cdf-9a13-b4c269650021" providerId="ADAL" clId="{AFCEEFB0-37BC-48D4-B200-D3706B2CD7FE}" dt="2021-04-21T10:16:37" v="18490" actId="1035"/>
          <ac:grpSpMkLst>
            <pc:docMk/>
            <pc:sldMk cId="2006354459" sldId="895"/>
            <ac:grpSpMk id="46" creationId="{043DA60E-CB19-4FA9-B03C-EB2A50C2C3B6}"/>
          </ac:grpSpMkLst>
        </pc:grpChg>
        <pc:grpChg chg="mod">
          <ac:chgData name="Kisliuk, Adrian (ext)" userId="6e619ce3-2643-4cdf-9a13-b4c269650021" providerId="ADAL" clId="{AFCEEFB0-37BC-48D4-B200-D3706B2CD7FE}" dt="2021-04-21T10:16:37" v="18490" actId="1035"/>
          <ac:grpSpMkLst>
            <pc:docMk/>
            <pc:sldMk cId="2006354459" sldId="895"/>
            <ac:grpSpMk id="83" creationId="{6860AE6F-F0B1-4B83-8256-38B5428B2AA2}"/>
          </ac:grpSpMkLst>
        </pc:grpChg>
        <pc:graphicFrameChg chg="mod">
          <ac:chgData name="Kisliuk, Adrian (ext)" userId="6e619ce3-2643-4cdf-9a13-b4c269650021" providerId="ADAL" clId="{AFCEEFB0-37BC-48D4-B200-D3706B2CD7FE}" dt="2021-04-21T10:00:47.661" v="17807"/>
          <ac:graphicFrameMkLst>
            <pc:docMk/>
            <pc:sldMk cId="2006354459" sldId="895"/>
            <ac:graphicFrameMk id="7" creationId="{5863A9E7-2E2A-4B1C-90C1-EF823E551718}"/>
          </ac:graphicFrameMkLst>
        </pc:graphicFrameChg>
        <pc:cxnChg chg="mod">
          <ac:chgData name="Kisliuk, Adrian (ext)" userId="6e619ce3-2643-4cdf-9a13-b4c269650021" providerId="ADAL" clId="{AFCEEFB0-37BC-48D4-B200-D3706B2CD7FE}" dt="2021-04-21T10:16:21.466" v="18483" actId="1076"/>
          <ac:cxnSpMkLst>
            <pc:docMk/>
            <pc:sldMk cId="2006354459" sldId="895"/>
            <ac:cxnSpMk id="6" creationId="{BB73AF7D-3AFB-458C-9E13-4490BD29D49E}"/>
          </ac:cxnSpMkLst>
        </pc:cxnChg>
        <pc:cxnChg chg="mod">
          <ac:chgData name="Kisliuk, Adrian (ext)" userId="6e619ce3-2643-4cdf-9a13-b4c269650021" providerId="ADAL" clId="{AFCEEFB0-37BC-48D4-B200-D3706B2CD7FE}" dt="2021-04-21T10:16:37" v="18490" actId="1035"/>
          <ac:cxnSpMkLst>
            <pc:docMk/>
            <pc:sldMk cId="2006354459" sldId="895"/>
            <ac:cxnSpMk id="37" creationId="{FC49E1FF-C860-40E7-9714-387C2D0EC39C}"/>
          </ac:cxnSpMkLst>
        </pc:cxnChg>
        <pc:cxnChg chg="mod">
          <ac:chgData name="Kisliuk, Adrian (ext)" userId="6e619ce3-2643-4cdf-9a13-b4c269650021" providerId="ADAL" clId="{AFCEEFB0-37BC-48D4-B200-D3706B2CD7FE}" dt="2021-04-21T10:16:37" v="18490" actId="1035"/>
          <ac:cxnSpMkLst>
            <pc:docMk/>
            <pc:sldMk cId="2006354459" sldId="895"/>
            <ac:cxnSpMk id="38" creationId="{64696C07-7371-4BAC-BB42-582A3150FA89}"/>
          </ac:cxnSpMkLst>
        </pc:cxnChg>
        <pc:cxnChg chg="mod">
          <ac:chgData name="Kisliuk, Adrian (ext)" userId="6e619ce3-2643-4cdf-9a13-b4c269650021" providerId="ADAL" clId="{AFCEEFB0-37BC-48D4-B200-D3706B2CD7FE}" dt="2021-04-21T10:16:37" v="18490" actId="1035"/>
          <ac:cxnSpMkLst>
            <pc:docMk/>
            <pc:sldMk cId="2006354459" sldId="895"/>
            <ac:cxnSpMk id="56" creationId="{724D7170-5963-4A05-B9A0-32603886D9AF}"/>
          </ac:cxnSpMkLst>
        </pc:cxnChg>
        <pc:cxnChg chg="mod">
          <ac:chgData name="Kisliuk, Adrian (ext)" userId="6e619ce3-2643-4cdf-9a13-b4c269650021" providerId="ADAL" clId="{AFCEEFB0-37BC-48D4-B200-D3706B2CD7FE}" dt="2021-04-21T10:16:37" v="18490" actId="1035"/>
          <ac:cxnSpMkLst>
            <pc:docMk/>
            <pc:sldMk cId="2006354459" sldId="895"/>
            <ac:cxnSpMk id="57" creationId="{6114C79A-C88F-4D4E-B54D-47640F616621}"/>
          </ac:cxnSpMkLst>
        </pc:cxnChg>
        <pc:cxnChg chg="mod">
          <ac:chgData name="Kisliuk, Adrian (ext)" userId="6e619ce3-2643-4cdf-9a13-b4c269650021" providerId="ADAL" clId="{AFCEEFB0-37BC-48D4-B200-D3706B2CD7FE}" dt="2021-04-19T12:20:58.826" v="6771" actId="404"/>
          <ac:cxnSpMkLst>
            <pc:docMk/>
            <pc:sldMk cId="2006354459" sldId="895"/>
            <ac:cxnSpMk id="61" creationId="{6B00E9D6-ABF8-4DBB-A008-1A5B147F2E51}"/>
          </ac:cxnSpMkLst>
        </pc:cxnChg>
        <pc:cxnChg chg="mod">
          <ac:chgData name="Kisliuk, Adrian (ext)" userId="6e619ce3-2643-4cdf-9a13-b4c269650021" providerId="ADAL" clId="{AFCEEFB0-37BC-48D4-B200-D3706B2CD7FE}" dt="2021-04-19T12:20:58.826" v="6771" actId="404"/>
          <ac:cxnSpMkLst>
            <pc:docMk/>
            <pc:sldMk cId="2006354459" sldId="895"/>
            <ac:cxnSpMk id="62" creationId="{A7F613DE-CF25-4659-BEB5-A6293800A85C}"/>
          </ac:cxnSpMkLst>
        </pc:cxnChg>
        <pc:cxnChg chg="mod">
          <ac:chgData name="Kisliuk, Adrian (ext)" userId="6e619ce3-2643-4cdf-9a13-b4c269650021" providerId="ADAL" clId="{AFCEEFB0-37BC-48D4-B200-D3706B2CD7FE}" dt="2021-04-19T12:21:04.477" v="6797" actId="1038"/>
          <ac:cxnSpMkLst>
            <pc:docMk/>
            <pc:sldMk cId="2006354459" sldId="895"/>
            <ac:cxnSpMk id="63" creationId="{A063E153-814D-406B-9A67-EF20F840AEF5}"/>
          </ac:cxnSpMkLst>
        </pc:cxnChg>
        <pc:cxnChg chg="mod">
          <ac:chgData name="Kisliuk, Adrian (ext)" userId="6e619ce3-2643-4cdf-9a13-b4c269650021" providerId="ADAL" clId="{AFCEEFB0-37BC-48D4-B200-D3706B2CD7FE}" dt="2021-04-19T12:20:58.826" v="6771" actId="404"/>
          <ac:cxnSpMkLst>
            <pc:docMk/>
            <pc:sldMk cId="2006354459" sldId="895"/>
            <ac:cxnSpMk id="64" creationId="{A05BC7AB-C665-46D6-941B-032814E263E2}"/>
          </ac:cxnSpMkLst>
        </pc:cxnChg>
        <pc:cxnChg chg="mod">
          <ac:chgData name="Kisliuk, Adrian (ext)" userId="6e619ce3-2643-4cdf-9a13-b4c269650021" providerId="ADAL" clId="{AFCEEFB0-37BC-48D4-B200-D3706B2CD7FE}" dt="2021-04-21T10:16:37" v="18490" actId="1035"/>
          <ac:cxnSpMkLst>
            <pc:docMk/>
            <pc:sldMk cId="2006354459" sldId="895"/>
            <ac:cxnSpMk id="65" creationId="{40756E93-0A45-4810-B9FA-45CBBAFB32CF}"/>
          </ac:cxnSpMkLst>
        </pc:cxnChg>
        <pc:cxnChg chg="mod">
          <ac:chgData name="Kisliuk, Adrian (ext)" userId="6e619ce3-2643-4cdf-9a13-b4c269650021" providerId="ADAL" clId="{AFCEEFB0-37BC-48D4-B200-D3706B2CD7FE}" dt="2021-04-21T10:16:37" v="18490" actId="1035"/>
          <ac:cxnSpMkLst>
            <pc:docMk/>
            <pc:sldMk cId="2006354459" sldId="895"/>
            <ac:cxnSpMk id="74" creationId="{D48310DD-88B9-4E61-A83F-D09F5D6FE185}"/>
          </ac:cxnSpMkLst>
        </pc:cxnChg>
        <pc:cxnChg chg="mod">
          <ac:chgData name="Kisliuk, Adrian (ext)" userId="6e619ce3-2643-4cdf-9a13-b4c269650021" providerId="ADAL" clId="{AFCEEFB0-37BC-48D4-B200-D3706B2CD7FE}" dt="2021-04-21T10:16:37" v="18490" actId="1035"/>
          <ac:cxnSpMkLst>
            <pc:docMk/>
            <pc:sldMk cId="2006354459" sldId="895"/>
            <ac:cxnSpMk id="75" creationId="{AEE5C39C-F329-4F6D-BCA3-0E73DD030CE6}"/>
          </ac:cxnSpMkLst>
        </pc:cxnChg>
        <pc:cxnChg chg="mod">
          <ac:chgData name="Kisliuk, Adrian (ext)" userId="6e619ce3-2643-4cdf-9a13-b4c269650021" providerId="ADAL" clId="{AFCEEFB0-37BC-48D4-B200-D3706B2CD7FE}" dt="2021-04-21T10:16:12.905" v="18482" actId="1076"/>
          <ac:cxnSpMkLst>
            <pc:docMk/>
            <pc:sldMk cId="2006354459" sldId="895"/>
            <ac:cxnSpMk id="103" creationId="{2D429A6A-DA93-174A-8EFF-4D6F7D00331C}"/>
          </ac:cxnSpMkLst>
        </pc:cxnChg>
      </pc:sldChg>
      <pc:sldChg chg="addSp delSp modSp add del mod">
        <pc:chgData name="Kisliuk, Adrian (ext)" userId="6e619ce3-2643-4cdf-9a13-b4c269650021" providerId="ADAL" clId="{AFCEEFB0-37BC-48D4-B200-D3706B2CD7FE}" dt="2021-04-19T15:51:50.793" v="8769" actId="47"/>
        <pc:sldMkLst>
          <pc:docMk/>
          <pc:sldMk cId="751142945" sldId="896"/>
        </pc:sldMkLst>
        <pc:spChg chg="mod">
          <ac:chgData name="Kisliuk, Adrian (ext)" userId="6e619ce3-2643-4cdf-9a13-b4c269650021" providerId="ADAL" clId="{AFCEEFB0-37BC-48D4-B200-D3706B2CD7FE}" dt="2021-04-19T12:48:45.568" v="7340" actId="1076"/>
          <ac:spMkLst>
            <pc:docMk/>
            <pc:sldMk cId="751142945" sldId="896"/>
            <ac:spMk id="8" creationId="{B6B871D8-C132-479D-8579-2FE6462D86E3}"/>
          </ac:spMkLst>
        </pc:spChg>
        <pc:spChg chg="mod">
          <ac:chgData name="Kisliuk, Adrian (ext)" userId="6e619ce3-2643-4cdf-9a13-b4c269650021" providerId="ADAL" clId="{AFCEEFB0-37BC-48D4-B200-D3706B2CD7FE}" dt="2021-04-19T15:40:03.956" v="8559" actId="5793"/>
          <ac:spMkLst>
            <pc:docMk/>
            <pc:sldMk cId="751142945" sldId="896"/>
            <ac:spMk id="9" creationId="{C964F4FF-7D56-466B-A1EC-110646CC99CD}"/>
          </ac:spMkLst>
        </pc:spChg>
        <pc:spChg chg="mod">
          <ac:chgData name="Kisliuk, Adrian (ext)" userId="6e619ce3-2643-4cdf-9a13-b4c269650021" providerId="ADAL" clId="{AFCEEFB0-37BC-48D4-B200-D3706B2CD7FE}" dt="2021-04-19T12:48:34.320" v="7333" actId="1076"/>
          <ac:spMkLst>
            <pc:docMk/>
            <pc:sldMk cId="751142945" sldId="896"/>
            <ac:spMk id="10" creationId="{B7926D57-2347-40FA-8399-D501F67CB29D}"/>
          </ac:spMkLst>
        </pc:spChg>
        <pc:spChg chg="del">
          <ac:chgData name="Kisliuk, Adrian (ext)" userId="6e619ce3-2643-4cdf-9a13-b4c269650021" providerId="ADAL" clId="{AFCEEFB0-37BC-48D4-B200-D3706B2CD7FE}" dt="2021-04-19T12:48:37.344" v="7335" actId="478"/>
          <ac:spMkLst>
            <pc:docMk/>
            <pc:sldMk cId="751142945" sldId="896"/>
            <ac:spMk id="11" creationId="{C47485E1-A93F-4BA8-B32D-B372163F866D}"/>
          </ac:spMkLst>
        </pc:spChg>
        <pc:spChg chg="del mod">
          <ac:chgData name="Kisliuk, Adrian (ext)" userId="6e619ce3-2643-4cdf-9a13-b4c269650021" providerId="ADAL" clId="{AFCEEFB0-37BC-48D4-B200-D3706B2CD7FE}" dt="2021-04-19T12:48:38.264" v="7336" actId="478"/>
          <ac:spMkLst>
            <pc:docMk/>
            <pc:sldMk cId="751142945" sldId="896"/>
            <ac:spMk id="12" creationId="{DA6C3CCB-73A4-44E0-957C-C1A68722E66C}"/>
          </ac:spMkLst>
        </pc:spChg>
        <pc:spChg chg="add mod">
          <ac:chgData name="Kisliuk, Adrian (ext)" userId="6e619ce3-2643-4cdf-9a13-b4c269650021" providerId="ADAL" clId="{AFCEEFB0-37BC-48D4-B200-D3706B2CD7FE}" dt="2021-04-19T12:48:43.415" v="7339" actId="1076"/>
          <ac:spMkLst>
            <pc:docMk/>
            <pc:sldMk cId="751142945" sldId="896"/>
            <ac:spMk id="13" creationId="{56BA60EA-98B9-42A1-A2E9-93AF6D98CF6E}"/>
          </ac:spMkLst>
        </pc:spChg>
        <pc:spChg chg="del">
          <ac:chgData name="Kisliuk, Adrian (ext)" userId="6e619ce3-2643-4cdf-9a13-b4c269650021" providerId="ADAL" clId="{AFCEEFB0-37BC-48D4-B200-D3706B2CD7FE}" dt="2021-04-19T12:48:41.258" v="7338" actId="478"/>
          <ac:spMkLst>
            <pc:docMk/>
            <pc:sldMk cId="751142945" sldId="896"/>
            <ac:spMk id="14" creationId="{5691E2AD-7906-4457-AE2A-BAE55F1C0EDE}"/>
          </ac:spMkLst>
        </pc:spChg>
        <pc:spChg chg="del">
          <ac:chgData name="Kisliuk, Adrian (ext)" userId="6e619ce3-2643-4cdf-9a13-b4c269650021" providerId="ADAL" clId="{AFCEEFB0-37BC-48D4-B200-D3706B2CD7FE}" dt="2021-04-19T15:40:15.333" v="8562" actId="478"/>
          <ac:spMkLst>
            <pc:docMk/>
            <pc:sldMk cId="751142945" sldId="896"/>
            <ac:spMk id="15" creationId="{20E2CAEF-EE94-423D-AC17-B5E911DC5D58}"/>
          </ac:spMkLst>
        </pc:spChg>
        <pc:spChg chg="add mod">
          <ac:chgData name="Kisliuk, Adrian (ext)" userId="6e619ce3-2643-4cdf-9a13-b4c269650021" providerId="ADAL" clId="{AFCEEFB0-37BC-48D4-B200-D3706B2CD7FE}" dt="2021-04-19T12:48:23.049" v="7324" actId="1076"/>
          <ac:spMkLst>
            <pc:docMk/>
            <pc:sldMk cId="751142945" sldId="896"/>
            <ac:spMk id="16" creationId="{7E84545D-F580-468B-9F23-5B52B91BC325}"/>
          </ac:spMkLst>
        </pc:spChg>
        <pc:cxnChg chg="add mod">
          <ac:chgData name="Kisliuk, Adrian (ext)" userId="6e619ce3-2643-4cdf-9a13-b4c269650021" providerId="ADAL" clId="{AFCEEFB0-37BC-48D4-B200-D3706B2CD7FE}" dt="2021-04-19T15:32:07.325" v="8549" actId="208"/>
          <ac:cxnSpMkLst>
            <pc:docMk/>
            <pc:sldMk cId="751142945" sldId="896"/>
            <ac:cxnSpMk id="5" creationId="{6A028DCD-99D2-42EB-8578-5383E7A1A310}"/>
          </ac:cxnSpMkLst>
        </pc:cxnChg>
        <pc:cxnChg chg="add mod">
          <ac:chgData name="Kisliuk, Adrian (ext)" userId="6e619ce3-2643-4cdf-9a13-b4c269650021" providerId="ADAL" clId="{AFCEEFB0-37BC-48D4-B200-D3706B2CD7FE}" dt="2021-04-19T15:32:07.325" v="8549" actId="208"/>
          <ac:cxnSpMkLst>
            <pc:docMk/>
            <pc:sldMk cId="751142945" sldId="896"/>
            <ac:cxnSpMk id="17" creationId="{99588CE5-33CD-4D13-89EF-90B4267EE2A4}"/>
          </ac:cxnSpMkLst>
        </pc:cxnChg>
        <pc:cxnChg chg="add mod">
          <ac:chgData name="Kisliuk, Adrian (ext)" userId="6e619ce3-2643-4cdf-9a13-b4c269650021" providerId="ADAL" clId="{AFCEEFB0-37BC-48D4-B200-D3706B2CD7FE}" dt="2021-04-19T15:32:07.325" v="8549" actId="208"/>
          <ac:cxnSpMkLst>
            <pc:docMk/>
            <pc:sldMk cId="751142945" sldId="896"/>
            <ac:cxnSpMk id="18" creationId="{62DEB724-808A-4D58-AD8A-13347ED02AFF}"/>
          </ac:cxnSpMkLst>
        </pc:cxnChg>
        <pc:cxnChg chg="add mod">
          <ac:chgData name="Kisliuk, Adrian (ext)" userId="6e619ce3-2643-4cdf-9a13-b4c269650021" providerId="ADAL" clId="{AFCEEFB0-37BC-48D4-B200-D3706B2CD7FE}" dt="2021-04-19T15:32:07.325" v="8549" actId="208"/>
          <ac:cxnSpMkLst>
            <pc:docMk/>
            <pc:sldMk cId="751142945" sldId="896"/>
            <ac:cxnSpMk id="19" creationId="{8293009E-4854-4470-B8E2-3DC4CD6D61B6}"/>
          </ac:cxnSpMkLst>
        </pc:cxnChg>
        <pc:cxnChg chg="add mod">
          <ac:chgData name="Kisliuk, Adrian (ext)" userId="6e619ce3-2643-4cdf-9a13-b4c269650021" providerId="ADAL" clId="{AFCEEFB0-37BC-48D4-B200-D3706B2CD7FE}" dt="2021-04-19T15:32:07.325" v="8549" actId="208"/>
          <ac:cxnSpMkLst>
            <pc:docMk/>
            <pc:sldMk cId="751142945" sldId="896"/>
            <ac:cxnSpMk id="20" creationId="{A6407175-C7E5-448D-A3A8-95BD925B9D09}"/>
          </ac:cxnSpMkLst>
        </pc:cxnChg>
        <pc:cxnChg chg="add del mod">
          <ac:chgData name="Kisliuk, Adrian (ext)" userId="6e619ce3-2643-4cdf-9a13-b4c269650021" providerId="ADAL" clId="{AFCEEFB0-37BC-48D4-B200-D3706B2CD7FE}" dt="2021-04-19T12:50:12.624" v="7358" actId="478"/>
          <ac:cxnSpMkLst>
            <pc:docMk/>
            <pc:sldMk cId="751142945" sldId="896"/>
            <ac:cxnSpMk id="21" creationId="{804C236D-4414-4D5D-AA95-8311CCED48B6}"/>
          </ac:cxnSpMkLst>
        </pc:cxnChg>
        <pc:cxnChg chg="add mod">
          <ac:chgData name="Kisliuk, Adrian (ext)" userId="6e619ce3-2643-4cdf-9a13-b4c269650021" providerId="ADAL" clId="{AFCEEFB0-37BC-48D4-B200-D3706B2CD7FE}" dt="2021-04-19T15:32:07.325" v="8549" actId="208"/>
          <ac:cxnSpMkLst>
            <pc:docMk/>
            <pc:sldMk cId="751142945" sldId="896"/>
            <ac:cxnSpMk id="22" creationId="{9D9503B9-E686-45C6-9D2F-F2F4A40A645B}"/>
          </ac:cxnSpMkLst>
        </pc:cxnChg>
        <pc:cxnChg chg="add mod">
          <ac:chgData name="Kisliuk, Adrian (ext)" userId="6e619ce3-2643-4cdf-9a13-b4c269650021" providerId="ADAL" clId="{AFCEEFB0-37BC-48D4-B200-D3706B2CD7FE}" dt="2021-04-19T15:32:07.325" v="8549" actId="208"/>
          <ac:cxnSpMkLst>
            <pc:docMk/>
            <pc:sldMk cId="751142945" sldId="896"/>
            <ac:cxnSpMk id="23" creationId="{A35D87B6-6FCA-496F-953A-CAC965EE273D}"/>
          </ac:cxnSpMkLst>
        </pc:cxnChg>
        <pc:cxnChg chg="add mod">
          <ac:chgData name="Kisliuk, Adrian (ext)" userId="6e619ce3-2643-4cdf-9a13-b4c269650021" providerId="ADAL" clId="{AFCEEFB0-37BC-48D4-B200-D3706B2CD7FE}" dt="2021-04-19T15:32:07.325" v="8549" actId="208"/>
          <ac:cxnSpMkLst>
            <pc:docMk/>
            <pc:sldMk cId="751142945" sldId="896"/>
            <ac:cxnSpMk id="24" creationId="{CA8D0A4E-84B8-4CB8-AF08-771577F58C61}"/>
          </ac:cxnSpMkLst>
        </pc:cxnChg>
      </pc:sldChg>
      <pc:sldChg chg="add del">
        <pc:chgData name="Kisliuk, Adrian (ext)" userId="6e619ce3-2643-4cdf-9a13-b4c269650021" providerId="ADAL" clId="{AFCEEFB0-37BC-48D4-B200-D3706B2CD7FE}" dt="2021-04-19T12:15:22.836" v="6533" actId="47"/>
        <pc:sldMkLst>
          <pc:docMk/>
          <pc:sldMk cId="1524037342" sldId="896"/>
        </pc:sldMkLst>
      </pc:sldChg>
      <pc:sldChg chg="addSp delSp modSp add del mod modTransition modShow addCm delCm modCm">
        <pc:chgData name="Kisliuk, Adrian (ext)" userId="6e619ce3-2643-4cdf-9a13-b4c269650021" providerId="ADAL" clId="{AFCEEFB0-37BC-48D4-B200-D3706B2CD7FE}" dt="2021-04-21T08:51:48.605" v="16869" actId="47"/>
        <pc:sldMkLst>
          <pc:docMk/>
          <pc:sldMk cId="1860030197" sldId="897"/>
        </pc:sldMkLst>
        <pc:spChg chg="mod">
          <ac:chgData name="Kisliuk, Adrian (ext)" userId="6e619ce3-2643-4cdf-9a13-b4c269650021" providerId="ADAL" clId="{AFCEEFB0-37BC-48D4-B200-D3706B2CD7FE}" dt="2021-04-19T14:36:22.980" v="8294" actId="948"/>
          <ac:spMkLst>
            <pc:docMk/>
            <pc:sldMk cId="1860030197" sldId="897"/>
            <ac:spMk id="2" creationId="{DE936FAF-2E76-49E3-A26B-EE542092B6EF}"/>
          </ac:spMkLst>
        </pc:spChg>
        <pc:spChg chg="add del mod">
          <ac:chgData name="Kisliuk, Adrian (ext)" userId="6e619ce3-2643-4cdf-9a13-b4c269650021" providerId="ADAL" clId="{AFCEEFB0-37BC-48D4-B200-D3706B2CD7FE}" dt="2021-04-20T07:29:33.058" v="14810" actId="478"/>
          <ac:spMkLst>
            <pc:docMk/>
            <pc:sldMk cId="1860030197" sldId="897"/>
            <ac:spMk id="3" creationId="{F552FA42-C613-0840-B916-6AED505AB109}"/>
          </ac:spMkLst>
        </pc:spChg>
        <pc:spChg chg="del">
          <ac:chgData name="Kisliuk, Adrian (ext)" userId="6e619ce3-2643-4cdf-9a13-b4c269650021" providerId="ADAL" clId="{AFCEEFB0-37BC-48D4-B200-D3706B2CD7FE}" dt="2021-04-19T14:19:00.794" v="7571" actId="478"/>
          <ac:spMkLst>
            <pc:docMk/>
            <pc:sldMk cId="1860030197" sldId="897"/>
            <ac:spMk id="4" creationId="{00000000-0000-0000-0000-000000000000}"/>
          </ac:spMkLst>
        </pc:spChg>
        <pc:spChg chg="add del mod">
          <ac:chgData name="Kisliuk, Adrian (ext)" userId="6e619ce3-2643-4cdf-9a13-b4c269650021" providerId="ADAL" clId="{AFCEEFB0-37BC-48D4-B200-D3706B2CD7FE}" dt="2021-04-19T14:33:19.960" v="7735" actId="478"/>
          <ac:spMkLst>
            <pc:docMk/>
            <pc:sldMk cId="1860030197" sldId="897"/>
            <ac:spMk id="8" creationId="{29CDC6C2-A322-4D02-AD1E-BB63FAA1E033}"/>
          </ac:spMkLst>
        </pc:spChg>
        <pc:spChg chg="del mod">
          <ac:chgData name="Kisliuk, Adrian (ext)" userId="6e619ce3-2643-4cdf-9a13-b4c269650021" providerId="ADAL" clId="{AFCEEFB0-37BC-48D4-B200-D3706B2CD7FE}" dt="2021-04-19T13:05:55.206" v="7458" actId="478"/>
          <ac:spMkLst>
            <pc:docMk/>
            <pc:sldMk cId="1860030197" sldId="897"/>
            <ac:spMk id="9" creationId="{E47DD0DE-A828-4AB7-825A-737E1DF0525A}"/>
          </ac:spMkLst>
        </pc:spChg>
        <pc:spChg chg="del">
          <ac:chgData name="Kisliuk, Adrian (ext)" userId="6e619ce3-2643-4cdf-9a13-b4c269650021" providerId="ADAL" clId="{AFCEEFB0-37BC-48D4-B200-D3706B2CD7FE}" dt="2021-04-19T13:04:17.582" v="7432" actId="478"/>
          <ac:spMkLst>
            <pc:docMk/>
            <pc:sldMk cId="1860030197" sldId="897"/>
            <ac:spMk id="11" creationId="{64B2A5E0-6C42-49CE-A55C-84B9CAA1A74F}"/>
          </ac:spMkLst>
        </pc:spChg>
        <pc:spChg chg="add del mod">
          <ac:chgData name="Kisliuk, Adrian (ext)" userId="6e619ce3-2643-4cdf-9a13-b4c269650021" providerId="ADAL" clId="{AFCEEFB0-37BC-48D4-B200-D3706B2CD7FE}" dt="2021-04-19T14:33:19.960" v="7735" actId="478"/>
          <ac:spMkLst>
            <pc:docMk/>
            <pc:sldMk cId="1860030197" sldId="897"/>
            <ac:spMk id="12" creationId="{47AC58D5-21FC-43AB-A76A-AD4F00B034A0}"/>
          </ac:spMkLst>
        </pc:spChg>
        <pc:spChg chg="add del mod">
          <ac:chgData name="Kisliuk, Adrian (ext)" userId="6e619ce3-2643-4cdf-9a13-b4c269650021" providerId="ADAL" clId="{AFCEEFB0-37BC-48D4-B200-D3706B2CD7FE}" dt="2021-04-19T14:17:59.324" v="7553" actId="478"/>
          <ac:spMkLst>
            <pc:docMk/>
            <pc:sldMk cId="1860030197" sldId="897"/>
            <ac:spMk id="14" creationId="{E5431EA7-D5BD-4A39-920A-DB9C9E5CD0DB}"/>
          </ac:spMkLst>
        </pc:spChg>
        <pc:spChg chg="add mod">
          <ac:chgData name="Kisliuk, Adrian (ext)" userId="6e619ce3-2643-4cdf-9a13-b4c269650021" providerId="ADAL" clId="{AFCEEFB0-37BC-48D4-B200-D3706B2CD7FE}" dt="2021-04-19T14:36:30.250" v="8334" actId="1076"/>
          <ac:spMkLst>
            <pc:docMk/>
            <pc:sldMk cId="1860030197" sldId="897"/>
            <ac:spMk id="15" creationId="{A911831B-C326-4759-9EA7-6CD9E89CCC84}"/>
          </ac:spMkLst>
        </pc:spChg>
        <pc:spChg chg="add del mod">
          <ac:chgData name="Kisliuk, Adrian (ext)" userId="6e619ce3-2643-4cdf-9a13-b4c269650021" providerId="ADAL" clId="{AFCEEFB0-37BC-48D4-B200-D3706B2CD7FE}" dt="2021-04-19T14:19:27.994" v="7578" actId="478"/>
          <ac:spMkLst>
            <pc:docMk/>
            <pc:sldMk cId="1860030197" sldId="897"/>
            <ac:spMk id="16" creationId="{1B1BDDCD-CE1D-44D6-B83D-859B309A159D}"/>
          </ac:spMkLst>
        </pc:spChg>
        <pc:spChg chg="add del mod">
          <ac:chgData name="Kisliuk, Adrian (ext)" userId="6e619ce3-2643-4cdf-9a13-b4c269650021" providerId="ADAL" clId="{AFCEEFB0-37BC-48D4-B200-D3706B2CD7FE}" dt="2021-04-19T14:19:28.665" v="7579" actId="478"/>
          <ac:spMkLst>
            <pc:docMk/>
            <pc:sldMk cId="1860030197" sldId="897"/>
            <ac:spMk id="17" creationId="{876E7FB1-0399-4119-A000-DA4642967EDE}"/>
          </ac:spMkLst>
        </pc:spChg>
        <pc:spChg chg="add del mod">
          <ac:chgData name="Kisliuk, Adrian (ext)" userId="6e619ce3-2643-4cdf-9a13-b4c269650021" providerId="ADAL" clId="{AFCEEFB0-37BC-48D4-B200-D3706B2CD7FE}" dt="2021-04-19T14:33:19.960" v="7735" actId="478"/>
          <ac:spMkLst>
            <pc:docMk/>
            <pc:sldMk cId="1860030197" sldId="897"/>
            <ac:spMk id="18" creationId="{68CAF663-9A80-48B9-912D-66201D35C885}"/>
          </ac:spMkLst>
        </pc:spChg>
        <pc:spChg chg="add del mod">
          <ac:chgData name="Kisliuk, Adrian (ext)" userId="6e619ce3-2643-4cdf-9a13-b4c269650021" providerId="ADAL" clId="{AFCEEFB0-37BC-48D4-B200-D3706B2CD7FE}" dt="2021-04-19T14:33:19.960" v="7735" actId="478"/>
          <ac:spMkLst>
            <pc:docMk/>
            <pc:sldMk cId="1860030197" sldId="897"/>
            <ac:spMk id="19" creationId="{C891E02F-B3EF-4203-8CD0-B744D597EA81}"/>
          </ac:spMkLst>
        </pc:spChg>
        <pc:spChg chg="add mod">
          <ac:chgData name="Kisliuk, Adrian (ext)" userId="6e619ce3-2643-4cdf-9a13-b4c269650021" providerId="ADAL" clId="{AFCEEFB0-37BC-48D4-B200-D3706B2CD7FE}" dt="2021-04-20T08:07:31.116" v="15503" actId="20577"/>
          <ac:spMkLst>
            <pc:docMk/>
            <pc:sldMk cId="1860030197" sldId="897"/>
            <ac:spMk id="20" creationId="{43FDF2E0-5A39-4198-ACA0-14849CE315F3}"/>
          </ac:spMkLst>
        </pc:spChg>
        <pc:spChg chg="add mod">
          <ac:chgData name="Kisliuk, Adrian (ext)" userId="6e619ce3-2643-4cdf-9a13-b4c269650021" providerId="ADAL" clId="{AFCEEFB0-37BC-48D4-B200-D3706B2CD7FE}" dt="2021-04-20T08:09:22.886" v="15531" actId="20577"/>
          <ac:spMkLst>
            <pc:docMk/>
            <pc:sldMk cId="1860030197" sldId="897"/>
            <ac:spMk id="21" creationId="{330723CA-7BFA-4C99-B24C-564DDEFB599E}"/>
          </ac:spMkLst>
        </pc:spChg>
        <pc:spChg chg="add del mod">
          <ac:chgData name="Kisliuk, Adrian (ext)" userId="6e619ce3-2643-4cdf-9a13-b4c269650021" providerId="ADAL" clId="{AFCEEFB0-37BC-48D4-B200-D3706B2CD7FE}" dt="2021-04-19T14:26:34.924" v="7665"/>
          <ac:spMkLst>
            <pc:docMk/>
            <pc:sldMk cId="1860030197" sldId="897"/>
            <ac:spMk id="22" creationId="{95DCFCC8-5B7A-4EBE-AA5A-665D144E37E2}"/>
          </ac:spMkLst>
        </pc:spChg>
        <pc:spChg chg="add mod">
          <ac:chgData name="Kisliuk, Adrian (ext)" userId="6e619ce3-2643-4cdf-9a13-b4c269650021" providerId="ADAL" clId="{AFCEEFB0-37BC-48D4-B200-D3706B2CD7FE}" dt="2021-04-20T08:10:02.446" v="15534" actId="20577"/>
          <ac:spMkLst>
            <pc:docMk/>
            <pc:sldMk cId="1860030197" sldId="897"/>
            <ac:spMk id="22" creationId="{C564A8AC-088E-402E-95AB-97189B89DDE1}"/>
          </ac:spMkLst>
        </pc:spChg>
        <pc:spChg chg="add mod">
          <ac:chgData name="Kisliuk, Adrian (ext)" userId="6e619ce3-2643-4cdf-9a13-b4c269650021" providerId="ADAL" clId="{AFCEEFB0-37BC-48D4-B200-D3706B2CD7FE}" dt="2021-04-20T07:29:33.927" v="14811" actId="554"/>
          <ac:spMkLst>
            <pc:docMk/>
            <pc:sldMk cId="1860030197" sldId="897"/>
            <ac:spMk id="23" creationId="{2A4A1DC2-C135-4D7B-8626-D249CD4E6F16}"/>
          </ac:spMkLst>
        </pc:spChg>
        <pc:spChg chg="add del mod modVis">
          <ac:chgData name="Kisliuk, Adrian (ext)" userId="6e619ce3-2643-4cdf-9a13-b4c269650021" providerId="ADAL" clId="{AFCEEFB0-37BC-48D4-B200-D3706B2CD7FE}" dt="2021-04-19T14:36:00.539" v="7811"/>
          <ac:spMkLst>
            <pc:docMk/>
            <pc:sldMk cId="1860030197" sldId="897"/>
            <ac:spMk id="24" creationId="{34CDC6DA-1C56-4077-83A6-DF02A5E41A73}"/>
          </ac:spMkLst>
        </pc:spChg>
        <pc:spChg chg="add mod">
          <ac:chgData name="Kisliuk, Adrian (ext)" userId="6e619ce3-2643-4cdf-9a13-b4c269650021" providerId="ADAL" clId="{AFCEEFB0-37BC-48D4-B200-D3706B2CD7FE}" dt="2021-04-19T14:36:30.250" v="8334" actId="1076"/>
          <ac:spMkLst>
            <pc:docMk/>
            <pc:sldMk cId="1860030197" sldId="897"/>
            <ac:spMk id="25" creationId="{8C99B033-DD94-4853-A461-068556DFA496}"/>
          </ac:spMkLst>
        </pc:spChg>
        <pc:spChg chg="add mod">
          <ac:chgData name="Kisliuk, Adrian (ext)" userId="6e619ce3-2643-4cdf-9a13-b4c269650021" providerId="ADAL" clId="{AFCEEFB0-37BC-48D4-B200-D3706B2CD7FE}" dt="2021-04-19T14:36:30.250" v="8334" actId="1076"/>
          <ac:spMkLst>
            <pc:docMk/>
            <pc:sldMk cId="1860030197" sldId="897"/>
            <ac:spMk id="26" creationId="{BDAE0176-F24E-404C-A8B6-D8CE61CBC375}"/>
          </ac:spMkLst>
        </pc:spChg>
        <pc:spChg chg="add mod">
          <ac:chgData name="Kisliuk, Adrian (ext)" userId="6e619ce3-2643-4cdf-9a13-b4c269650021" providerId="ADAL" clId="{AFCEEFB0-37BC-48D4-B200-D3706B2CD7FE}" dt="2021-04-19T14:36:30.250" v="8334" actId="1076"/>
          <ac:spMkLst>
            <pc:docMk/>
            <pc:sldMk cId="1860030197" sldId="897"/>
            <ac:spMk id="27" creationId="{21E6C608-F6A2-4019-AE79-97DC81E174C3}"/>
          </ac:spMkLst>
        </pc:spChg>
        <pc:spChg chg="add del mod modVis">
          <ac:chgData name="Kisliuk, Adrian (ext)" userId="6e619ce3-2643-4cdf-9a13-b4c269650021" providerId="ADAL" clId="{AFCEEFB0-37BC-48D4-B200-D3706B2CD7FE}" dt="2021-04-19T14:36:01.311" v="7852"/>
          <ac:spMkLst>
            <pc:docMk/>
            <pc:sldMk cId="1860030197" sldId="897"/>
            <ac:spMk id="28" creationId="{FA90AB0A-57A7-4D6C-A94B-04580AE3FD89}"/>
          </ac:spMkLst>
        </pc:spChg>
        <pc:spChg chg="add del mod">
          <ac:chgData name="Kisliuk, Adrian (ext)" userId="6e619ce3-2643-4cdf-9a13-b4c269650021" providerId="ADAL" clId="{AFCEEFB0-37BC-48D4-B200-D3706B2CD7FE}" dt="2021-04-20T07:27:58.979" v="14771" actId="478"/>
          <ac:spMkLst>
            <pc:docMk/>
            <pc:sldMk cId="1860030197" sldId="897"/>
            <ac:spMk id="29" creationId="{9B519732-585D-482E-ABDB-9EDBB022E627}"/>
          </ac:spMkLst>
        </pc:spChg>
        <pc:spChg chg="add del mod">
          <ac:chgData name="Kisliuk, Adrian (ext)" userId="6e619ce3-2643-4cdf-9a13-b4c269650021" providerId="ADAL" clId="{AFCEEFB0-37BC-48D4-B200-D3706B2CD7FE}" dt="2021-04-19T14:33:05.365" v="7730" actId="478"/>
          <ac:spMkLst>
            <pc:docMk/>
            <pc:sldMk cId="1860030197" sldId="897"/>
            <ac:spMk id="30" creationId="{E3351919-7B3E-4A6C-820C-D7DBE7B6F678}"/>
          </ac:spMkLst>
        </pc:spChg>
        <pc:spChg chg="add mod">
          <ac:chgData name="Kisliuk, Adrian (ext)" userId="6e619ce3-2643-4cdf-9a13-b4c269650021" providerId="ADAL" clId="{AFCEEFB0-37BC-48D4-B200-D3706B2CD7FE}" dt="2021-04-19T14:36:30.250" v="8334" actId="1076"/>
          <ac:spMkLst>
            <pc:docMk/>
            <pc:sldMk cId="1860030197" sldId="897"/>
            <ac:spMk id="31" creationId="{47216323-F6A4-408A-BD6B-7B37CFD0BE03}"/>
          </ac:spMkLst>
        </pc:spChg>
        <pc:spChg chg="add mod">
          <ac:chgData name="Kisliuk, Adrian (ext)" userId="6e619ce3-2643-4cdf-9a13-b4c269650021" providerId="ADAL" clId="{AFCEEFB0-37BC-48D4-B200-D3706B2CD7FE}" dt="2021-04-19T14:36:30.250" v="8334" actId="1076"/>
          <ac:spMkLst>
            <pc:docMk/>
            <pc:sldMk cId="1860030197" sldId="897"/>
            <ac:spMk id="32" creationId="{7F986206-E4A8-49C8-A03A-CF21EAD26520}"/>
          </ac:spMkLst>
        </pc:spChg>
        <pc:spChg chg="add mod">
          <ac:chgData name="Kisliuk, Adrian (ext)" userId="6e619ce3-2643-4cdf-9a13-b4c269650021" providerId="ADAL" clId="{AFCEEFB0-37BC-48D4-B200-D3706B2CD7FE}" dt="2021-04-19T14:36:30.250" v="8334" actId="1076"/>
          <ac:spMkLst>
            <pc:docMk/>
            <pc:sldMk cId="1860030197" sldId="897"/>
            <ac:spMk id="33" creationId="{06756B0A-0567-489A-AD67-DF1BFBF9EBB6}"/>
          </ac:spMkLst>
        </pc:spChg>
        <pc:spChg chg="add mod">
          <ac:chgData name="Kisliuk, Adrian (ext)" userId="6e619ce3-2643-4cdf-9a13-b4c269650021" providerId="ADAL" clId="{AFCEEFB0-37BC-48D4-B200-D3706B2CD7FE}" dt="2021-04-19T14:38:25.255" v="8352" actId="403"/>
          <ac:spMkLst>
            <pc:docMk/>
            <pc:sldMk cId="1860030197" sldId="897"/>
            <ac:spMk id="34" creationId="{F40407E4-5B84-4D3F-A4EB-092109CB6C72}"/>
          </ac:spMkLst>
        </pc:spChg>
        <pc:spChg chg="add mod">
          <ac:chgData name="Kisliuk, Adrian (ext)" userId="6e619ce3-2643-4cdf-9a13-b4c269650021" providerId="ADAL" clId="{AFCEEFB0-37BC-48D4-B200-D3706B2CD7FE}" dt="2021-04-19T14:38:25.255" v="8352" actId="403"/>
          <ac:spMkLst>
            <pc:docMk/>
            <pc:sldMk cId="1860030197" sldId="897"/>
            <ac:spMk id="35" creationId="{9531B7BA-0417-40B2-B889-2C9A890F2D90}"/>
          </ac:spMkLst>
        </pc:spChg>
        <pc:spChg chg="add mod">
          <ac:chgData name="Kisliuk, Adrian (ext)" userId="6e619ce3-2643-4cdf-9a13-b4c269650021" providerId="ADAL" clId="{AFCEEFB0-37BC-48D4-B200-D3706B2CD7FE}" dt="2021-04-19T14:38:25.255" v="8352" actId="403"/>
          <ac:spMkLst>
            <pc:docMk/>
            <pc:sldMk cId="1860030197" sldId="897"/>
            <ac:spMk id="36" creationId="{912B4A3E-66BF-4430-9E45-29F58AB66340}"/>
          </ac:spMkLst>
        </pc:spChg>
        <pc:spChg chg="add del mod modVis">
          <ac:chgData name="Kisliuk, Adrian (ext)" userId="6e619ce3-2643-4cdf-9a13-b4c269650021" providerId="ADAL" clId="{AFCEEFB0-37BC-48D4-B200-D3706B2CD7FE}" dt="2021-04-19T14:36:02.935" v="7898"/>
          <ac:spMkLst>
            <pc:docMk/>
            <pc:sldMk cId="1860030197" sldId="897"/>
            <ac:spMk id="37" creationId="{3662C585-C7D8-4CC6-A73A-468DAA47A4DB}"/>
          </ac:spMkLst>
        </pc:spChg>
        <pc:spChg chg="add del mod modVis">
          <ac:chgData name="Kisliuk, Adrian (ext)" userId="6e619ce3-2643-4cdf-9a13-b4c269650021" providerId="ADAL" clId="{AFCEEFB0-37BC-48D4-B200-D3706B2CD7FE}" dt="2021-04-19T14:36:04.413" v="7943"/>
          <ac:spMkLst>
            <pc:docMk/>
            <pc:sldMk cId="1860030197" sldId="897"/>
            <ac:spMk id="38" creationId="{D2B2FA26-240E-4979-8C6E-6946A766A617}"/>
          </ac:spMkLst>
        </pc:spChg>
        <pc:spChg chg="add del mod modVis">
          <ac:chgData name="Kisliuk, Adrian (ext)" userId="6e619ce3-2643-4cdf-9a13-b4c269650021" providerId="ADAL" clId="{AFCEEFB0-37BC-48D4-B200-D3706B2CD7FE}" dt="2021-04-19T14:36:05.646" v="7985"/>
          <ac:spMkLst>
            <pc:docMk/>
            <pc:sldMk cId="1860030197" sldId="897"/>
            <ac:spMk id="39" creationId="{22F7443C-7FD5-4E5E-ACF8-FDAEB88FAC30}"/>
          </ac:spMkLst>
        </pc:spChg>
        <pc:spChg chg="add del mod modVis">
          <ac:chgData name="Kisliuk, Adrian (ext)" userId="6e619ce3-2643-4cdf-9a13-b4c269650021" providerId="ADAL" clId="{AFCEEFB0-37BC-48D4-B200-D3706B2CD7FE}" dt="2021-04-19T14:36:06.842" v="8028"/>
          <ac:spMkLst>
            <pc:docMk/>
            <pc:sldMk cId="1860030197" sldId="897"/>
            <ac:spMk id="40" creationId="{49B4135E-29E7-435B-BEBF-3E5D904DD89C}"/>
          </ac:spMkLst>
        </pc:spChg>
        <pc:spChg chg="del mod">
          <ac:chgData name="Kisliuk, Adrian (ext)" userId="6e619ce3-2643-4cdf-9a13-b4c269650021" providerId="ADAL" clId="{AFCEEFB0-37BC-48D4-B200-D3706B2CD7FE}" dt="2021-04-19T14:33:33.895" v="7737" actId="478"/>
          <ac:spMkLst>
            <pc:docMk/>
            <pc:sldMk cId="1860030197" sldId="897"/>
            <ac:spMk id="41" creationId="{E93AE095-6BBA-4A81-A7A1-FFD7B8304500}"/>
          </ac:spMkLst>
        </pc:spChg>
        <pc:spChg chg="add del mod modVis">
          <ac:chgData name="Kisliuk, Adrian (ext)" userId="6e619ce3-2643-4cdf-9a13-b4c269650021" providerId="ADAL" clId="{AFCEEFB0-37BC-48D4-B200-D3706B2CD7FE}" dt="2021-04-19T14:36:10.223" v="8069"/>
          <ac:spMkLst>
            <pc:docMk/>
            <pc:sldMk cId="1860030197" sldId="897"/>
            <ac:spMk id="42" creationId="{109646EF-8F29-4361-9AD7-2717937A7688}"/>
          </ac:spMkLst>
        </pc:spChg>
        <pc:spChg chg="add del mod modVis">
          <ac:chgData name="Kisliuk, Adrian (ext)" userId="6e619ce3-2643-4cdf-9a13-b4c269650021" providerId="ADAL" clId="{AFCEEFB0-37BC-48D4-B200-D3706B2CD7FE}" dt="2021-04-19T14:36:11.503" v="8114"/>
          <ac:spMkLst>
            <pc:docMk/>
            <pc:sldMk cId="1860030197" sldId="897"/>
            <ac:spMk id="43" creationId="{55FF140A-85D4-47BB-B4D4-50DB8DED7FA1}"/>
          </ac:spMkLst>
        </pc:spChg>
        <pc:spChg chg="del mod">
          <ac:chgData name="Kisliuk, Adrian (ext)" userId="6e619ce3-2643-4cdf-9a13-b4c269650021" providerId="ADAL" clId="{AFCEEFB0-37BC-48D4-B200-D3706B2CD7FE}" dt="2021-04-20T07:27:58.979" v="14771" actId="478"/>
          <ac:spMkLst>
            <pc:docMk/>
            <pc:sldMk cId="1860030197" sldId="897"/>
            <ac:spMk id="44" creationId="{5BE3AE2B-4A0E-4204-B25A-B404EC4FDDA8}"/>
          </ac:spMkLst>
        </pc:spChg>
        <pc:spChg chg="add del mod modVis">
          <ac:chgData name="Kisliuk, Adrian (ext)" userId="6e619ce3-2643-4cdf-9a13-b4c269650021" providerId="ADAL" clId="{AFCEEFB0-37BC-48D4-B200-D3706B2CD7FE}" dt="2021-04-19T14:36:12.499" v="8155"/>
          <ac:spMkLst>
            <pc:docMk/>
            <pc:sldMk cId="1860030197" sldId="897"/>
            <ac:spMk id="45" creationId="{F995E332-E393-41DA-9077-4FC64B6A21AB}"/>
          </ac:spMkLst>
        </pc:spChg>
        <pc:spChg chg="add del mod modVis">
          <ac:chgData name="Kisliuk, Adrian (ext)" userId="6e619ce3-2643-4cdf-9a13-b4c269650021" providerId="ADAL" clId="{AFCEEFB0-37BC-48D4-B200-D3706B2CD7FE}" dt="2021-04-19T14:36:15.243" v="8202"/>
          <ac:spMkLst>
            <pc:docMk/>
            <pc:sldMk cId="1860030197" sldId="897"/>
            <ac:spMk id="46" creationId="{8F414847-0460-47A0-9539-56A03224CCCE}"/>
          </ac:spMkLst>
        </pc:spChg>
        <pc:spChg chg="add del mod modVis">
          <ac:chgData name="Kisliuk, Adrian (ext)" userId="6e619ce3-2643-4cdf-9a13-b4c269650021" providerId="ADAL" clId="{AFCEEFB0-37BC-48D4-B200-D3706B2CD7FE}" dt="2021-04-19T14:36:19.914" v="8243"/>
          <ac:spMkLst>
            <pc:docMk/>
            <pc:sldMk cId="1860030197" sldId="897"/>
            <ac:spMk id="47" creationId="{B646E296-E33A-4B1F-8901-4FECB5FF84B1}"/>
          </ac:spMkLst>
        </pc:spChg>
        <pc:spChg chg="add del mod modVis">
          <ac:chgData name="Kisliuk, Adrian (ext)" userId="6e619ce3-2643-4cdf-9a13-b4c269650021" providerId="ADAL" clId="{AFCEEFB0-37BC-48D4-B200-D3706B2CD7FE}" dt="2021-04-19T14:36:21.523" v="8290"/>
          <ac:spMkLst>
            <pc:docMk/>
            <pc:sldMk cId="1860030197" sldId="897"/>
            <ac:spMk id="48" creationId="{90033FBB-7877-401C-BD7C-04B9F3FAAD28}"/>
          </ac:spMkLst>
        </pc:spChg>
        <pc:spChg chg="add del mod modVis">
          <ac:chgData name="Kisliuk, Adrian (ext)" userId="6e619ce3-2643-4cdf-9a13-b4c269650021" providerId="ADAL" clId="{AFCEEFB0-37BC-48D4-B200-D3706B2CD7FE}" dt="2021-04-19T14:36:23.009" v="8331"/>
          <ac:spMkLst>
            <pc:docMk/>
            <pc:sldMk cId="1860030197" sldId="897"/>
            <ac:spMk id="49" creationId="{266328B3-1C99-40B7-95F2-5503146254BD}"/>
          </ac:spMkLst>
        </pc:spChg>
        <pc:graphicFrameChg chg="mod">
          <ac:chgData name="Kisliuk, Adrian (ext)" userId="6e619ce3-2643-4cdf-9a13-b4c269650021" providerId="ADAL" clId="{AFCEEFB0-37BC-48D4-B200-D3706B2CD7FE}" dt="2021-04-19T14:36:23.011" v="8333"/>
          <ac:graphicFrameMkLst>
            <pc:docMk/>
            <pc:sldMk cId="1860030197" sldId="897"/>
            <ac:graphicFrameMk id="6" creationId="{580DFCAE-76C4-413B-B499-F7B76F1E13AF}"/>
          </ac:graphicFrameMkLst>
        </pc:graphicFrameChg>
        <pc:picChg chg="del">
          <ac:chgData name="Kisliuk, Adrian (ext)" userId="6e619ce3-2643-4cdf-9a13-b4c269650021" providerId="ADAL" clId="{AFCEEFB0-37BC-48D4-B200-D3706B2CD7FE}" dt="2021-04-19T13:02:53.734" v="7427" actId="478"/>
          <ac:picMkLst>
            <pc:docMk/>
            <pc:sldMk cId="1860030197" sldId="897"/>
            <ac:picMk id="10" creationId="{510FC355-F626-482B-B4E4-80308B774650}"/>
          </ac:picMkLst>
        </pc:picChg>
        <pc:picChg chg="add del mod">
          <ac:chgData name="Kisliuk, Adrian (ext)" userId="6e619ce3-2643-4cdf-9a13-b4c269650021" providerId="ADAL" clId="{AFCEEFB0-37BC-48D4-B200-D3706B2CD7FE}" dt="2021-04-19T14:26:48.528" v="7669" actId="478"/>
          <ac:picMkLst>
            <pc:docMk/>
            <pc:sldMk cId="1860030197" sldId="897"/>
            <ac:picMk id="13" creationId="{2C5C7E80-188C-46A5-A124-F6FAC2FFF1A4}"/>
          </ac:picMkLst>
        </pc:picChg>
        <pc:cxnChg chg="add mod">
          <ac:chgData name="Kisliuk, Adrian (ext)" userId="6e619ce3-2643-4cdf-9a13-b4c269650021" providerId="ADAL" clId="{AFCEEFB0-37BC-48D4-B200-D3706B2CD7FE}" dt="2021-04-19T14:36:30.250" v="8334" actId="1076"/>
          <ac:cxnSpMkLst>
            <pc:docMk/>
            <pc:sldMk cId="1860030197" sldId="897"/>
            <ac:cxnSpMk id="5" creationId="{64F4978D-D77F-42AA-88F1-9FC844028933}"/>
          </ac:cxnSpMkLst>
        </pc:cxnChg>
      </pc:sldChg>
      <pc:sldChg chg="addSp delSp modSp new add del mod modTransition modShow">
        <pc:chgData name="Kisliuk, Adrian (ext)" userId="6e619ce3-2643-4cdf-9a13-b4c269650021" providerId="ADAL" clId="{AFCEEFB0-37BC-48D4-B200-D3706B2CD7FE}" dt="2021-04-21T08:34:08.162" v="16558" actId="2696"/>
        <pc:sldMkLst>
          <pc:docMk/>
          <pc:sldMk cId="1682516795" sldId="898"/>
        </pc:sldMkLst>
        <pc:spChg chg="del">
          <ac:chgData name="Kisliuk, Adrian (ext)" userId="6e619ce3-2643-4cdf-9a13-b4c269650021" providerId="ADAL" clId="{AFCEEFB0-37BC-48D4-B200-D3706B2CD7FE}" dt="2021-04-19T14:13:58.408" v="7464" actId="478"/>
          <ac:spMkLst>
            <pc:docMk/>
            <pc:sldMk cId="1682516795" sldId="898"/>
            <ac:spMk id="3" creationId="{DE3F2A69-E6E4-4071-945D-00E2B5793731}"/>
          </ac:spMkLst>
        </pc:spChg>
        <pc:spChg chg="add mod">
          <ac:chgData name="Kisliuk, Adrian (ext)" userId="6e619ce3-2643-4cdf-9a13-b4c269650021" providerId="ADAL" clId="{AFCEEFB0-37BC-48D4-B200-D3706B2CD7FE}" dt="2021-04-19T14:15:49.005" v="7481" actId="1076"/>
          <ac:spMkLst>
            <pc:docMk/>
            <pc:sldMk cId="1682516795" sldId="898"/>
            <ac:spMk id="4" creationId="{10C64D82-3CCC-406A-83CB-067FECCE51A4}"/>
          </ac:spMkLst>
        </pc:spChg>
        <pc:spChg chg="add mod">
          <ac:chgData name="Kisliuk, Adrian (ext)" userId="6e619ce3-2643-4cdf-9a13-b4c269650021" providerId="ADAL" clId="{AFCEEFB0-37BC-48D4-B200-D3706B2CD7FE}" dt="2021-04-19T18:39:39.784" v="9377" actId="1076"/>
          <ac:spMkLst>
            <pc:docMk/>
            <pc:sldMk cId="1682516795" sldId="898"/>
            <ac:spMk id="5" creationId="{EE2BA103-A6DA-4DAD-AA4C-EC11E48F7B96}"/>
          </ac:spMkLst>
        </pc:spChg>
        <pc:spChg chg="add mod">
          <ac:chgData name="Kisliuk, Adrian (ext)" userId="6e619ce3-2643-4cdf-9a13-b4c269650021" providerId="ADAL" clId="{AFCEEFB0-37BC-48D4-B200-D3706B2CD7FE}" dt="2021-04-19T18:39:40.884" v="9379" actId="1076"/>
          <ac:spMkLst>
            <pc:docMk/>
            <pc:sldMk cId="1682516795" sldId="898"/>
            <ac:spMk id="6" creationId="{589D728C-C942-494B-8D0E-34A0C6C3E599}"/>
          </ac:spMkLst>
        </pc:spChg>
        <pc:spChg chg="add mod">
          <ac:chgData name="Kisliuk, Adrian (ext)" userId="6e619ce3-2643-4cdf-9a13-b4c269650021" providerId="ADAL" clId="{AFCEEFB0-37BC-48D4-B200-D3706B2CD7FE}" dt="2021-04-19T14:15:49.005" v="7481" actId="1076"/>
          <ac:spMkLst>
            <pc:docMk/>
            <pc:sldMk cId="1682516795" sldId="898"/>
            <ac:spMk id="7" creationId="{9C957F35-7224-4D24-8E9C-3177F8DF6457}"/>
          </ac:spMkLst>
        </pc:spChg>
        <pc:spChg chg="add mod">
          <ac:chgData name="Kisliuk, Adrian (ext)" userId="6e619ce3-2643-4cdf-9a13-b4c269650021" providerId="ADAL" clId="{AFCEEFB0-37BC-48D4-B200-D3706B2CD7FE}" dt="2021-04-19T14:16:03.501" v="7485" actId="404"/>
          <ac:spMkLst>
            <pc:docMk/>
            <pc:sldMk cId="1682516795" sldId="898"/>
            <ac:spMk id="8" creationId="{352DA480-5DBF-4C89-A0B5-98DB03348371}"/>
          </ac:spMkLst>
        </pc:spChg>
        <pc:spChg chg="add mod">
          <ac:chgData name="Kisliuk, Adrian (ext)" userId="6e619ce3-2643-4cdf-9a13-b4c269650021" providerId="ADAL" clId="{AFCEEFB0-37BC-48D4-B200-D3706B2CD7FE}" dt="2021-04-19T14:16:11.427" v="7491" actId="20577"/>
          <ac:spMkLst>
            <pc:docMk/>
            <pc:sldMk cId="1682516795" sldId="898"/>
            <ac:spMk id="9" creationId="{1389F2AB-24B8-4E19-A6A3-EBDC5A1D51E9}"/>
          </ac:spMkLst>
        </pc:spChg>
        <pc:spChg chg="add mod">
          <ac:chgData name="Kisliuk, Adrian (ext)" userId="6e619ce3-2643-4cdf-9a13-b4c269650021" providerId="ADAL" clId="{AFCEEFB0-37BC-48D4-B200-D3706B2CD7FE}" dt="2021-04-19T14:16:23.748" v="7501" actId="20577"/>
          <ac:spMkLst>
            <pc:docMk/>
            <pc:sldMk cId="1682516795" sldId="898"/>
            <ac:spMk id="10" creationId="{91E4D35B-AAE5-4816-9AFD-3FCDAAEA16C0}"/>
          </ac:spMkLst>
        </pc:spChg>
        <pc:spChg chg="add mod">
          <ac:chgData name="Kisliuk, Adrian (ext)" userId="6e619ce3-2643-4cdf-9a13-b4c269650021" providerId="ADAL" clId="{AFCEEFB0-37BC-48D4-B200-D3706B2CD7FE}" dt="2021-04-19T14:16:49.859" v="7548" actId="1076"/>
          <ac:spMkLst>
            <pc:docMk/>
            <pc:sldMk cId="1682516795" sldId="898"/>
            <ac:spMk id="11" creationId="{4C04AAA0-FE46-48CE-A744-D53A1CA85CC2}"/>
          </ac:spMkLst>
        </pc:spChg>
      </pc:sldChg>
      <pc:sldChg chg="add del">
        <pc:chgData name="Kisliuk, Adrian (ext)" userId="6e619ce3-2643-4cdf-9a13-b4c269650021" providerId="ADAL" clId="{AFCEEFB0-37BC-48D4-B200-D3706B2CD7FE}" dt="2021-04-21T09:05:25.363" v="17046" actId="47"/>
        <pc:sldMkLst>
          <pc:docMk/>
          <pc:sldMk cId="4142496925" sldId="898"/>
        </pc:sldMkLst>
      </pc:sldChg>
      <pc:sldChg chg="modSp add del mod">
        <pc:chgData name="Kisliuk, Adrian (ext)" userId="6e619ce3-2643-4cdf-9a13-b4c269650021" providerId="ADAL" clId="{AFCEEFB0-37BC-48D4-B200-D3706B2CD7FE}" dt="2021-04-19T14:37:13.483" v="8347" actId="47"/>
        <pc:sldMkLst>
          <pc:docMk/>
          <pc:sldMk cId="3535918524" sldId="899"/>
        </pc:sldMkLst>
        <pc:spChg chg="mod">
          <ac:chgData name="Kisliuk, Adrian (ext)" userId="6e619ce3-2643-4cdf-9a13-b4c269650021" providerId="ADAL" clId="{AFCEEFB0-37BC-48D4-B200-D3706B2CD7FE}" dt="2021-04-19T14:24:15.285" v="7660" actId="207"/>
          <ac:spMkLst>
            <pc:docMk/>
            <pc:sldMk cId="3535918524" sldId="899"/>
            <ac:spMk id="19" creationId="{C891E02F-B3EF-4203-8CD0-B744D597EA81}"/>
          </ac:spMkLst>
        </pc:spChg>
      </pc:sldChg>
      <pc:sldChg chg="delSp add del mod">
        <pc:chgData name="Kisliuk, Adrian (ext)" userId="6e619ce3-2643-4cdf-9a13-b4c269650021" providerId="ADAL" clId="{AFCEEFB0-37BC-48D4-B200-D3706B2CD7FE}" dt="2021-04-21T08:51:55.242" v="16871" actId="47"/>
        <pc:sldMkLst>
          <pc:docMk/>
          <pc:sldMk cId="284705158" sldId="900"/>
        </pc:sldMkLst>
        <pc:cxnChg chg="del">
          <ac:chgData name="Kisliuk, Adrian (ext)" userId="6e619ce3-2643-4cdf-9a13-b4c269650021" providerId="ADAL" clId="{AFCEEFB0-37BC-48D4-B200-D3706B2CD7FE}" dt="2021-04-19T16:32:33.443" v="9346" actId="478"/>
          <ac:cxnSpMkLst>
            <pc:docMk/>
            <pc:sldMk cId="284705158" sldId="900"/>
            <ac:cxnSpMk id="5" creationId="{64F4978D-D77F-42AA-88F1-9FC844028933}"/>
          </ac:cxnSpMkLst>
        </pc:cxnChg>
      </pc:sldChg>
      <pc:sldChg chg="modSp add del mod ord addCm modCm">
        <pc:chgData name="Kisliuk, Adrian (ext)" userId="6e619ce3-2643-4cdf-9a13-b4c269650021" providerId="ADAL" clId="{AFCEEFB0-37BC-48D4-B200-D3706B2CD7FE}" dt="2021-04-19T21:41:06.107" v="12610" actId="2696"/>
        <pc:sldMkLst>
          <pc:docMk/>
          <pc:sldMk cId="2645026062" sldId="901"/>
        </pc:sldMkLst>
        <pc:spChg chg="mod">
          <ac:chgData name="Kisliuk, Adrian (ext)" userId="6e619ce3-2643-4cdf-9a13-b4c269650021" providerId="ADAL" clId="{AFCEEFB0-37BC-48D4-B200-D3706B2CD7FE}" dt="2021-04-19T15:23:53.961" v="8418" actId="20577"/>
          <ac:spMkLst>
            <pc:docMk/>
            <pc:sldMk cId="2645026062" sldId="901"/>
            <ac:spMk id="10" creationId="{F4634E1B-2972-4D72-9658-99BB6BD08AA7}"/>
          </ac:spMkLst>
        </pc:spChg>
      </pc:sldChg>
      <pc:sldChg chg="add del modCm">
        <pc:chgData name="Kisliuk, Adrian (ext)" userId="6e619ce3-2643-4cdf-9a13-b4c269650021" providerId="ADAL" clId="{AFCEEFB0-37BC-48D4-B200-D3706B2CD7FE}" dt="2021-04-21T09:05:25.363" v="17046" actId="47"/>
        <pc:sldMkLst>
          <pc:docMk/>
          <pc:sldMk cId="4090260096" sldId="901"/>
        </pc:sldMkLst>
      </pc:sldChg>
      <pc:sldChg chg="addSp delSp modSp add del mod addCm delCm">
        <pc:chgData name="Kisliuk, Adrian (ext)" userId="6e619ce3-2643-4cdf-9a13-b4c269650021" providerId="ADAL" clId="{AFCEEFB0-37BC-48D4-B200-D3706B2CD7FE}" dt="2021-04-21T12:31:52.523" v="20448" actId="47"/>
        <pc:sldMkLst>
          <pc:docMk/>
          <pc:sldMk cId="915678809" sldId="902"/>
        </pc:sldMkLst>
        <pc:spChg chg="mod">
          <ac:chgData name="Kisliuk, Adrian (ext)" userId="6e619ce3-2643-4cdf-9a13-b4c269650021" providerId="ADAL" clId="{AFCEEFB0-37BC-48D4-B200-D3706B2CD7FE}" dt="2021-04-20T07:01:44.516" v="14426" actId="1076"/>
          <ac:spMkLst>
            <pc:docMk/>
            <pc:sldMk cId="915678809" sldId="902"/>
            <ac:spMk id="2" creationId="{DE936FAF-2E76-49E3-A26B-EE542092B6EF}"/>
          </ac:spMkLst>
        </pc:spChg>
        <pc:spChg chg="mod">
          <ac:chgData name="Kisliuk, Adrian (ext)" userId="6e619ce3-2643-4cdf-9a13-b4c269650021" providerId="ADAL" clId="{AFCEEFB0-37BC-48D4-B200-D3706B2CD7FE}" dt="2021-04-20T07:15:49.634" v="14702" actId="20577"/>
          <ac:spMkLst>
            <pc:docMk/>
            <pc:sldMk cId="915678809" sldId="902"/>
            <ac:spMk id="3" creationId="{64F98675-3A46-D945-B852-077F164E7004}"/>
          </ac:spMkLst>
        </pc:spChg>
        <pc:spChg chg="del">
          <ac:chgData name="Kisliuk, Adrian (ext)" userId="6e619ce3-2643-4cdf-9a13-b4c269650021" providerId="ADAL" clId="{AFCEEFB0-37BC-48D4-B200-D3706B2CD7FE}" dt="2021-04-19T16:32:27.386" v="9345" actId="478"/>
          <ac:spMkLst>
            <pc:docMk/>
            <pc:sldMk cId="915678809" sldId="902"/>
            <ac:spMk id="4" creationId="{00000000-0000-0000-0000-000000000000}"/>
          </ac:spMkLst>
        </pc:spChg>
        <pc:spChg chg="mod">
          <ac:chgData name="Kisliuk, Adrian (ext)" userId="6e619ce3-2643-4cdf-9a13-b4c269650021" providerId="ADAL" clId="{AFCEEFB0-37BC-48D4-B200-D3706B2CD7FE}" dt="2021-04-21T12:13:35.176" v="20003" actId="1035"/>
          <ac:spMkLst>
            <pc:docMk/>
            <pc:sldMk cId="915678809" sldId="902"/>
            <ac:spMk id="8" creationId="{B6B871D8-C132-479D-8579-2FE6462D86E3}"/>
          </ac:spMkLst>
        </pc:spChg>
        <pc:spChg chg="mod">
          <ac:chgData name="Kisliuk, Adrian (ext)" userId="6e619ce3-2643-4cdf-9a13-b4c269650021" providerId="ADAL" clId="{AFCEEFB0-37BC-48D4-B200-D3706B2CD7FE}" dt="2021-04-21T12:13:35.176" v="20003" actId="1035"/>
          <ac:spMkLst>
            <pc:docMk/>
            <pc:sldMk cId="915678809" sldId="902"/>
            <ac:spMk id="9" creationId="{C964F4FF-7D56-466B-A1EC-110646CC99CD}"/>
          </ac:spMkLst>
        </pc:spChg>
        <pc:spChg chg="mod">
          <ac:chgData name="Kisliuk, Adrian (ext)" userId="6e619ce3-2643-4cdf-9a13-b4c269650021" providerId="ADAL" clId="{AFCEEFB0-37BC-48D4-B200-D3706B2CD7FE}" dt="2021-04-21T12:13:35.176" v="20003" actId="1035"/>
          <ac:spMkLst>
            <pc:docMk/>
            <pc:sldMk cId="915678809" sldId="902"/>
            <ac:spMk id="10" creationId="{B7926D57-2347-40FA-8399-D501F67CB29D}"/>
          </ac:spMkLst>
        </pc:spChg>
        <pc:spChg chg="mod">
          <ac:chgData name="Kisliuk, Adrian (ext)" userId="6e619ce3-2643-4cdf-9a13-b4c269650021" providerId="ADAL" clId="{AFCEEFB0-37BC-48D4-B200-D3706B2CD7FE}" dt="2021-04-21T12:13:35.176" v="20003" actId="1035"/>
          <ac:spMkLst>
            <pc:docMk/>
            <pc:sldMk cId="915678809" sldId="902"/>
            <ac:spMk id="13" creationId="{56BA60EA-98B9-42A1-A2E9-93AF6D98CF6E}"/>
          </ac:spMkLst>
        </pc:spChg>
        <pc:spChg chg="del">
          <ac:chgData name="Kisliuk, Adrian (ext)" userId="6e619ce3-2643-4cdf-9a13-b4c269650021" providerId="ADAL" clId="{AFCEEFB0-37BC-48D4-B200-D3706B2CD7FE}" dt="2021-04-19T15:40:12.805" v="8561" actId="478"/>
          <ac:spMkLst>
            <pc:docMk/>
            <pc:sldMk cId="915678809" sldId="902"/>
            <ac:spMk id="15" creationId="{20E2CAEF-EE94-423D-AC17-B5E911DC5D58}"/>
          </ac:spMkLst>
        </pc:spChg>
        <pc:spChg chg="mod">
          <ac:chgData name="Kisliuk, Adrian (ext)" userId="6e619ce3-2643-4cdf-9a13-b4c269650021" providerId="ADAL" clId="{AFCEEFB0-37BC-48D4-B200-D3706B2CD7FE}" dt="2021-04-21T12:13:35.176" v="20003" actId="1035"/>
          <ac:spMkLst>
            <pc:docMk/>
            <pc:sldMk cId="915678809" sldId="902"/>
            <ac:spMk id="16" creationId="{7E84545D-F580-468B-9F23-5B52B91BC325}"/>
          </ac:spMkLst>
        </pc:spChg>
        <pc:spChg chg="add mod">
          <ac:chgData name="Kisliuk, Adrian (ext)" userId="6e619ce3-2643-4cdf-9a13-b4c269650021" providerId="ADAL" clId="{AFCEEFB0-37BC-48D4-B200-D3706B2CD7FE}" dt="2021-04-21T12:13:35.176" v="20003" actId="1035"/>
          <ac:spMkLst>
            <pc:docMk/>
            <pc:sldMk cId="915678809" sldId="902"/>
            <ac:spMk id="21" creationId="{187121D1-F258-4773-BEFE-CF050A476E04}"/>
          </ac:spMkLst>
        </pc:spChg>
        <pc:spChg chg="add mod">
          <ac:chgData name="Kisliuk, Adrian (ext)" userId="6e619ce3-2643-4cdf-9a13-b4c269650021" providerId="ADAL" clId="{AFCEEFB0-37BC-48D4-B200-D3706B2CD7FE}" dt="2021-04-21T12:13:35.176" v="20003" actId="1035"/>
          <ac:spMkLst>
            <pc:docMk/>
            <pc:sldMk cId="915678809" sldId="902"/>
            <ac:spMk id="25" creationId="{49136133-DEE3-4455-8356-7F711B4AA61B}"/>
          </ac:spMkLst>
        </pc:spChg>
        <pc:spChg chg="add mod">
          <ac:chgData name="Kisliuk, Adrian (ext)" userId="6e619ce3-2643-4cdf-9a13-b4c269650021" providerId="ADAL" clId="{AFCEEFB0-37BC-48D4-B200-D3706B2CD7FE}" dt="2021-04-21T12:13:35.176" v="20003" actId="1035"/>
          <ac:spMkLst>
            <pc:docMk/>
            <pc:sldMk cId="915678809" sldId="902"/>
            <ac:spMk id="26" creationId="{45BAC45F-FF00-4AA2-A153-568C29EA7B18}"/>
          </ac:spMkLst>
        </pc:spChg>
        <pc:spChg chg="add del mod">
          <ac:chgData name="Kisliuk, Adrian (ext)" userId="6e619ce3-2643-4cdf-9a13-b4c269650021" providerId="ADAL" clId="{AFCEEFB0-37BC-48D4-B200-D3706B2CD7FE}" dt="2021-04-19T15:43:18.277" v="8602" actId="478"/>
          <ac:spMkLst>
            <pc:docMk/>
            <pc:sldMk cId="915678809" sldId="902"/>
            <ac:spMk id="27" creationId="{5063E855-0A88-497D-AEBB-8A32FC55AE8F}"/>
          </ac:spMkLst>
        </pc:spChg>
        <pc:spChg chg="add del mod modVis">
          <ac:chgData name="Kisliuk, Adrian (ext)" userId="6e619ce3-2643-4cdf-9a13-b4c269650021" providerId="ADAL" clId="{AFCEEFB0-37BC-48D4-B200-D3706B2CD7FE}" dt="2021-04-20T06:55:06.188" v="14104"/>
          <ac:spMkLst>
            <pc:docMk/>
            <pc:sldMk cId="915678809" sldId="902"/>
            <ac:spMk id="46" creationId="{6D88E214-50AD-4901-8FD5-A5FBA69F524C}"/>
          </ac:spMkLst>
        </pc:spChg>
        <pc:spChg chg="add del mod">
          <ac:chgData name="Kisliuk, Adrian (ext)" userId="6e619ce3-2643-4cdf-9a13-b4c269650021" providerId="ADAL" clId="{AFCEEFB0-37BC-48D4-B200-D3706B2CD7FE}" dt="2021-04-20T06:54:47.371" v="14036" actId="478"/>
          <ac:spMkLst>
            <pc:docMk/>
            <pc:sldMk cId="915678809" sldId="902"/>
            <ac:spMk id="47" creationId="{4A2A56C7-B938-422A-AAF0-AD5039713A3C}"/>
          </ac:spMkLst>
        </pc:spChg>
        <pc:spChg chg="add del mod">
          <ac:chgData name="Kisliuk, Adrian (ext)" userId="6e619ce3-2643-4cdf-9a13-b4c269650021" providerId="ADAL" clId="{AFCEEFB0-37BC-48D4-B200-D3706B2CD7FE}" dt="2021-04-19T15:53:57.604" v="8826" actId="478"/>
          <ac:spMkLst>
            <pc:docMk/>
            <pc:sldMk cId="915678809" sldId="902"/>
            <ac:spMk id="52" creationId="{FAD9A261-2789-4159-A991-F70F42E0F963}"/>
          </ac:spMkLst>
        </pc:spChg>
        <pc:spChg chg="del mod">
          <ac:chgData name="Kisliuk, Adrian (ext)" userId="6e619ce3-2643-4cdf-9a13-b4c269650021" providerId="ADAL" clId="{AFCEEFB0-37BC-48D4-B200-D3706B2CD7FE}" dt="2021-04-21T09:17:51.391" v="17333" actId="478"/>
          <ac:spMkLst>
            <pc:docMk/>
            <pc:sldMk cId="915678809" sldId="902"/>
            <ac:spMk id="53" creationId="{1A9BC7DA-54FE-AC4A-9B9B-E430EFFB48F3}"/>
          </ac:spMkLst>
        </pc:spChg>
        <pc:spChg chg="mod">
          <ac:chgData name="Kisliuk, Adrian (ext)" userId="6e619ce3-2643-4cdf-9a13-b4c269650021" providerId="ADAL" clId="{AFCEEFB0-37BC-48D4-B200-D3706B2CD7FE}" dt="2021-04-20T07:56:01.055" v="15418" actId="20577"/>
          <ac:spMkLst>
            <pc:docMk/>
            <pc:sldMk cId="915678809" sldId="902"/>
            <ac:spMk id="54" creationId="{4F3ECC60-099C-194F-92FE-51FC8A5F8EC3}"/>
          </ac:spMkLst>
        </pc:spChg>
        <pc:spChg chg="add mod">
          <ac:chgData name="Kisliuk, Adrian (ext)" userId="6e619ce3-2643-4cdf-9a13-b4c269650021" providerId="ADAL" clId="{AFCEEFB0-37BC-48D4-B200-D3706B2CD7FE}" dt="2021-04-21T12:13:35.176" v="20003" actId="1035"/>
          <ac:spMkLst>
            <pc:docMk/>
            <pc:sldMk cId="915678809" sldId="902"/>
            <ac:spMk id="61" creationId="{9692BDA3-A4BE-47B4-BA82-B02E7791F66C}"/>
          </ac:spMkLst>
        </pc:spChg>
        <pc:spChg chg="add mod">
          <ac:chgData name="Kisliuk, Adrian (ext)" userId="6e619ce3-2643-4cdf-9a13-b4c269650021" providerId="ADAL" clId="{AFCEEFB0-37BC-48D4-B200-D3706B2CD7FE}" dt="2021-04-21T12:13:35.176" v="20003" actId="1035"/>
          <ac:spMkLst>
            <pc:docMk/>
            <pc:sldMk cId="915678809" sldId="902"/>
            <ac:spMk id="62" creationId="{10E5CBE0-190F-49FD-B93B-B31DDCEA7A93}"/>
          </ac:spMkLst>
        </pc:spChg>
        <pc:spChg chg="add del mod modVis">
          <ac:chgData name="Kisliuk, Adrian (ext)" userId="6e619ce3-2643-4cdf-9a13-b4c269650021" providerId="ADAL" clId="{AFCEEFB0-37BC-48D4-B200-D3706B2CD7FE}" dt="2021-04-20T07:01:44.516" v="14424" actId="962"/>
          <ac:spMkLst>
            <pc:docMk/>
            <pc:sldMk cId="915678809" sldId="902"/>
            <ac:spMk id="64" creationId="{D9E39FFC-7840-4C67-A685-8917CC3BE05C}"/>
          </ac:spMkLst>
        </pc:spChg>
        <pc:spChg chg="add mod">
          <ac:chgData name="Kisliuk, Adrian (ext)" userId="6e619ce3-2643-4cdf-9a13-b4c269650021" providerId="ADAL" clId="{AFCEEFB0-37BC-48D4-B200-D3706B2CD7FE}" dt="2021-04-21T12:13:35.176" v="20003" actId="1035"/>
          <ac:spMkLst>
            <pc:docMk/>
            <pc:sldMk cId="915678809" sldId="902"/>
            <ac:spMk id="69" creationId="{4B400841-A178-4D74-BBDC-4D5F18A2E5CB}"/>
          </ac:spMkLst>
        </pc:spChg>
        <pc:spChg chg="add mod">
          <ac:chgData name="Kisliuk, Adrian (ext)" userId="6e619ce3-2643-4cdf-9a13-b4c269650021" providerId="ADAL" clId="{AFCEEFB0-37BC-48D4-B200-D3706B2CD7FE}" dt="2021-04-21T12:13:35.176" v="20003" actId="1035"/>
          <ac:spMkLst>
            <pc:docMk/>
            <pc:sldMk cId="915678809" sldId="902"/>
            <ac:spMk id="73" creationId="{27157B40-323E-4CAD-8AEF-E9A42B1E1E8E}"/>
          </ac:spMkLst>
        </pc:spChg>
        <pc:spChg chg="add mod">
          <ac:chgData name="Kisliuk, Adrian (ext)" userId="6e619ce3-2643-4cdf-9a13-b4c269650021" providerId="ADAL" clId="{AFCEEFB0-37BC-48D4-B200-D3706B2CD7FE}" dt="2021-04-21T12:13:35.176" v="20003" actId="1035"/>
          <ac:spMkLst>
            <pc:docMk/>
            <pc:sldMk cId="915678809" sldId="902"/>
            <ac:spMk id="74" creationId="{0C2D869B-2954-4CD7-8286-CB5D0934E250}"/>
          </ac:spMkLst>
        </pc:spChg>
        <pc:spChg chg="add mod">
          <ac:chgData name="Kisliuk, Adrian (ext)" userId="6e619ce3-2643-4cdf-9a13-b4c269650021" providerId="ADAL" clId="{AFCEEFB0-37BC-48D4-B200-D3706B2CD7FE}" dt="2021-04-21T12:13:35.176" v="20003" actId="1035"/>
          <ac:spMkLst>
            <pc:docMk/>
            <pc:sldMk cId="915678809" sldId="902"/>
            <ac:spMk id="75" creationId="{A5882809-2C7E-427E-AE9F-D241CD07C427}"/>
          </ac:spMkLst>
        </pc:spChg>
        <pc:spChg chg="add mod">
          <ac:chgData name="Kisliuk, Adrian (ext)" userId="6e619ce3-2643-4cdf-9a13-b4c269650021" providerId="ADAL" clId="{AFCEEFB0-37BC-48D4-B200-D3706B2CD7FE}" dt="2021-04-21T12:13:35.176" v="20003" actId="1035"/>
          <ac:spMkLst>
            <pc:docMk/>
            <pc:sldMk cId="915678809" sldId="902"/>
            <ac:spMk id="79" creationId="{F16DE793-A975-44DE-B8BB-E06CAD263957}"/>
          </ac:spMkLst>
        </pc:spChg>
        <pc:spChg chg="add mod">
          <ac:chgData name="Kisliuk, Adrian (ext)" userId="6e619ce3-2643-4cdf-9a13-b4c269650021" providerId="ADAL" clId="{AFCEEFB0-37BC-48D4-B200-D3706B2CD7FE}" dt="2021-04-21T12:13:35.176" v="20003" actId="1035"/>
          <ac:spMkLst>
            <pc:docMk/>
            <pc:sldMk cId="915678809" sldId="902"/>
            <ac:spMk id="80" creationId="{200E6317-4DDE-40C1-9DDC-A4F144D1408D}"/>
          </ac:spMkLst>
        </pc:spChg>
        <pc:spChg chg="add del mod">
          <ac:chgData name="Kisliuk, Adrian (ext)" userId="6e619ce3-2643-4cdf-9a13-b4c269650021" providerId="ADAL" clId="{AFCEEFB0-37BC-48D4-B200-D3706B2CD7FE}" dt="2021-04-19T16:07:38.058" v="9175" actId="478"/>
          <ac:spMkLst>
            <pc:docMk/>
            <pc:sldMk cId="915678809" sldId="902"/>
            <ac:spMk id="87" creationId="{320DE151-D2EA-4843-8898-B0FD37C0CA19}"/>
          </ac:spMkLst>
        </pc:spChg>
        <pc:spChg chg="add mod">
          <ac:chgData name="Kisliuk, Adrian (ext)" userId="6e619ce3-2643-4cdf-9a13-b4c269650021" providerId="ADAL" clId="{AFCEEFB0-37BC-48D4-B200-D3706B2CD7FE}" dt="2021-04-21T12:13:35.176" v="20003" actId="1035"/>
          <ac:spMkLst>
            <pc:docMk/>
            <pc:sldMk cId="915678809" sldId="902"/>
            <ac:spMk id="100" creationId="{F4502292-9FC9-42AF-B280-DCFDEE5939A8}"/>
          </ac:spMkLst>
        </pc:spChg>
        <pc:spChg chg="add mod">
          <ac:chgData name="Kisliuk, Adrian (ext)" userId="6e619ce3-2643-4cdf-9a13-b4c269650021" providerId="ADAL" clId="{AFCEEFB0-37BC-48D4-B200-D3706B2CD7FE}" dt="2021-04-21T12:13:35.176" v="20003" actId="1035"/>
          <ac:spMkLst>
            <pc:docMk/>
            <pc:sldMk cId="915678809" sldId="902"/>
            <ac:spMk id="101" creationId="{ED6466E5-D48C-43CF-B076-5A9EC52EB9FA}"/>
          </ac:spMkLst>
        </pc:spChg>
        <pc:spChg chg="add del mod">
          <ac:chgData name="Kisliuk, Adrian (ext)" userId="6e619ce3-2643-4cdf-9a13-b4c269650021" providerId="ADAL" clId="{AFCEEFB0-37BC-48D4-B200-D3706B2CD7FE}" dt="2021-04-19T16:17:16.300" v="9317" actId="478"/>
          <ac:spMkLst>
            <pc:docMk/>
            <pc:sldMk cId="915678809" sldId="902"/>
            <ac:spMk id="102" creationId="{AD17A4E2-9F05-4802-B5C6-2197CC2A603C}"/>
          </ac:spMkLst>
        </pc:spChg>
        <pc:spChg chg="add mod">
          <ac:chgData name="Kisliuk, Adrian (ext)" userId="6e619ce3-2643-4cdf-9a13-b4c269650021" providerId="ADAL" clId="{AFCEEFB0-37BC-48D4-B200-D3706B2CD7FE}" dt="2021-04-20T07:02:11.887" v="14439" actId="571"/>
          <ac:spMkLst>
            <pc:docMk/>
            <pc:sldMk cId="915678809" sldId="902"/>
            <ac:spMk id="105" creationId="{109285CD-816B-42C4-9B1A-B31E1E620F8C}"/>
          </ac:spMkLst>
        </pc:spChg>
        <pc:spChg chg="add mod">
          <ac:chgData name="Kisliuk, Adrian (ext)" userId="6e619ce3-2643-4cdf-9a13-b4c269650021" providerId="ADAL" clId="{AFCEEFB0-37BC-48D4-B200-D3706B2CD7FE}" dt="2021-04-20T07:02:11.887" v="14439" actId="571"/>
          <ac:spMkLst>
            <pc:docMk/>
            <pc:sldMk cId="915678809" sldId="902"/>
            <ac:spMk id="106" creationId="{D8F14E65-3432-44A8-838D-6AA2939005FC}"/>
          </ac:spMkLst>
        </pc:spChg>
        <pc:spChg chg="add mod">
          <ac:chgData name="Kisliuk, Adrian (ext)" userId="6e619ce3-2643-4cdf-9a13-b4c269650021" providerId="ADAL" clId="{AFCEEFB0-37BC-48D4-B200-D3706B2CD7FE}" dt="2021-04-20T07:02:11.887" v="14439" actId="571"/>
          <ac:spMkLst>
            <pc:docMk/>
            <pc:sldMk cId="915678809" sldId="902"/>
            <ac:spMk id="107" creationId="{A9F4161D-8CD4-4107-BD32-ED2367E496FB}"/>
          </ac:spMkLst>
        </pc:spChg>
        <pc:spChg chg="add mod">
          <ac:chgData name="Kisliuk, Adrian (ext)" userId="6e619ce3-2643-4cdf-9a13-b4c269650021" providerId="ADAL" clId="{AFCEEFB0-37BC-48D4-B200-D3706B2CD7FE}" dt="2021-04-20T07:02:11.887" v="14439" actId="571"/>
          <ac:spMkLst>
            <pc:docMk/>
            <pc:sldMk cId="915678809" sldId="902"/>
            <ac:spMk id="108" creationId="{69B46331-88C8-4513-A64D-AF9013E1B589}"/>
          </ac:spMkLst>
        </pc:spChg>
        <pc:spChg chg="add mod">
          <ac:chgData name="Kisliuk, Adrian (ext)" userId="6e619ce3-2643-4cdf-9a13-b4c269650021" providerId="ADAL" clId="{AFCEEFB0-37BC-48D4-B200-D3706B2CD7FE}" dt="2021-04-20T07:02:11.887" v="14439" actId="571"/>
          <ac:spMkLst>
            <pc:docMk/>
            <pc:sldMk cId="915678809" sldId="902"/>
            <ac:spMk id="109" creationId="{6E7ED3AF-517F-431B-9741-23294CC0A54E}"/>
          </ac:spMkLst>
        </pc:spChg>
        <pc:spChg chg="add mod">
          <ac:chgData name="Kisliuk, Adrian (ext)" userId="6e619ce3-2643-4cdf-9a13-b4c269650021" providerId="ADAL" clId="{AFCEEFB0-37BC-48D4-B200-D3706B2CD7FE}" dt="2021-04-20T07:02:11.887" v="14439" actId="571"/>
          <ac:spMkLst>
            <pc:docMk/>
            <pc:sldMk cId="915678809" sldId="902"/>
            <ac:spMk id="111" creationId="{517641EE-54D5-4851-BE88-F2A5BB9551F5}"/>
          </ac:spMkLst>
        </pc:spChg>
        <pc:spChg chg="add mod">
          <ac:chgData name="Kisliuk, Adrian (ext)" userId="6e619ce3-2643-4cdf-9a13-b4c269650021" providerId="ADAL" clId="{AFCEEFB0-37BC-48D4-B200-D3706B2CD7FE}" dt="2021-04-20T07:02:11.887" v="14439" actId="571"/>
          <ac:spMkLst>
            <pc:docMk/>
            <pc:sldMk cId="915678809" sldId="902"/>
            <ac:spMk id="112" creationId="{53D5FBCD-1959-41DF-929C-86CFFCEF8AE2}"/>
          </ac:spMkLst>
        </pc:spChg>
        <pc:spChg chg="add mod">
          <ac:chgData name="Kisliuk, Adrian (ext)" userId="6e619ce3-2643-4cdf-9a13-b4c269650021" providerId="ADAL" clId="{AFCEEFB0-37BC-48D4-B200-D3706B2CD7FE}" dt="2021-04-20T07:02:11.887" v="14439" actId="571"/>
          <ac:spMkLst>
            <pc:docMk/>
            <pc:sldMk cId="915678809" sldId="902"/>
            <ac:spMk id="113" creationId="{06BA217B-359B-4819-8105-D235E3E07963}"/>
          </ac:spMkLst>
        </pc:spChg>
        <pc:spChg chg="add mod">
          <ac:chgData name="Kisliuk, Adrian (ext)" userId="6e619ce3-2643-4cdf-9a13-b4c269650021" providerId="ADAL" clId="{AFCEEFB0-37BC-48D4-B200-D3706B2CD7FE}" dt="2021-04-20T07:02:11.887" v="14439" actId="571"/>
          <ac:spMkLst>
            <pc:docMk/>
            <pc:sldMk cId="915678809" sldId="902"/>
            <ac:spMk id="117" creationId="{6AABE03A-26CC-41A4-8DD3-8644496A86A9}"/>
          </ac:spMkLst>
        </pc:spChg>
        <pc:spChg chg="add mod">
          <ac:chgData name="Kisliuk, Adrian (ext)" userId="6e619ce3-2643-4cdf-9a13-b4c269650021" providerId="ADAL" clId="{AFCEEFB0-37BC-48D4-B200-D3706B2CD7FE}" dt="2021-04-20T07:02:11.887" v="14439" actId="571"/>
          <ac:spMkLst>
            <pc:docMk/>
            <pc:sldMk cId="915678809" sldId="902"/>
            <ac:spMk id="118" creationId="{F1A4CAA4-37D6-4414-B233-C170EAF183ED}"/>
          </ac:spMkLst>
        </pc:spChg>
        <pc:spChg chg="add mod">
          <ac:chgData name="Kisliuk, Adrian (ext)" userId="6e619ce3-2643-4cdf-9a13-b4c269650021" providerId="ADAL" clId="{AFCEEFB0-37BC-48D4-B200-D3706B2CD7FE}" dt="2021-04-20T07:02:11.887" v="14439" actId="571"/>
          <ac:spMkLst>
            <pc:docMk/>
            <pc:sldMk cId="915678809" sldId="902"/>
            <ac:spMk id="119" creationId="{3D0DC2B9-06B7-4FD1-9E10-CEE4E576634D}"/>
          </ac:spMkLst>
        </pc:spChg>
        <pc:spChg chg="add mod">
          <ac:chgData name="Kisliuk, Adrian (ext)" userId="6e619ce3-2643-4cdf-9a13-b4c269650021" providerId="ADAL" clId="{AFCEEFB0-37BC-48D4-B200-D3706B2CD7FE}" dt="2021-04-20T07:02:11.887" v="14439" actId="571"/>
          <ac:spMkLst>
            <pc:docMk/>
            <pc:sldMk cId="915678809" sldId="902"/>
            <ac:spMk id="120" creationId="{3850E9CF-0EE7-4C27-9B9E-88A203D2C550}"/>
          </ac:spMkLst>
        </pc:spChg>
        <pc:spChg chg="add mod">
          <ac:chgData name="Kisliuk, Adrian (ext)" userId="6e619ce3-2643-4cdf-9a13-b4c269650021" providerId="ADAL" clId="{AFCEEFB0-37BC-48D4-B200-D3706B2CD7FE}" dt="2021-04-20T07:02:11.887" v="14439" actId="571"/>
          <ac:spMkLst>
            <pc:docMk/>
            <pc:sldMk cId="915678809" sldId="902"/>
            <ac:spMk id="121" creationId="{D4A133BA-D1E3-43B2-B004-D32218638143}"/>
          </ac:spMkLst>
        </pc:spChg>
        <pc:spChg chg="add mod">
          <ac:chgData name="Kisliuk, Adrian (ext)" userId="6e619ce3-2643-4cdf-9a13-b4c269650021" providerId="ADAL" clId="{AFCEEFB0-37BC-48D4-B200-D3706B2CD7FE}" dt="2021-04-20T07:02:11.887" v="14439" actId="571"/>
          <ac:spMkLst>
            <pc:docMk/>
            <pc:sldMk cId="915678809" sldId="902"/>
            <ac:spMk id="122" creationId="{DB5B364A-1E8D-4BCD-AE34-119F7EFA4762}"/>
          </ac:spMkLst>
        </pc:spChg>
        <pc:spChg chg="add mod">
          <ac:chgData name="Kisliuk, Adrian (ext)" userId="6e619ce3-2643-4cdf-9a13-b4c269650021" providerId="ADAL" clId="{AFCEEFB0-37BC-48D4-B200-D3706B2CD7FE}" dt="2021-04-20T07:02:11.887" v="14439" actId="571"/>
          <ac:spMkLst>
            <pc:docMk/>
            <pc:sldMk cId="915678809" sldId="902"/>
            <ac:spMk id="134" creationId="{268039E2-E55B-479B-BEAA-03E0A4B8F1AA}"/>
          </ac:spMkLst>
        </pc:spChg>
        <pc:graphicFrameChg chg="mod">
          <ac:chgData name="Kisliuk, Adrian (ext)" userId="6e619ce3-2643-4cdf-9a13-b4c269650021" providerId="ADAL" clId="{AFCEEFB0-37BC-48D4-B200-D3706B2CD7FE}" dt="2021-04-21T09:05:13.137" v="17043" actId="1076"/>
          <ac:graphicFrameMkLst>
            <pc:docMk/>
            <pc:sldMk cId="915678809" sldId="902"/>
            <ac:graphicFrameMk id="6" creationId="{580DFCAE-76C4-413B-B499-F7B76F1E13AF}"/>
          </ac:graphicFrameMkLst>
        </pc:graphicFrameChg>
        <pc:picChg chg="add mod">
          <ac:chgData name="Kisliuk, Adrian (ext)" userId="6e619ce3-2643-4cdf-9a13-b4c269650021" providerId="ADAL" clId="{AFCEEFB0-37BC-48D4-B200-D3706B2CD7FE}" dt="2021-04-21T12:13:35.176" v="20003" actId="1035"/>
          <ac:picMkLst>
            <pc:docMk/>
            <pc:sldMk cId="915678809" sldId="902"/>
            <ac:picMk id="56" creationId="{DB292242-5CD5-4AAA-8945-646D12D2A9D2}"/>
          </ac:picMkLst>
        </pc:picChg>
        <pc:picChg chg="add mod">
          <ac:chgData name="Kisliuk, Adrian (ext)" userId="6e619ce3-2643-4cdf-9a13-b4c269650021" providerId="ADAL" clId="{AFCEEFB0-37BC-48D4-B200-D3706B2CD7FE}" dt="2021-04-21T12:13:35.176" v="20003" actId="1035"/>
          <ac:picMkLst>
            <pc:docMk/>
            <pc:sldMk cId="915678809" sldId="902"/>
            <ac:picMk id="57" creationId="{60AA5915-DFDC-4BF5-8A13-17CAAA3658BE}"/>
          </ac:picMkLst>
        </pc:picChg>
        <pc:picChg chg="add mod">
          <ac:chgData name="Kisliuk, Adrian (ext)" userId="6e619ce3-2643-4cdf-9a13-b4c269650021" providerId="ADAL" clId="{AFCEEFB0-37BC-48D4-B200-D3706B2CD7FE}" dt="2021-04-21T12:13:35.176" v="20003" actId="1035"/>
          <ac:picMkLst>
            <pc:docMk/>
            <pc:sldMk cId="915678809" sldId="902"/>
            <ac:picMk id="58" creationId="{43894F85-6F41-4802-9464-C2C1CA1C8DD2}"/>
          </ac:picMkLst>
        </pc:picChg>
        <pc:picChg chg="add mod">
          <ac:chgData name="Kisliuk, Adrian (ext)" userId="6e619ce3-2643-4cdf-9a13-b4c269650021" providerId="ADAL" clId="{AFCEEFB0-37BC-48D4-B200-D3706B2CD7FE}" dt="2021-04-21T12:13:35.176" v="20003" actId="1035"/>
          <ac:picMkLst>
            <pc:docMk/>
            <pc:sldMk cId="915678809" sldId="902"/>
            <ac:picMk id="60" creationId="{55DEF8C7-7627-46D5-AE15-3A7D4F1AF7B6}"/>
          </ac:picMkLst>
        </pc:picChg>
        <pc:picChg chg="add del mod modCrop">
          <ac:chgData name="Kisliuk, Adrian (ext)" userId="6e619ce3-2643-4cdf-9a13-b4c269650021" providerId="ADAL" clId="{AFCEEFB0-37BC-48D4-B200-D3706B2CD7FE}" dt="2021-04-20T07:49:04.728" v="15168" actId="478"/>
          <ac:picMkLst>
            <pc:docMk/>
            <pc:sldMk cId="915678809" sldId="902"/>
            <ac:picMk id="66" creationId="{F3F5687C-054F-442E-8B98-5E376D6AF500}"/>
          </ac:picMkLst>
        </pc:picChg>
        <pc:picChg chg="add del mod modCrop">
          <ac:chgData name="Kisliuk, Adrian (ext)" userId="6e619ce3-2643-4cdf-9a13-b4c269650021" providerId="ADAL" clId="{AFCEEFB0-37BC-48D4-B200-D3706B2CD7FE}" dt="2021-04-20T07:41:29.806" v="14876" actId="478"/>
          <ac:picMkLst>
            <pc:docMk/>
            <pc:sldMk cId="915678809" sldId="902"/>
            <ac:picMk id="89" creationId="{D9000773-F131-4FD4-A48D-50C852DDC4C3}"/>
          </ac:picMkLst>
        </pc:picChg>
        <pc:picChg chg="add mod">
          <ac:chgData name="Kisliuk, Adrian (ext)" userId="6e619ce3-2643-4cdf-9a13-b4c269650021" providerId="ADAL" clId="{AFCEEFB0-37BC-48D4-B200-D3706B2CD7FE}" dt="2021-04-21T12:13:35.176" v="20003" actId="1035"/>
          <ac:picMkLst>
            <pc:docMk/>
            <pc:sldMk cId="915678809" sldId="902"/>
            <ac:picMk id="90" creationId="{5F91CD04-7871-43BE-8FA4-D120FDE329C1}"/>
          </ac:picMkLst>
        </pc:picChg>
        <pc:picChg chg="add del mod">
          <ac:chgData name="Kisliuk, Adrian (ext)" userId="6e619ce3-2643-4cdf-9a13-b4c269650021" providerId="ADAL" clId="{AFCEEFB0-37BC-48D4-B200-D3706B2CD7FE}" dt="2021-04-20T07:43:56.535" v="14902" actId="478"/>
          <ac:picMkLst>
            <pc:docMk/>
            <pc:sldMk cId="915678809" sldId="902"/>
            <ac:picMk id="91" creationId="{E755D5CC-A1E1-44B6-B365-32F97DA6B6F3}"/>
          </ac:picMkLst>
        </pc:picChg>
        <pc:picChg chg="add mod">
          <ac:chgData name="Kisliuk, Adrian (ext)" userId="6e619ce3-2643-4cdf-9a13-b4c269650021" providerId="ADAL" clId="{AFCEEFB0-37BC-48D4-B200-D3706B2CD7FE}" dt="2021-04-21T12:13:35.176" v="20003" actId="1035"/>
          <ac:picMkLst>
            <pc:docMk/>
            <pc:sldMk cId="915678809" sldId="902"/>
            <ac:picMk id="92" creationId="{35300267-E995-4C9A-BAC0-6A62422203B9}"/>
          </ac:picMkLst>
        </pc:picChg>
        <pc:picChg chg="add mod">
          <ac:chgData name="Kisliuk, Adrian (ext)" userId="6e619ce3-2643-4cdf-9a13-b4c269650021" providerId="ADAL" clId="{AFCEEFB0-37BC-48D4-B200-D3706B2CD7FE}" dt="2021-04-21T12:13:35.176" v="20003" actId="1035"/>
          <ac:picMkLst>
            <pc:docMk/>
            <pc:sldMk cId="915678809" sldId="902"/>
            <ac:picMk id="93" creationId="{473AD772-E520-4101-A7DA-975C6FA79D33}"/>
          </ac:picMkLst>
        </pc:picChg>
        <pc:picChg chg="add mod">
          <ac:chgData name="Kisliuk, Adrian (ext)" userId="6e619ce3-2643-4cdf-9a13-b4c269650021" providerId="ADAL" clId="{AFCEEFB0-37BC-48D4-B200-D3706B2CD7FE}" dt="2021-04-21T12:13:35.176" v="20003" actId="1035"/>
          <ac:picMkLst>
            <pc:docMk/>
            <pc:sldMk cId="915678809" sldId="902"/>
            <ac:picMk id="94" creationId="{0E54B986-C82D-43BE-9E7B-311C5627B334}"/>
          </ac:picMkLst>
        </pc:picChg>
        <pc:picChg chg="add del mod">
          <ac:chgData name="Kisliuk, Adrian (ext)" userId="6e619ce3-2643-4cdf-9a13-b4c269650021" providerId="ADAL" clId="{AFCEEFB0-37BC-48D4-B200-D3706B2CD7FE}" dt="2021-04-21T12:13:35.176" v="20003" actId="1035"/>
          <ac:picMkLst>
            <pc:docMk/>
            <pc:sldMk cId="915678809" sldId="902"/>
            <ac:picMk id="95" creationId="{01D9BF95-2D7A-416E-9AFA-7AEDF9678D7A}"/>
          </ac:picMkLst>
        </pc:picChg>
        <pc:picChg chg="add mod">
          <ac:chgData name="Kisliuk, Adrian (ext)" userId="6e619ce3-2643-4cdf-9a13-b4c269650021" providerId="ADAL" clId="{AFCEEFB0-37BC-48D4-B200-D3706B2CD7FE}" dt="2021-04-21T12:13:35.176" v="20003" actId="1035"/>
          <ac:picMkLst>
            <pc:docMk/>
            <pc:sldMk cId="915678809" sldId="902"/>
            <ac:picMk id="96" creationId="{D24692FD-C8CB-4519-9D97-5CEB94003426}"/>
          </ac:picMkLst>
        </pc:picChg>
        <pc:picChg chg="add mod">
          <ac:chgData name="Kisliuk, Adrian (ext)" userId="6e619ce3-2643-4cdf-9a13-b4c269650021" providerId="ADAL" clId="{AFCEEFB0-37BC-48D4-B200-D3706B2CD7FE}" dt="2021-04-21T12:13:35.176" v="20003" actId="1035"/>
          <ac:picMkLst>
            <pc:docMk/>
            <pc:sldMk cId="915678809" sldId="902"/>
            <ac:picMk id="97" creationId="{5B7829D8-3032-47C4-8BA4-5D87C1C3B026}"/>
          </ac:picMkLst>
        </pc:picChg>
        <pc:picChg chg="add del mod">
          <ac:chgData name="Kisliuk, Adrian (ext)" userId="6e619ce3-2643-4cdf-9a13-b4c269650021" providerId="ADAL" clId="{AFCEEFB0-37BC-48D4-B200-D3706B2CD7FE}" dt="2021-04-19T16:14:42.073" v="9279" actId="478"/>
          <ac:picMkLst>
            <pc:docMk/>
            <pc:sldMk cId="915678809" sldId="902"/>
            <ac:picMk id="98" creationId="{AE7FDAE5-EB37-4748-B694-2A27FF458B8D}"/>
          </ac:picMkLst>
        </pc:picChg>
        <pc:picChg chg="add del mod">
          <ac:chgData name="Kisliuk, Adrian (ext)" userId="6e619ce3-2643-4cdf-9a13-b4c269650021" providerId="ADAL" clId="{AFCEEFB0-37BC-48D4-B200-D3706B2CD7FE}" dt="2021-04-20T07:45:49.253" v="14919" actId="478"/>
          <ac:picMkLst>
            <pc:docMk/>
            <pc:sldMk cId="915678809" sldId="902"/>
            <ac:picMk id="99" creationId="{11F2555E-2056-45D9-9A4C-B133A1D7C203}"/>
          </ac:picMkLst>
        </pc:picChg>
        <pc:picChg chg="add mod">
          <ac:chgData name="Kisliuk, Adrian (ext)" userId="6e619ce3-2643-4cdf-9a13-b4c269650021" providerId="ADAL" clId="{AFCEEFB0-37BC-48D4-B200-D3706B2CD7FE}" dt="2021-04-20T07:02:11.887" v="14439" actId="571"/>
          <ac:picMkLst>
            <pc:docMk/>
            <pc:sldMk cId="915678809" sldId="902"/>
            <ac:picMk id="124" creationId="{7F0D9392-A232-4A09-B396-04047E8B8373}"/>
          </ac:picMkLst>
        </pc:picChg>
        <pc:picChg chg="add mod">
          <ac:chgData name="Kisliuk, Adrian (ext)" userId="6e619ce3-2643-4cdf-9a13-b4c269650021" providerId="ADAL" clId="{AFCEEFB0-37BC-48D4-B200-D3706B2CD7FE}" dt="2021-04-20T07:02:11.887" v="14439" actId="571"/>
          <ac:picMkLst>
            <pc:docMk/>
            <pc:sldMk cId="915678809" sldId="902"/>
            <ac:picMk id="125" creationId="{58DA1D4C-1AAE-4474-B7BB-5DA94E87BAB2}"/>
          </ac:picMkLst>
        </pc:picChg>
        <pc:picChg chg="add mod">
          <ac:chgData name="Kisliuk, Adrian (ext)" userId="6e619ce3-2643-4cdf-9a13-b4c269650021" providerId="ADAL" clId="{AFCEEFB0-37BC-48D4-B200-D3706B2CD7FE}" dt="2021-04-20T07:02:11.887" v="14439" actId="571"/>
          <ac:picMkLst>
            <pc:docMk/>
            <pc:sldMk cId="915678809" sldId="902"/>
            <ac:picMk id="126" creationId="{B481E598-AFF0-40AB-BD64-87612C6D9843}"/>
          </ac:picMkLst>
        </pc:picChg>
        <pc:picChg chg="add mod">
          <ac:chgData name="Kisliuk, Adrian (ext)" userId="6e619ce3-2643-4cdf-9a13-b4c269650021" providerId="ADAL" clId="{AFCEEFB0-37BC-48D4-B200-D3706B2CD7FE}" dt="2021-04-20T07:02:11.887" v="14439" actId="571"/>
          <ac:picMkLst>
            <pc:docMk/>
            <pc:sldMk cId="915678809" sldId="902"/>
            <ac:picMk id="127" creationId="{163BE14E-3EA7-4517-B5EA-BDF11BCA6F19}"/>
          </ac:picMkLst>
        </pc:picChg>
        <pc:picChg chg="add mod">
          <ac:chgData name="Kisliuk, Adrian (ext)" userId="6e619ce3-2643-4cdf-9a13-b4c269650021" providerId="ADAL" clId="{AFCEEFB0-37BC-48D4-B200-D3706B2CD7FE}" dt="2021-04-20T07:02:11.887" v="14439" actId="571"/>
          <ac:picMkLst>
            <pc:docMk/>
            <pc:sldMk cId="915678809" sldId="902"/>
            <ac:picMk id="128" creationId="{408C5925-D564-4EA6-BEE8-39D532F34D34}"/>
          </ac:picMkLst>
        </pc:picChg>
        <pc:picChg chg="add mod">
          <ac:chgData name="Kisliuk, Adrian (ext)" userId="6e619ce3-2643-4cdf-9a13-b4c269650021" providerId="ADAL" clId="{AFCEEFB0-37BC-48D4-B200-D3706B2CD7FE}" dt="2021-04-20T07:02:11.887" v="14439" actId="571"/>
          <ac:picMkLst>
            <pc:docMk/>
            <pc:sldMk cId="915678809" sldId="902"/>
            <ac:picMk id="129" creationId="{AA34FBD8-F0A1-437F-959B-CB4B5E4E3C3C}"/>
          </ac:picMkLst>
        </pc:picChg>
        <pc:picChg chg="add mod">
          <ac:chgData name="Kisliuk, Adrian (ext)" userId="6e619ce3-2643-4cdf-9a13-b4c269650021" providerId="ADAL" clId="{AFCEEFB0-37BC-48D4-B200-D3706B2CD7FE}" dt="2021-04-20T07:02:11.887" v="14439" actId="571"/>
          <ac:picMkLst>
            <pc:docMk/>
            <pc:sldMk cId="915678809" sldId="902"/>
            <ac:picMk id="130" creationId="{663BDDAC-43EA-4E39-8439-D763D0C454AA}"/>
          </ac:picMkLst>
        </pc:picChg>
        <pc:picChg chg="add mod">
          <ac:chgData name="Kisliuk, Adrian (ext)" userId="6e619ce3-2643-4cdf-9a13-b4c269650021" providerId="ADAL" clId="{AFCEEFB0-37BC-48D4-B200-D3706B2CD7FE}" dt="2021-04-20T07:02:11.887" v="14439" actId="571"/>
          <ac:picMkLst>
            <pc:docMk/>
            <pc:sldMk cId="915678809" sldId="902"/>
            <ac:picMk id="131" creationId="{1335F14F-54BB-446F-95AB-83B215C4A177}"/>
          </ac:picMkLst>
        </pc:picChg>
        <pc:picChg chg="add mod">
          <ac:chgData name="Kisliuk, Adrian (ext)" userId="6e619ce3-2643-4cdf-9a13-b4c269650021" providerId="ADAL" clId="{AFCEEFB0-37BC-48D4-B200-D3706B2CD7FE}" dt="2021-04-20T07:02:11.887" v="14439" actId="571"/>
          <ac:picMkLst>
            <pc:docMk/>
            <pc:sldMk cId="915678809" sldId="902"/>
            <ac:picMk id="132" creationId="{5A8C53CE-4869-4AE7-8A99-102DC6BB07D4}"/>
          </ac:picMkLst>
        </pc:picChg>
        <pc:picChg chg="add mod">
          <ac:chgData name="Kisliuk, Adrian (ext)" userId="6e619ce3-2643-4cdf-9a13-b4c269650021" providerId="ADAL" clId="{AFCEEFB0-37BC-48D4-B200-D3706B2CD7FE}" dt="2021-04-20T07:02:11.887" v="14439" actId="571"/>
          <ac:picMkLst>
            <pc:docMk/>
            <pc:sldMk cId="915678809" sldId="902"/>
            <ac:picMk id="133" creationId="{2181213B-1C42-45B5-9A47-7934C708BB66}"/>
          </ac:picMkLst>
        </pc:picChg>
        <pc:picChg chg="add del mod">
          <ac:chgData name="Kisliuk, Adrian (ext)" userId="6e619ce3-2643-4cdf-9a13-b4c269650021" providerId="ADAL" clId="{AFCEEFB0-37BC-48D4-B200-D3706B2CD7FE}" dt="2021-04-20T07:33:26.884" v="14852" actId="478"/>
          <ac:picMkLst>
            <pc:docMk/>
            <pc:sldMk cId="915678809" sldId="902"/>
            <ac:picMk id="143" creationId="{E54E88AA-74DB-4B64-92D3-E3B1A6298D84}"/>
          </ac:picMkLst>
        </pc:picChg>
        <pc:picChg chg="add del mod">
          <ac:chgData name="Kisliuk, Adrian (ext)" userId="6e619ce3-2643-4cdf-9a13-b4c269650021" providerId="ADAL" clId="{AFCEEFB0-37BC-48D4-B200-D3706B2CD7FE}" dt="2021-04-20T07:33:25.664" v="14851" actId="478"/>
          <ac:picMkLst>
            <pc:docMk/>
            <pc:sldMk cId="915678809" sldId="902"/>
            <ac:picMk id="144" creationId="{3816FDFF-8BE8-4024-8DB0-9A45F155D907}"/>
          </ac:picMkLst>
        </pc:picChg>
        <pc:picChg chg="add mod">
          <ac:chgData name="Kisliuk, Adrian (ext)" userId="6e619ce3-2643-4cdf-9a13-b4c269650021" providerId="ADAL" clId="{AFCEEFB0-37BC-48D4-B200-D3706B2CD7FE}" dt="2021-04-21T12:13:35.176" v="20003" actId="1035"/>
          <ac:picMkLst>
            <pc:docMk/>
            <pc:sldMk cId="915678809" sldId="902"/>
            <ac:picMk id="145" creationId="{074EB559-2999-4DDE-84B8-1765054CC9A1}"/>
          </ac:picMkLst>
        </pc:picChg>
        <pc:picChg chg="add mod">
          <ac:chgData name="Kisliuk, Adrian (ext)" userId="6e619ce3-2643-4cdf-9a13-b4c269650021" providerId="ADAL" clId="{AFCEEFB0-37BC-48D4-B200-D3706B2CD7FE}" dt="2021-04-21T12:13:35.176" v="20003" actId="1035"/>
          <ac:picMkLst>
            <pc:docMk/>
            <pc:sldMk cId="915678809" sldId="902"/>
            <ac:picMk id="146" creationId="{75DA192C-90FD-4132-B1D2-9E402521320F}"/>
          </ac:picMkLst>
        </pc:picChg>
        <pc:picChg chg="add mod">
          <ac:chgData name="Kisliuk, Adrian (ext)" userId="6e619ce3-2643-4cdf-9a13-b4c269650021" providerId="ADAL" clId="{AFCEEFB0-37BC-48D4-B200-D3706B2CD7FE}" dt="2021-04-21T12:13:35.176" v="20003" actId="1035"/>
          <ac:picMkLst>
            <pc:docMk/>
            <pc:sldMk cId="915678809" sldId="902"/>
            <ac:picMk id="147" creationId="{5AB79A2E-36C8-4230-B747-891CB24316DE}"/>
          </ac:picMkLst>
        </pc:picChg>
        <pc:picChg chg="add mod">
          <ac:chgData name="Kisliuk, Adrian (ext)" userId="6e619ce3-2643-4cdf-9a13-b4c269650021" providerId="ADAL" clId="{AFCEEFB0-37BC-48D4-B200-D3706B2CD7FE}" dt="2021-04-21T12:13:35.176" v="20003" actId="1035"/>
          <ac:picMkLst>
            <pc:docMk/>
            <pc:sldMk cId="915678809" sldId="902"/>
            <ac:picMk id="148" creationId="{FA1C5D0A-84D0-4F1C-8F36-BE6EAA7B3F86}"/>
          </ac:picMkLst>
        </pc:picChg>
        <pc:picChg chg="add mod">
          <ac:chgData name="Kisliuk, Adrian (ext)" userId="6e619ce3-2643-4cdf-9a13-b4c269650021" providerId="ADAL" clId="{AFCEEFB0-37BC-48D4-B200-D3706B2CD7FE}" dt="2021-04-21T12:13:35.176" v="20003" actId="1035"/>
          <ac:picMkLst>
            <pc:docMk/>
            <pc:sldMk cId="915678809" sldId="902"/>
            <ac:picMk id="149" creationId="{18A3EA0C-1F20-4CE1-AE00-0064DE7C41E2}"/>
          </ac:picMkLst>
        </pc:picChg>
        <pc:picChg chg="add mod">
          <ac:chgData name="Kisliuk, Adrian (ext)" userId="6e619ce3-2643-4cdf-9a13-b4c269650021" providerId="ADAL" clId="{AFCEEFB0-37BC-48D4-B200-D3706B2CD7FE}" dt="2021-04-21T12:13:35.176" v="20003" actId="1035"/>
          <ac:picMkLst>
            <pc:docMk/>
            <pc:sldMk cId="915678809" sldId="902"/>
            <ac:picMk id="150" creationId="{FB138789-68B2-4BCD-8CFE-A22DB9CF5272}"/>
          </ac:picMkLst>
        </pc:picChg>
        <pc:picChg chg="add mod">
          <ac:chgData name="Kisliuk, Adrian (ext)" userId="6e619ce3-2643-4cdf-9a13-b4c269650021" providerId="ADAL" clId="{AFCEEFB0-37BC-48D4-B200-D3706B2CD7FE}" dt="2021-04-21T12:13:35.176" v="20003" actId="1035"/>
          <ac:picMkLst>
            <pc:docMk/>
            <pc:sldMk cId="915678809" sldId="902"/>
            <ac:picMk id="151" creationId="{7BCE8669-0DAB-4196-8A1A-D13066BA2F84}"/>
          </ac:picMkLst>
        </pc:picChg>
        <pc:picChg chg="add mod">
          <ac:chgData name="Kisliuk, Adrian (ext)" userId="6e619ce3-2643-4cdf-9a13-b4c269650021" providerId="ADAL" clId="{AFCEEFB0-37BC-48D4-B200-D3706B2CD7FE}" dt="2021-04-21T12:13:35.176" v="20003" actId="1035"/>
          <ac:picMkLst>
            <pc:docMk/>
            <pc:sldMk cId="915678809" sldId="902"/>
            <ac:picMk id="152" creationId="{FA7676B9-8876-4D71-90F7-779D362F4E44}"/>
          </ac:picMkLst>
        </pc:picChg>
        <pc:picChg chg="add mod">
          <ac:chgData name="Kisliuk, Adrian (ext)" userId="6e619ce3-2643-4cdf-9a13-b4c269650021" providerId="ADAL" clId="{AFCEEFB0-37BC-48D4-B200-D3706B2CD7FE}" dt="2021-04-21T12:13:35.176" v="20003" actId="1035"/>
          <ac:picMkLst>
            <pc:docMk/>
            <pc:sldMk cId="915678809" sldId="902"/>
            <ac:picMk id="153" creationId="{85BD1542-8AD5-45B8-BBAC-1CBBD1732168}"/>
          </ac:picMkLst>
        </pc:picChg>
        <pc:picChg chg="add del mod">
          <ac:chgData name="Kisliuk, Adrian (ext)" userId="6e619ce3-2643-4cdf-9a13-b4c269650021" providerId="ADAL" clId="{AFCEEFB0-37BC-48D4-B200-D3706B2CD7FE}" dt="2021-04-20T07:43:55.102" v="14901" actId="21"/>
          <ac:picMkLst>
            <pc:docMk/>
            <pc:sldMk cId="915678809" sldId="902"/>
            <ac:picMk id="154" creationId="{6878299B-4AD7-471C-B98C-A6A65D09307D}"/>
          </ac:picMkLst>
        </pc:picChg>
        <pc:picChg chg="add del mod">
          <ac:chgData name="Kisliuk, Adrian (ext)" userId="6e619ce3-2643-4cdf-9a13-b4c269650021" providerId="ADAL" clId="{AFCEEFB0-37BC-48D4-B200-D3706B2CD7FE}" dt="2021-04-20T07:43:55.102" v="14901" actId="21"/>
          <ac:picMkLst>
            <pc:docMk/>
            <pc:sldMk cId="915678809" sldId="902"/>
            <ac:picMk id="155" creationId="{AF1A32E8-12A4-412C-A374-692D76976C4F}"/>
          </ac:picMkLst>
        </pc:picChg>
        <pc:picChg chg="add mod">
          <ac:chgData name="Kisliuk, Adrian (ext)" userId="6e619ce3-2643-4cdf-9a13-b4c269650021" providerId="ADAL" clId="{AFCEEFB0-37BC-48D4-B200-D3706B2CD7FE}" dt="2021-04-21T12:13:35.176" v="20003" actId="1035"/>
          <ac:picMkLst>
            <pc:docMk/>
            <pc:sldMk cId="915678809" sldId="902"/>
            <ac:picMk id="156" creationId="{2536101B-1F0E-4A1F-A47F-8BA6472D0EE0}"/>
          </ac:picMkLst>
        </pc:picChg>
        <pc:picChg chg="add mod">
          <ac:chgData name="Kisliuk, Adrian (ext)" userId="6e619ce3-2643-4cdf-9a13-b4c269650021" providerId="ADAL" clId="{AFCEEFB0-37BC-48D4-B200-D3706B2CD7FE}" dt="2021-04-21T12:13:35.176" v="20003" actId="1035"/>
          <ac:picMkLst>
            <pc:docMk/>
            <pc:sldMk cId="915678809" sldId="902"/>
            <ac:picMk id="157" creationId="{B9F1FDD2-B2CE-4408-B15A-D4855F15D70C}"/>
          </ac:picMkLst>
        </pc:picChg>
        <pc:picChg chg="add mod">
          <ac:chgData name="Kisliuk, Adrian (ext)" userId="6e619ce3-2643-4cdf-9a13-b4c269650021" providerId="ADAL" clId="{AFCEEFB0-37BC-48D4-B200-D3706B2CD7FE}" dt="2021-04-21T12:13:35.176" v="20003" actId="1035"/>
          <ac:picMkLst>
            <pc:docMk/>
            <pc:sldMk cId="915678809" sldId="902"/>
            <ac:picMk id="158" creationId="{C1847EE7-2BE5-43F2-ADD5-802045DC2CC7}"/>
          </ac:picMkLst>
        </pc:picChg>
        <pc:picChg chg="add mod">
          <ac:chgData name="Kisliuk, Adrian (ext)" userId="6e619ce3-2643-4cdf-9a13-b4c269650021" providerId="ADAL" clId="{AFCEEFB0-37BC-48D4-B200-D3706B2CD7FE}" dt="2021-04-21T12:13:35.176" v="20003" actId="1035"/>
          <ac:picMkLst>
            <pc:docMk/>
            <pc:sldMk cId="915678809" sldId="902"/>
            <ac:picMk id="159" creationId="{F9B86633-225C-4635-B815-643A6E482F78}"/>
          </ac:picMkLst>
        </pc:picChg>
        <pc:picChg chg="add del mod">
          <ac:chgData name="Kisliuk, Adrian (ext)" userId="6e619ce3-2643-4cdf-9a13-b4c269650021" providerId="ADAL" clId="{AFCEEFB0-37BC-48D4-B200-D3706B2CD7FE}" dt="2021-04-20T07:50:12.949" v="15178"/>
          <ac:picMkLst>
            <pc:docMk/>
            <pc:sldMk cId="915678809" sldId="902"/>
            <ac:picMk id="160" creationId="{E3490112-F647-4680-8D28-FEAD62B7C8CC}"/>
          </ac:picMkLst>
        </pc:picChg>
        <pc:cxnChg chg="del">
          <ac:chgData name="Kisliuk, Adrian (ext)" userId="6e619ce3-2643-4cdf-9a13-b4c269650021" providerId="ADAL" clId="{AFCEEFB0-37BC-48D4-B200-D3706B2CD7FE}" dt="2021-04-19T15:43:27.254" v="8604" actId="478"/>
          <ac:cxnSpMkLst>
            <pc:docMk/>
            <pc:sldMk cId="915678809" sldId="902"/>
            <ac:cxnSpMk id="5" creationId="{6A028DCD-99D2-42EB-8578-5383E7A1A310}"/>
          </ac:cxnSpMkLst>
        </pc:cxnChg>
        <pc:cxnChg chg="mod">
          <ac:chgData name="Kisliuk, Adrian (ext)" userId="6e619ce3-2643-4cdf-9a13-b4c269650021" providerId="ADAL" clId="{AFCEEFB0-37BC-48D4-B200-D3706B2CD7FE}" dt="2021-04-21T12:13:35.176" v="20003" actId="1035"/>
          <ac:cxnSpMkLst>
            <pc:docMk/>
            <pc:sldMk cId="915678809" sldId="902"/>
            <ac:cxnSpMk id="5" creationId="{7C428214-A98E-D047-A5D0-5062CA24955A}"/>
          </ac:cxnSpMkLst>
        </pc:cxnChg>
        <pc:cxnChg chg="del">
          <ac:chgData name="Kisliuk, Adrian (ext)" userId="6e619ce3-2643-4cdf-9a13-b4c269650021" providerId="ADAL" clId="{AFCEEFB0-37BC-48D4-B200-D3706B2CD7FE}" dt="2021-04-19T15:43:29.004" v="8605" actId="478"/>
          <ac:cxnSpMkLst>
            <pc:docMk/>
            <pc:sldMk cId="915678809" sldId="902"/>
            <ac:cxnSpMk id="17" creationId="{99588CE5-33CD-4D13-89EF-90B4267EE2A4}"/>
          </ac:cxnSpMkLst>
        </pc:cxnChg>
        <pc:cxnChg chg="del">
          <ac:chgData name="Kisliuk, Adrian (ext)" userId="6e619ce3-2643-4cdf-9a13-b4c269650021" providerId="ADAL" clId="{AFCEEFB0-37BC-48D4-B200-D3706B2CD7FE}" dt="2021-04-19T15:43:27.254" v="8604" actId="478"/>
          <ac:cxnSpMkLst>
            <pc:docMk/>
            <pc:sldMk cId="915678809" sldId="902"/>
            <ac:cxnSpMk id="18" creationId="{62DEB724-808A-4D58-AD8A-13347ED02AFF}"/>
          </ac:cxnSpMkLst>
        </pc:cxnChg>
        <pc:cxnChg chg="del">
          <ac:chgData name="Kisliuk, Adrian (ext)" userId="6e619ce3-2643-4cdf-9a13-b4c269650021" providerId="ADAL" clId="{AFCEEFB0-37BC-48D4-B200-D3706B2CD7FE}" dt="2021-04-19T15:43:27.254" v="8604" actId="478"/>
          <ac:cxnSpMkLst>
            <pc:docMk/>
            <pc:sldMk cId="915678809" sldId="902"/>
            <ac:cxnSpMk id="19" creationId="{8293009E-4854-4470-B8E2-3DC4CD6D61B6}"/>
          </ac:cxnSpMkLst>
        </pc:cxnChg>
        <pc:cxnChg chg="del">
          <ac:chgData name="Kisliuk, Adrian (ext)" userId="6e619ce3-2643-4cdf-9a13-b4c269650021" providerId="ADAL" clId="{AFCEEFB0-37BC-48D4-B200-D3706B2CD7FE}" dt="2021-04-19T15:43:27.254" v="8604" actId="478"/>
          <ac:cxnSpMkLst>
            <pc:docMk/>
            <pc:sldMk cId="915678809" sldId="902"/>
            <ac:cxnSpMk id="20" creationId="{A6407175-C7E5-448D-A3A8-95BD925B9D09}"/>
          </ac:cxnSpMkLst>
        </pc:cxnChg>
        <pc:cxnChg chg="del">
          <ac:chgData name="Kisliuk, Adrian (ext)" userId="6e619ce3-2643-4cdf-9a13-b4c269650021" providerId="ADAL" clId="{AFCEEFB0-37BC-48D4-B200-D3706B2CD7FE}" dt="2021-04-19T15:43:27.254" v="8604" actId="478"/>
          <ac:cxnSpMkLst>
            <pc:docMk/>
            <pc:sldMk cId="915678809" sldId="902"/>
            <ac:cxnSpMk id="22" creationId="{9D9503B9-E686-45C6-9D2F-F2F4A40A645B}"/>
          </ac:cxnSpMkLst>
        </pc:cxnChg>
        <pc:cxnChg chg="del">
          <ac:chgData name="Kisliuk, Adrian (ext)" userId="6e619ce3-2643-4cdf-9a13-b4c269650021" providerId="ADAL" clId="{AFCEEFB0-37BC-48D4-B200-D3706B2CD7FE}" dt="2021-04-19T15:43:27.254" v="8604" actId="478"/>
          <ac:cxnSpMkLst>
            <pc:docMk/>
            <pc:sldMk cId="915678809" sldId="902"/>
            <ac:cxnSpMk id="23" creationId="{A35D87B6-6FCA-496F-953A-CAC965EE273D}"/>
          </ac:cxnSpMkLst>
        </pc:cxnChg>
        <pc:cxnChg chg="del">
          <ac:chgData name="Kisliuk, Adrian (ext)" userId="6e619ce3-2643-4cdf-9a13-b4c269650021" providerId="ADAL" clId="{AFCEEFB0-37BC-48D4-B200-D3706B2CD7FE}" dt="2021-04-19T15:43:27.254" v="8604" actId="478"/>
          <ac:cxnSpMkLst>
            <pc:docMk/>
            <pc:sldMk cId="915678809" sldId="902"/>
            <ac:cxnSpMk id="24" creationId="{CA8D0A4E-84B8-4CB8-AF08-771577F58C61}"/>
          </ac:cxnSpMkLst>
        </pc:cxnChg>
        <pc:cxnChg chg="add del mod">
          <ac:chgData name="Kisliuk, Adrian (ext)" userId="6e619ce3-2643-4cdf-9a13-b4c269650021" providerId="ADAL" clId="{AFCEEFB0-37BC-48D4-B200-D3706B2CD7FE}" dt="2021-04-19T15:49:46.131" v="8726" actId="478"/>
          <ac:cxnSpMkLst>
            <pc:docMk/>
            <pc:sldMk cId="915678809" sldId="902"/>
            <ac:cxnSpMk id="28" creationId="{C703E000-359B-4A6C-A9BD-501817DC0735}"/>
          </ac:cxnSpMkLst>
        </pc:cxnChg>
        <pc:cxnChg chg="add del mod">
          <ac:chgData name="Kisliuk, Adrian (ext)" userId="6e619ce3-2643-4cdf-9a13-b4c269650021" providerId="ADAL" clId="{AFCEEFB0-37BC-48D4-B200-D3706B2CD7FE}" dt="2021-04-19T15:49:40.589" v="8724" actId="478"/>
          <ac:cxnSpMkLst>
            <pc:docMk/>
            <pc:sldMk cId="915678809" sldId="902"/>
            <ac:cxnSpMk id="29" creationId="{CC9210E8-E5E6-47BC-BDC6-EAA42A606C76}"/>
          </ac:cxnSpMkLst>
        </pc:cxnChg>
        <pc:cxnChg chg="add del mod">
          <ac:chgData name="Kisliuk, Adrian (ext)" userId="6e619ce3-2643-4cdf-9a13-b4c269650021" providerId="ADAL" clId="{AFCEEFB0-37BC-48D4-B200-D3706B2CD7FE}" dt="2021-04-19T15:49:41.971" v="8725" actId="478"/>
          <ac:cxnSpMkLst>
            <pc:docMk/>
            <pc:sldMk cId="915678809" sldId="902"/>
            <ac:cxnSpMk id="30" creationId="{D5582A98-BA71-49B3-82D4-782D0DE45DA9}"/>
          </ac:cxnSpMkLst>
        </pc:cxnChg>
        <pc:cxnChg chg="add del mod">
          <ac:chgData name="Kisliuk, Adrian (ext)" userId="6e619ce3-2643-4cdf-9a13-b4c269650021" providerId="ADAL" clId="{AFCEEFB0-37BC-48D4-B200-D3706B2CD7FE}" dt="2021-04-20T07:00:46.636" v="14316" actId="478"/>
          <ac:cxnSpMkLst>
            <pc:docMk/>
            <pc:sldMk cId="915678809" sldId="902"/>
            <ac:cxnSpMk id="31" creationId="{3B270265-79CC-474B-917B-688099BC01CD}"/>
          </ac:cxnSpMkLst>
        </pc:cxnChg>
        <pc:cxnChg chg="add del mod">
          <ac:chgData name="Kisliuk, Adrian (ext)" userId="6e619ce3-2643-4cdf-9a13-b4c269650021" providerId="ADAL" clId="{AFCEEFB0-37BC-48D4-B200-D3706B2CD7FE}" dt="2021-04-19T15:47:33.196" v="8685" actId="478"/>
          <ac:cxnSpMkLst>
            <pc:docMk/>
            <pc:sldMk cId="915678809" sldId="902"/>
            <ac:cxnSpMk id="32" creationId="{EF5D40FE-B0AC-4105-954A-F97DC8975293}"/>
          </ac:cxnSpMkLst>
        </pc:cxnChg>
        <pc:cxnChg chg="add del mod">
          <ac:chgData name="Kisliuk, Adrian (ext)" userId="6e619ce3-2643-4cdf-9a13-b4c269650021" providerId="ADAL" clId="{AFCEEFB0-37BC-48D4-B200-D3706B2CD7FE}" dt="2021-04-19T15:44:57.428" v="8625" actId="478"/>
          <ac:cxnSpMkLst>
            <pc:docMk/>
            <pc:sldMk cId="915678809" sldId="902"/>
            <ac:cxnSpMk id="33" creationId="{F99F65A6-5A84-441B-A898-8B765CAAC54E}"/>
          </ac:cxnSpMkLst>
        </pc:cxnChg>
        <pc:cxnChg chg="add del mod">
          <ac:chgData name="Kisliuk, Adrian (ext)" userId="6e619ce3-2643-4cdf-9a13-b4c269650021" providerId="ADAL" clId="{AFCEEFB0-37BC-48D4-B200-D3706B2CD7FE}" dt="2021-04-19T15:47:25.991" v="8683" actId="478"/>
          <ac:cxnSpMkLst>
            <pc:docMk/>
            <pc:sldMk cId="915678809" sldId="902"/>
            <ac:cxnSpMk id="35" creationId="{136C0505-E3FA-416F-AB6C-AA55AB62CDF3}"/>
          </ac:cxnSpMkLst>
        </pc:cxnChg>
        <pc:cxnChg chg="add del mod">
          <ac:chgData name="Kisliuk, Adrian (ext)" userId="6e619ce3-2643-4cdf-9a13-b4c269650021" providerId="ADAL" clId="{AFCEEFB0-37BC-48D4-B200-D3706B2CD7FE}" dt="2021-04-19T15:46:31.941" v="8652" actId="478"/>
          <ac:cxnSpMkLst>
            <pc:docMk/>
            <pc:sldMk cId="915678809" sldId="902"/>
            <ac:cxnSpMk id="36" creationId="{D8E8FA9E-04BB-4E81-89D3-3409565A29B9}"/>
          </ac:cxnSpMkLst>
        </pc:cxnChg>
        <pc:cxnChg chg="add mod">
          <ac:chgData name="Kisliuk, Adrian (ext)" userId="6e619ce3-2643-4cdf-9a13-b4c269650021" providerId="ADAL" clId="{AFCEEFB0-37BC-48D4-B200-D3706B2CD7FE}" dt="2021-04-21T12:13:35.176" v="20003" actId="1035"/>
          <ac:cxnSpMkLst>
            <pc:docMk/>
            <pc:sldMk cId="915678809" sldId="902"/>
            <ac:cxnSpMk id="38" creationId="{6471EDFB-DC31-4666-8B43-7551607A661B}"/>
          </ac:cxnSpMkLst>
        </pc:cxnChg>
        <pc:cxnChg chg="add mod">
          <ac:chgData name="Kisliuk, Adrian (ext)" userId="6e619ce3-2643-4cdf-9a13-b4c269650021" providerId="ADAL" clId="{AFCEEFB0-37BC-48D4-B200-D3706B2CD7FE}" dt="2021-04-21T12:13:35.176" v="20003" actId="1035"/>
          <ac:cxnSpMkLst>
            <pc:docMk/>
            <pc:sldMk cId="915678809" sldId="902"/>
            <ac:cxnSpMk id="40" creationId="{9B9A9CBD-1F16-41D3-A1B0-7EA4E3E5B65C}"/>
          </ac:cxnSpMkLst>
        </pc:cxnChg>
        <pc:cxnChg chg="add mod">
          <ac:chgData name="Kisliuk, Adrian (ext)" userId="6e619ce3-2643-4cdf-9a13-b4c269650021" providerId="ADAL" clId="{AFCEEFB0-37BC-48D4-B200-D3706B2CD7FE}" dt="2021-04-21T12:13:35.176" v="20003" actId="1035"/>
          <ac:cxnSpMkLst>
            <pc:docMk/>
            <pc:sldMk cId="915678809" sldId="902"/>
            <ac:cxnSpMk id="41" creationId="{9585952D-9AAC-495A-BB73-365B683861F9}"/>
          </ac:cxnSpMkLst>
        </pc:cxnChg>
        <pc:cxnChg chg="add del mod">
          <ac:chgData name="Kisliuk, Adrian (ext)" userId="6e619ce3-2643-4cdf-9a13-b4c269650021" providerId="ADAL" clId="{AFCEEFB0-37BC-48D4-B200-D3706B2CD7FE}" dt="2021-04-20T07:00:45.918" v="14315" actId="478"/>
          <ac:cxnSpMkLst>
            <pc:docMk/>
            <pc:sldMk cId="915678809" sldId="902"/>
            <ac:cxnSpMk id="43" creationId="{C22D2449-26BB-46BC-A3D8-3670FAC3E9E1}"/>
          </ac:cxnSpMkLst>
        </pc:cxnChg>
        <pc:cxnChg chg="add del mod">
          <ac:chgData name="Kisliuk, Adrian (ext)" userId="6e619ce3-2643-4cdf-9a13-b4c269650021" providerId="ADAL" clId="{AFCEEFB0-37BC-48D4-B200-D3706B2CD7FE}" dt="2021-04-20T07:00:45.101" v="14314" actId="478"/>
          <ac:cxnSpMkLst>
            <pc:docMk/>
            <pc:sldMk cId="915678809" sldId="902"/>
            <ac:cxnSpMk id="44" creationId="{C2DB4FE1-7F5A-47C2-9C9C-EB8E1EC9C375}"/>
          </ac:cxnSpMkLst>
        </pc:cxnChg>
        <pc:cxnChg chg="add del mod">
          <ac:chgData name="Kisliuk, Adrian (ext)" userId="6e619ce3-2643-4cdf-9a13-b4c269650021" providerId="ADAL" clId="{AFCEEFB0-37BC-48D4-B200-D3706B2CD7FE}" dt="2021-04-20T07:00:44.215" v="14313" actId="478"/>
          <ac:cxnSpMkLst>
            <pc:docMk/>
            <pc:sldMk cId="915678809" sldId="902"/>
            <ac:cxnSpMk id="45" creationId="{15CA6D5A-A9D9-45E9-9FDA-96663714383A}"/>
          </ac:cxnSpMkLst>
        </pc:cxnChg>
        <pc:cxnChg chg="add del mod">
          <ac:chgData name="Kisliuk, Adrian (ext)" userId="6e619ce3-2643-4cdf-9a13-b4c269650021" providerId="ADAL" clId="{AFCEEFB0-37BC-48D4-B200-D3706B2CD7FE}" dt="2021-04-19T15:58:01.062" v="8983" actId="478"/>
          <ac:cxnSpMkLst>
            <pc:docMk/>
            <pc:sldMk cId="915678809" sldId="902"/>
            <ac:cxnSpMk id="46" creationId="{754DABE2-8626-4350-96A6-1BEE2CC699C0}"/>
          </ac:cxnSpMkLst>
        </pc:cxnChg>
        <pc:cxnChg chg="add del mod">
          <ac:chgData name="Kisliuk, Adrian (ext)" userId="6e619ce3-2643-4cdf-9a13-b4c269650021" providerId="ADAL" clId="{AFCEEFB0-37BC-48D4-B200-D3706B2CD7FE}" dt="2021-04-19T15:51:38.637" v="8766" actId="478"/>
          <ac:cxnSpMkLst>
            <pc:docMk/>
            <pc:sldMk cId="915678809" sldId="902"/>
            <ac:cxnSpMk id="48" creationId="{01A3ADA2-304D-4439-97DF-26BDB1141EB3}"/>
          </ac:cxnSpMkLst>
        </pc:cxnChg>
        <pc:cxnChg chg="add mod">
          <ac:chgData name="Kisliuk, Adrian (ext)" userId="6e619ce3-2643-4cdf-9a13-b4c269650021" providerId="ADAL" clId="{AFCEEFB0-37BC-48D4-B200-D3706B2CD7FE}" dt="2021-04-21T12:13:35.176" v="20003" actId="1035"/>
          <ac:cxnSpMkLst>
            <pc:docMk/>
            <pc:sldMk cId="915678809" sldId="902"/>
            <ac:cxnSpMk id="59" creationId="{E83C487D-583D-4CAE-9385-9E3C32D5808A}"/>
          </ac:cxnSpMkLst>
        </pc:cxnChg>
        <pc:cxnChg chg="add del mod">
          <ac:chgData name="Kisliuk, Adrian (ext)" userId="6e619ce3-2643-4cdf-9a13-b4c269650021" providerId="ADAL" clId="{AFCEEFB0-37BC-48D4-B200-D3706B2CD7FE}" dt="2021-04-20T07:00:42.016" v="14312" actId="478"/>
          <ac:cxnSpMkLst>
            <pc:docMk/>
            <pc:sldMk cId="915678809" sldId="902"/>
            <ac:cxnSpMk id="76" creationId="{74C4E77B-220D-444D-A1E4-3CBB6D046468}"/>
          </ac:cxnSpMkLst>
        </pc:cxnChg>
        <pc:cxnChg chg="add del mod">
          <ac:chgData name="Kisliuk, Adrian (ext)" userId="6e619ce3-2643-4cdf-9a13-b4c269650021" providerId="ADAL" clId="{AFCEEFB0-37BC-48D4-B200-D3706B2CD7FE}" dt="2021-04-20T07:00:24.977" v="14308" actId="478"/>
          <ac:cxnSpMkLst>
            <pc:docMk/>
            <pc:sldMk cId="915678809" sldId="902"/>
            <ac:cxnSpMk id="77" creationId="{7127F5DC-2387-4498-9EC5-272A1065B393}"/>
          </ac:cxnSpMkLst>
        </pc:cxnChg>
        <pc:cxnChg chg="add del mod">
          <ac:chgData name="Kisliuk, Adrian (ext)" userId="6e619ce3-2643-4cdf-9a13-b4c269650021" providerId="ADAL" clId="{AFCEEFB0-37BC-48D4-B200-D3706B2CD7FE}" dt="2021-04-20T06:53:29.143" v="13995" actId="478"/>
          <ac:cxnSpMkLst>
            <pc:docMk/>
            <pc:sldMk cId="915678809" sldId="902"/>
            <ac:cxnSpMk id="78" creationId="{403FBA22-61B4-4307-9F51-12F3E4F31261}"/>
          </ac:cxnSpMkLst>
        </pc:cxnChg>
        <pc:cxnChg chg="add mod">
          <ac:chgData name="Kisliuk, Adrian (ext)" userId="6e619ce3-2643-4cdf-9a13-b4c269650021" providerId="ADAL" clId="{AFCEEFB0-37BC-48D4-B200-D3706B2CD7FE}" dt="2021-04-21T12:13:35.176" v="20003" actId="1035"/>
          <ac:cxnSpMkLst>
            <pc:docMk/>
            <pc:sldMk cId="915678809" sldId="902"/>
            <ac:cxnSpMk id="83" creationId="{C62C6C96-9033-4A00-A69A-E182DE45B9C7}"/>
          </ac:cxnSpMkLst>
        </pc:cxnChg>
        <pc:cxnChg chg="add del mod">
          <ac:chgData name="Kisliuk, Adrian (ext)" userId="6e619ce3-2643-4cdf-9a13-b4c269650021" providerId="ADAL" clId="{AFCEEFB0-37BC-48D4-B200-D3706B2CD7FE}" dt="2021-04-19T16:36:13.772" v="9366" actId="478"/>
          <ac:cxnSpMkLst>
            <pc:docMk/>
            <pc:sldMk cId="915678809" sldId="902"/>
            <ac:cxnSpMk id="86" creationId="{D081D210-722D-4C40-A199-DC744DD2E194}"/>
          </ac:cxnSpMkLst>
        </pc:cxnChg>
        <pc:cxnChg chg="add mod">
          <ac:chgData name="Kisliuk, Adrian (ext)" userId="6e619ce3-2643-4cdf-9a13-b4c269650021" providerId="ADAL" clId="{AFCEEFB0-37BC-48D4-B200-D3706B2CD7FE}" dt="2021-04-21T12:13:35.176" v="20003" actId="1035"/>
          <ac:cxnSpMkLst>
            <pc:docMk/>
            <pc:sldMk cId="915678809" sldId="902"/>
            <ac:cxnSpMk id="87" creationId="{E6695296-996D-4B80-9C9D-622DC57F9D1A}"/>
          </ac:cxnSpMkLst>
        </pc:cxnChg>
        <pc:cxnChg chg="add mod">
          <ac:chgData name="Kisliuk, Adrian (ext)" userId="6e619ce3-2643-4cdf-9a13-b4c269650021" providerId="ADAL" clId="{AFCEEFB0-37BC-48D4-B200-D3706B2CD7FE}" dt="2021-04-21T12:13:35.176" v="20003" actId="1035"/>
          <ac:cxnSpMkLst>
            <pc:docMk/>
            <pc:sldMk cId="915678809" sldId="902"/>
            <ac:cxnSpMk id="88" creationId="{B5CA9A7F-D2F3-4C21-94E9-142B3110FC67}"/>
          </ac:cxnSpMkLst>
        </pc:cxnChg>
        <pc:cxnChg chg="add mod">
          <ac:chgData name="Kisliuk, Adrian (ext)" userId="6e619ce3-2643-4cdf-9a13-b4c269650021" providerId="ADAL" clId="{AFCEEFB0-37BC-48D4-B200-D3706B2CD7FE}" dt="2021-04-21T12:13:35.176" v="20003" actId="1035"/>
          <ac:cxnSpMkLst>
            <pc:docMk/>
            <pc:sldMk cId="915678809" sldId="902"/>
            <ac:cxnSpMk id="98" creationId="{354CE8EC-4BDE-4E79-951C-4841AFA319A0}"/>
          </ac:cxnSpMkLst>
        </pc:cxnChg>
        <pc:cxnChg chg="add mod">
          <ac:chgData name="Kisliuk, Adrian (ext)" userId="6e619ce3-2643-4cdf-9a13-b4c269650021" providerId="ADAL" clId="{AFCEEFB0-37BC-48D4-B200-D3706B2CD7FE}" dt="2021-04-21T12:13:35.176" v="20003" actId="1035"/>
          <ac:cxnSpMkLst>
            <pc:docMk/>
            <pc:sldMk cId="915678809" sldId="902"/>
            <ac:cxnSpMk id="102" creationId="{0B56ED31-3FB1-4F37-819F-8134DF1B479A}"/>
          </ac:cxnSpMkLst>
        </pc:cxnChg>
        <pc:cxnChg chg="add mod">
          <ac:chgData name="Kisliuk, Adrian (ext)" userId="6e619ce3-2643-4cdf-9a13-b4c269650021" providerId="ADAL" clId="{AFCEEFB0-37BC-48D4-B200-D3706B2CD7FE}" dt="2021-04-21T12:13:35.176" v="20003" actId="1035"/>
          <ac:cxnSpMkLst>
            <pc:docMk/>
            <pc:sldMk cId="915678809" sldId="902"/>
            <ac:cxnSpMk id="103" creationId="{0E767117-5CD8-406F-867A-D37998C570AD}"/>
          </ac:cxnSpMkLst>
        </pc:cxnChg>
        <pc:cxnChg chg="add mod">
          <ac:chgData name="Kisliuk, Adrian (ext)" userId="6e619ce3-2643-4cdf-9a13-b4c269650021" providerId="ADAL" clId="{AFCEEFB0-37BC-48D4-B200-D3706B2CD7FE}" dt="2021-04-21T12:13:35.176" v="20003" actId="1035"/>
          <ac:cxnSpMkLst>
            <pc:docMk/>
            <pc:sldMk cId="915678809" sldId="902"/>
            <ac:cxnSpMk id="104" creationId="{42815B8E-07F5-447D-9E2A-A78D89CE5DA0}"/>
          </ac:cxnSpMkLst>
        </pc:cxnChg>
        <pc:cxnChg chg="add mod">
          <ac:chgData name="Kisliuk, Adrian (ext)" userId="6e619ce3-2643-4cdf-9a13-b4c269650021" providerId="ADAL" clId="{AFCEEFB0-37BC-48D4-B200-D3706B2CD7FE}" dt="2021-04-21T12:13:35.176" v="20003" actId="1035"/>
          <ac:cxnSpMkLst>
            <pc:docMk/>
            <pc:sldMk cId="915678809" sldId="902"/>
            <ac:cxnSpMk id="110" creationId="{1CA7BD83-4E7B-4A7B-93B5-C7C998B54A27}"/>
          </ac:cxnSpMkLst>
        </pc:cxnChg>
        <pc:cxnChg chg="add mod">
          <ac:chgData name="Kisliuk, Adrian (ext)" userId="6e619ce3-2643-4cdf-9a13-b4c269650021" providerId="ADAL" clId="{AFCEEFB0-37BC-48D4-B200-D3706B2CD7FE}" dt="2021-04-20T07:02:11.887" v="14439" actId="571"/>
          <ac:cxnSpMkLst>
            <pc:docMk/>
            <pc:sldMk cId="915678809" sldId="902"/>
            <ac:cxnSpMk id="114" creationId="{8B7E58A4-4822-4F42-9447-796CEB8B2BF0}"/>
          </ac:cxnSpMkLst>
        </pc:cxnChg>
        <pc:cxnChg chg="add mod">
          <ac:chgData name="Kisliuk, Adrian (ext)" userId="6e619ce3-2643-4cdf-9a13-b4c269650021" providerId="ADAL" clId="{AFCEEFB0-37BC-48D4-B200-D3706B2CD7FE}" dt="2021-04-20T07:02:11.887" v="14439" actId="571"/>
          <ac:cxnSpMkLst>
            <pc:docMk/>
            <pc:sldMk cId="915678809" sldId="902"/>
            <ac:cxnSpMk id="115" creationId="{9DF4E94E-CEB5-4476-9591-25615B915FD1}"/>
          </ac:cxnSpMkLst>
        </pc:cxnChg>
        <pc:cxnChg chg="add mod">
          <ac:chgData name="Kisliuk, Adrian (ext)" userId="6e619ce3-2643-4cdf-9a13-b4c269650021" providerId="ADAL" clId="{AFCEEFB0-37BC-48D4-B200-D3706B2CD7FE}" dt="2021-04-20T07:02:11.887" v="14439" actId="571"/>
          <ac:cxnSpMkLst>
            <pc:docMk/>
            <pc:sldMk cId="915678809" sldId="902"/>
            <ac:cxnSpMk id="116" creationId="{E674C4A3-CB6D-4314-A28D-4AEEB3FE009C}"/>
          </ac:cxnSpMkLst>
        </pc:cxnChg>
        <pc:cxnChg chg="add mod">
          <ac:chgData name="Kisliuk, Adrian (ext)" userId="6e619ce3-2643-4cdf-9a13-b4c269650021" providerId="ADAL" clId="{AFCEEFB0-37BC-48D4-B200-D3706B2CD7FE}" dt="2021-04-20T07:02:11.887" v="14439" actId="571"/>
          <ac:cxnSpMkLst>
            <pc:docMk/>
            <pc:sldMk cId="915678809" sldId="902"/>
            <ac:cxnSpMk id="123" creationId="{9F14AC97-1560-469F-B1FD-E0DB9D12F7DB}"/>
          </ac:cxnSpMkLst>
        </pc:cxnChg>
        <pc:cxnChg chg="add mod">
          <ac:chgData name="Kisliuk, Adrian (ext)" userId="6e619ce3-2643-4cdf-9a13-b4c269650021" providerId="ADAL" clId="{AFCEEFB0-37BC-48D4-B200-D3706B2CD7FE}" dt="2021-04-20T07:02:11.887" v="14439" actId="571"/>
          <ac:cxnSpMkLst>
            <pc:docMk/>
            <pc:sldMk cId="915678809" sldId="902"/>
            <ac:cxnSpMk id="135" creationId="{4CD61823-5C28-43B9-9681-31E4D8FA82B0}"/>
          </ac:cxnSpMkLst>
        </pc:cxnChg>
        <pc:cxnChg chg="add mod">
          <ac:chgData name="Kisliuk, Adrian (ext)" userId="6e619ce3-2643-4cdf-9a13-b4c269650021" providerId="ADAL" clId="{AFCEEFB0-37BC-48D4-B200-D3706B2CD7FE}" dt="2021-04-20T07:02:11.887" v="14439" actId="571"/>
          <ac:cxnSpMkLst>
            <pc:docMk/>
            <pc:sldMk cId="915678809" sldId="902"/>
            <ac:cxnSpMk id="136" creationId="{3468A290-7B6E-4E4A-8017-ADEFA1725A65}"/>
          </ac:cxnSpMkLst>
        </pc:cxnChg>
        <pc:cxnChg chg="add mod">
          <ac:chgData name="Kisliuk, Adrian (ext)" userId="6e619ce3-2643-4cdf-9a13-b4c269650021" providerId="ADAL" clId="{AFCEEFB0-37BC-48D4-B200-D3706B2CD7FE}" dt="2021-04-20T07:02:11.887" v="14439" actId="571"/>
          <ac:cxnSpMkLst>
            <pc:docMk/>
            <pc:sldMk cId="915678809" sldId="902"/>
            <ac:cxnSpMk id="137" creationId="{B96D5A34-4B06-40D0-B719-FAEE80919C7C}"/>
          </ac:cxnSpMkLst>
        </pc:cxnChg>
        <pc:cxnChg chg="add mod">
          <ac:chgData name="Kisliuk, Adrian (ext)" userId="6e619ce3-2643-4cdf-9a13-b4c269650021" providerId="ADAL" clId="{AFCEEFB0-37BC-48D4-B200-D3706B2CD7FE}" dt="2021-04-20T07:02:11.887" v="14439" actId="571"/>
          <ac:cxnSpMkLst>
            <pc:docMk/>
            <pc:sldMk cId="915678809" sldId="902"/>
            <ac:cxnSpMk id="138" creationId="{47D86498-E7FC-4538-A7E8-E100CC32277F}"/>
          </ac:cxnSpMkLst>
        </pc:cxnChg>
        <pc:cxnChg chg="add mod">
          <ac:chgData name="Kisliuk, Adrian (ext)" userId="6e619ce3-2643-4cdf-9a13-b4c269650021" providerId="ADAL" clId="{AFCEEFB0-37BC-48D4-B200-D3706B2CD7FE}" dt="2021-04-20T07:02:11.887" v="14439" actId="571"/>
          <ac:cxnSpMkLst>
            <pc:docMk/>
            <pc:sldMk cId="915678809" sldId="902"/>
            <ac:cxnSpMk id="139" creationId="{516BB288-A3FB-4A5A-BF65-993A13441E79}"/>
          </ac:cxnSpMkLst>
        </pc:cxnChg>
        <pc:cxnChg chg="add mod">
          <ac:chgData name="Kisliuk, Adrian (ext)" userId="6e619ce3-2643-4cdf-9a13-b4c269650021" providerId="ADAL" clId="{AFCEEFB0-37BC-48D4-B200-D3706B2CD7FE}" dt="2021-04-20T07:02:11.887" v="14439" actId="571"/>
          <ac:cxnSpMkLst>
            <pc:docMk/>
            <pc:sldMk cId="915678809" sldId="902"/>
            <ac:cxnSpMk id="140" creationId="{AED2E1FC-EE06-423E-9519-82AF5CF23966}"/>
          </ac:cxnSpMkLst>
        </pc:cxnChg>
        <pc:cxnChg chg="add mod">
          <ac:chgData name="Kisliuk, Adrian (ext)" userId="6e619ce3-2643-4cdf-9a13-b4c269650021" providerId="ADAL" clId="{AFCEEFB0-37BC-48D4-B200-D3706B2CD7FE}" dt="2021-04-20T07:02:11.887" v="14439" actId="571"/>
          <ac:cxnSpMkLst>
            <pc:docMk/>
            <pc:sldMk cId="915678809" sldId="902"/>
            <ac:cxnSpMk id="141" creationId="{2B13571F-61D1-4B12-8658-84CE8AC86FAF}"/>
          </ac:cxnSpMkLst>
        </pc:cxnChg>
        <pc:cxnChg chg="add mod">
          <ac:chgData name="Kisliuk, Adrian (ext)" userId="6e619ce3-2643-4cdf-9a13-b4c269650021" providerId="ADAL" clId="{AFCEEFB0-37BC-48D4-B200-D3706B2CD7FE}" dt="2021-04-20T07:02:11.887" v="14439" actId="571"/>
          <ac:cxnSpMkLst>
            <pc:docMk/>
            <pc:sldMk cId="915678809" sldId="902"/>
            <ac:cxnSpMk id="142" creationId="{5D4CC0D5-C62E-477A-91DD-25E6B3A92747}"/>
          </ac:cxnSpMkLst>
        </pc:cxnChg>
      </pc:sldChg>
      <pc:sldChg chg="addSp delSp modSp add del mod ord addCm modCm">
        <pc:chgData name="Kisliuk, Adrian (ext)" userId="6e619ce3-2643-4cdf-9a13-b4c269650021" providerId="ADAL" clId="{AFCEEFB0-37BC-48D4-B200-D3706B2CD7FE}" dt="2021-04-21T09:05:29.329" v="17047" actId="47"/>
        <pc:sldMkLst>
          <pc:docMk/>
          <pc:sldMk cId="2120897780" sldId="903"/>
        </pc:sldMkLst>
        <pc:spChg chg="mod ord">
          <ac:chgData name="Kisliuk, Adrian (ext)" userId="6e619ce3-2643-4cdf-9a13-b4c269650021" providerId="ADAL" clId="{AFCEEFB0-37BC-48D4-B200-D3706B2CD7FE}" dt="2021-04-19T19:15:13.928" v="9788"/>
          <ac:spMkLst>
            <pc:docMk/>
            <pc:sldMk cId="2120897780" sldId="903"/>
            <ac:spMk id="2" creationId="{DE936FAF-2E76-49E3-A26B-EE542092B6EF}"/>
          </ac:spMkLst>
        </pc:spChg>
        <pc:spChg chg="add del mod ord modVis">
          <ac:chgData name="Kisliuk, Adrian (ext)" userId="6e619ce3-2643-4cdf-9a13-b4c269650021" providerId="ADAL" clId="{AFCEEFB0-37BC-48D4-B200-D3706B2CD7FE}" dt="2021-04-19T19:01:15.320" v="9584"/>
          <ac:spMkLst>
            <pc:docMk/>
            <pc:sldMk cId="2120897780" sldId="903"/>
            <ac:spMk id="3" creationId="{3F6D5DA5-ACEA-4CCA-807E-FF136FB493EF}"/>
          </ac:spMkLst>
        </pc:spChg>
        <pc:spChg chg="mod">
          <ac:chgData name="Kisliuk, Adrian (ext)" userId="6e619ce3-2643-4cdf-9a13-b4c269650021" providerId="ADAL" clId="{AFCEEFB0-37BC-48D4-B200-D3706B2CD7FE}" dt="2021-04-20T08:06:12.070" v="15499" actId="20577"/>
          <ac:spMkLst>
            <pc:docMk/>
            <pc:sldMk cId="2120897780" sldId="903"/>
            <ac:spMk id="3" creationId="{AB0330F2-31AA-234C-9871-70C344D0F8C3}"/>
          </ac:spMkLst>
        </pc:spChg>
        <pc:spChg chg="mod ord">
          <ac:chgData name="Kisliuk, Adrian (ext)" userId="6e619ce3-2643-4cdf-9a13-b4c269650021" providerId="ADAL" clId="{AFCEEFB0-37BC-48D4-B200-D3706B2CD7FE}" dt="2021-04-19T19:27:05.231" v="9976" actId="1035"/>
          <ac:spMkLst>
            <pc:docMk/>
            <pc:sldMk cId="2120897780" sldId="903"/>
            <ac:spMk id="15" creationId="{A911831B-C326-4759-9EA7-6CD9E89CCC84}"/>
          </ac:spMkLst>
        </pc:spChg>
        <pc:spChg chg="add mod ord">
          <ac:chgData name="Kisliuk, Adrian (ext)" userId="6e619ce3-2643-4cdf-9a13-b4c269650021" providerId="ADAL" clId="{AFCEEFB0-37BC-48D4-B200-D3706B2CD7FE}" dt="2021-04-20T07:06:44.658" v="14485" actId="207"/>
          <ac:spMkLst>
            <pc:docMk/>
            <pc:sldMk cId="2120897780" sldId="903"/>
            <ac:spMk id="19" creationId="{0976F485-20E3-4810-A8D6-F3B073E34A00}"/>
          </ac:spMkLst>
        </pc:spChg>
        <pc:spChg chg="mod ord">
          <ac:chgData name="Kisliuk, Adrian (ext)" userId="6e619ce3-2643-4cdf-9a13-b4c269650021" providerId="ADAL" clId="{AFCEEFB0-37BC-48D4-B200-D3706B2CD7FE}" dt="2021-04-20T08:07:05.656" v="15500" actId="20577"/>
          <ac:spMkLst>
            <pc:docMk/>
            <pc:sldMk cId="2120897780" sldId="903"/>
            <ac:spMk id="20" creationId="{43FDF2E0-5A39-4198-ACA0-14849CE315F3}"/>
          </ac:spMkLst>
        </pc:spChg>
        <pc:spChg chg="mod ord">
          <ac:chgData name="Kisliuk, Adrian (ext)" userId="6e619ce3-2643-4cdf-9a13-b4c269650021" providerId="ADAL" clId="{AFCEEFB0-37BC-48D4-B200-D3706B2CD7FE}" dt="2021-04-20T08:09:10.517" v="15519" actId="20577"/>
          <ac:spMkLst>
            <pc:docMk/>
            <pc:sldMk cId="2120897780" sldId="903"/>
            <ac:spMk id="21" creationId="{330723CA-7BFA-4C99-B24C-564DDEFB599E}"/>
          </ac:spMkLst>
        </pc:spChg>
        <pc:spChg chg="add del mod ord">
          <ac:chgData name="Kisliuk, Adrian (ext)" userId="6e619ce3-2643-4cdf-9a13-b4c269650021" providerId="ADAL" clId="{AFCEEFB0-37BC-48D4-B200-D3706B2CD7FE}" dt="2021-04-19T19:02:07.162" v="9646" actId="478"/>
          <ac:spMkLst>
            <pc:docMk/>
            <pc:sldMk cId="2120897780" sldId="903"/>
            <ac:spMk id="22" creationId="{D1A11FD2-CF84-41C1-BF32-1F027E9EF3B2}"/>
          </ac:spMkLst>
        </pc:spChg>
        <pc:spChg chg="add del mod ord">
          <ac:chgData name="Kisliuk, Adrian (ext)" userId="6e619ce3-2643-4cdf-9a13-b4c269650021" providerId="ADAL" clId="{AFCEEFB0-37BC-48D4-B200-D3706B2CD7FE}" dt="2021-04-19T19:02:08.394" v="9647" actId="478"/>
          <ac:spMkLst>
            <pc:docMk/>
            <pc:sldMk cId="2120897780" sldId="903"/>
            <ac:spMk id="23" creationId="{45BD457A-C4DF-4EA4-8AE6-D688FA0D9E30}"/>
          </ac:spMkLst>
        </pc:spChg>
        <pc:spChg chg="mod ord">
          <ac:chgData name="Kisliuk, Adrian (ext)" userId="6e619ce3-2643-4cdf-9a13-b4c269650021" providerId="ADAL" clId="{AFCEEFB0-37BC-48D4-B200-D3706B2CD7FE}" dt="2021-04-19T19:27:05.231" v="9976" actId="1035"/>
          <ac:spMkLst>
            <pc:docMk/>
            <pc:sldMk cId="2120897780" sldId="903"/>
            <ac:spMk id="25" creationId="{8C99B033-DD94-4853-A461-068556DFA496}"/>
          </ac:spMkLst>
        </pc:spChg>
        <pc:spChg chg="mod ord">
          <ac:chgData name="Kisliuk, Adrian (ext)" userId="6e619ce3-2643-4cdf-9a13-b4c269650021" providerId="ADAL" clId="{AFCEEFB0-37BC-48D4-B200-D3706B2CD7FE}" dt="2021-04-19T19:27:05.231" v="9976" actId="1035"/>
          <ac:spMkLst>
            <pc:docMk/>
            <pc:sldMk cId="2120897780" sldId="903"/>
            <ac:spMk id="26" creationId="{BDAE0176-F24E-404C-A8B6-D8CE61CBC375}"/>
          </ac:spMkLst>
        </pc:spChg>
        <pc:spChg chg="mod ord">
          <ac:chgData name="Kisliuk, Adrian (ext)" userId="6e619ce3-2643-4cdf-9a13-b4c269650021" providerId="ADAL" clId="{AFCEEFB0-37BC-48D4-B200-D3706B2CD7FE}" dt="2021-04-19T19:27:05.231" v="9976" actId="1035"/>
          <ac:spMkLst>
            <pc:docMk/>
            <pc:sldMk cId="2120897780" sldId="903"/>
            <ac:spMk id="27" creationId="{21E6C608-F6A2-4019-AE79-97DC81E174C3}"/>
          </ac:spMkLst>
        </pc:spChg>
        <pc:spChg chg="add mod ord">
          <ac:chgData name="Kisliuk, Adrian (ext)" userId="6e619ce3-2643-4cdf-9a13-b4c269650021" providerId="ADAL" clId="{AFCEEFB0-37BC-48D4-B200-D3706B2CD7FE}" dt="2021-04-19T19:27:05.231" v="9976" actId="1035"/>
          <ac:spMkLst>
            <pc:docMk/>
            <pc:sldMk cId="2120897780" sldId="903"/>
            <ac:spMk id="28" creationId="{B7007918-E336-4382-A4B1-C41C6F7F3C9C}"/>
          </ac:spMkLst>
        </pc:spChg>
        <pc:spChg chg="mod ord">
          <ac:chgData name="Kisliuk, Adrian (ext)" userId="6e619ce3-2643-4cdf-9a13-b4c269650021" providerId="ADAL" clId="{AFCEEFB0-37BC-48D4-B200-D3706B2CD7FE}" dt="2021-04-21T08:26:05.029" v="16225" actId="20577"/>
          <ac:spMkLst>
            <pc:docMk/>
            <pc:sldMk cId="2120897780" sldId="903"/>
            <ac:spMk id="29" creationId="{9B519732-585D-482E-ABDB-9EDBB022E627}"/>
          </ac:spMkLst>
        </pc:spChg>
        <pc:spChg chg="del">
          <ac:chgData name="Kisliuk, Adrian (ext)" userId="6e619ce3-2643-4cdf-9a13-b4c269650021" providerId="ADAL" clId="{AFCEEFB0-37BC-48D4-B200-D3706B2CD7FE}" dt="2021-04-19T18:59:18.235" v="9470" actId="478"/>
          <ac:spMkLst>
            <pc:docMk/>
            <pc:sldMk cId="2120897780" sldId="903"/>
            <ac:spMk id="31" creationId="{47216323-F6A4-408A-BD6B-7B37CFD0BE03}"/>
          </ac:spMkLst>
        </pc:spChg>
        <pc:spChg chg="mod ord">
          <ac:chgData name="Kisliuk, Adrian (ext)" userId="6e619ce3-2643-4cdf-9a13-b4c269650021" providerId="ADAL" clId="{AFCEEFB0-37BC-48D4-B200-D3706B2CD7FE}" dt="2021-04-19T19:27:05.231" v="9976" actId="1035"/>
          <ac:spMkLst>
            <pc:docMk/>
            <pc:sldMk cId="2120897780" sldId="903"/>
            <ac:spMk id="32" creationId="{7F986206-E4A8-49C8-A03A-CF21EAD26520}"/>
          </ac:spMkLst>
        </pc:spChg>
        <pc:spChg chg="mod ord">
          <ac:chgData name="Kisliuk, Adrian (ext)" userId="6e619ce3-2643-4cdf-9a13-b4c269650021" providerId="ADAL" clId="{AFCEEFB0-37BC-48D4-B200-D3706B2CD7FE}" dt="2021-04-19T19:27:05.231" v="9976" actId="1035"/>
          <ac:spMkLst>
            <pc:docMk/>
            <pc:sldMk cId="2120897780" sldId="903"/>
            <ac:spMk id="33" creationId="{06756B0A-0567-489A-AD67-DF1BFBF9EBB6}"/>
          </ac:spMkLst>
        </pc:spChg>
        <pc:spChg chg="del">
          <ac:chgData name="Kisliuk, Adrian (ext)" userId="6e619ce3-2643-4cdf-9a13-b4c269650021" providerId="ADAL" clId="{AFCEEFB0-37BC-48D4-B200-D3706B2CD7FE}" dt="2021-04-19T18:59:20.158" v="9471" actId="478"/>
          <ac:spMkLst>
            <pc:docMk/>
            <pc:sldMk cId="2120897780" sldId="903"/>
            <ac:spMk id="34" creationId="{F40407E4-5B84-4D3F-A4EB-092109CB6C72}"/>
          </ac:spMkLst>
        </pc:spChg>
        <pc:spChg chg="mod ord">
          <ac:chgData name="Kisliuk, Adrian (ext)" userId="6e619ce3-2643-4cdf-9a13-b4c269650021" providerId="ADAL" clId="{AFCEEFB0-37BC-48D4-B200-D3706B2CD7FE}" dt="2021-04-19T19:27:05.231" v="9976" actId="1035"/>
          <ac:spMkLst>
            <pc:docMk/>
            <pc:sldMk cId="2120897780" sldId="903"/>
            <ac:spMk id="35" creationId="{9531B7BA-0417-40B2-B889-2C9A890F2D90}"/>
          </ac:spMkLst>
        </pc:spChg>
        <pc:spChg chg="mod ord">
          <ac:chgData name="Kisliuk, Adrian (ext)" userId="6e619ce3-2643-4cdf-9a13-b4c269650021" providerId="ADAL" clId="{AFCEEFB0-37BC-48D4-B200-D3706B2CD7FE}" dt="2021-04-19T19:27:47.262" v="9978" actId="207"/>
          <ac:spMkLst>
            <pc:docMk/>
            <pc:sldMk cId="2120897780" sldId="903"/>
            <ac:spMk id="36" creationId="{912B4A3E-66BF-4430-9E45-29F58AB66340}"/>
          </ac:spMkLst>
        </pc:spChg>
        <pc:spChg chg="add mod ord">
          <ac:chgData name="Kisliuk, Adrian (ext)" userId="6e619ce3-2643-4cdf-9a13-b4c269650021" providerId="ADAL" clId="{AFCEEFB0-37BC-48D4-B200-D3706B2CD7FE}" dt="2021-04-19T19:27:05.231" v="9976" actId="1035"/>
          <ac:spMkLst>
            <pc:docMk/>
            <pc:sldMk cId="2120897780" sldId="903"/>
            <ac:spMk id="38" creationId="{1FE620C9-0994-4E3D-A3BA-7845A3FA0211}"/>
          </ac:spMkLst>
        </pc:spChg>
        <pc:spChg chg="add mod ord">
          <ac:chgData name="Kisliuk, Adrian (ext)" userId="6e619ce3-2643-4cdf-9a13-b4c269650021" providerId="ADAL" clId="{AFCEEFB0-37BC-48D4-B200-D3706B2CD7FE}" dt="2021-04-19T19:27:05.231" v="9976" actId="1035"/>
          <ac:spMkLst>
            <pc:docMk/>
            <pc:sldMk cId="2120897780" sldId="903"/>
            <ac:spMk id="39" creationId="{D57AE966-E6AB-4B41-8159-BF0F819C9D1E}"/>
          </ac:spMkLst>
        </pc:spChg>
        <pc:spChg chg="add del mod">
          <ac:chgData name="Kisliuk, Adrian (ext)" userId="6e619ce3-2643-4cdf-9a13-b4c269650021" providerId="ADAL" clId="{AFCEEFB0-37BC-48D4-B200-D3706B2CD7FE}" dt="2021-04-19T19:00:25.932" v="9479"/>
          <ac:spMkLst>
            <pc:docMk/>
            <pc:sldMk cId="2120897780" sldId="903"/>
            <ac:spMk id="40" creationId="{22900E01-1819-45CB-937D-E1C7071049CC}"/>
          </ac:spMkLst>
        </pc:spChg>
        <pc:spChg chg="add mod ord">
          <ac:chgData name="Kisliuk, Adrian (ext)" userId="6e619ce3-2643-4cdf-9a13-b4c269650021" providerId="ADAL" clId="{AFCEEFB0-37BC-48D4-B200-D3706B2CD7FE}" dt="2021-04-20T07:06:44.658" v="14485" actId="207"/>
          <ac:spMkLst>
            <pc:docMk/>
            <pc:sldMk cId="2120897780" sldId="903"/>
            <ac:spMk id="41" creationId="{15AB89A2-B23B-4C7C-A263-9911421A6276}"/>
          </ac:spMkLst>
        </pc:spChg>
        <pc:spChg chg="add del mod ord">
          <ac:chgData name="Kisliuk, Adrian (ext)" userId="6e619ce3-2643-4cdf-9a13-b4c269650021" providerId="ADAL" clId="{AFCEEFB0-37BC-48D4-B200-D3706B2CD7FE}" dt="2021-04-20T07:06:44.658" v="14485" actId="207"/>
          <ac:spMkLst>
            <pc:docMk/>
            <pc:sldMk cId="2120897780" sldId="903"/>
            <ac:spMk id="42" creationId="{43D56E05-097E-4C5A-8AF5-0B59BDC48092}"/>
          </ac:spMkLst>
        </pc:spChg>
        <pc:spChg chg="add mod ord">
          <ac:chgData name="Kisliuk, Adrian (ext)" userId="6e619ce3-2643-4cdf-9a13-b4c269650021" providerId="ADAL" clId="{AFCEEFB0-37BC-48D4-B200-D3706B2CD7FE}" dt="2021-04-20T07:07:09.807" v="14487" actId="207"/>
          <ac:spMkLst>
            <pc:docMk/>
            <pc:sldMk cId="2120897780" sldId="903"/>
            <ac:spMk id="43" creationId="{471B0FA7-5984-46B8-B565-7588157C3CA6}"/>
          </ac:spMkLst>
        </pc:spChg>
        <pc:spChg chg="mod ord">
          <ac:chgData name="Kisliuk, Adrian (ext)" userId="6e619ce3-2643-4cdf-9a13-b4c269650021" providerId="ADAL" clId="{AFCEEFB0-37BC-48D4-B200-D3706B2CD7FE}" dt="2021-04-21T08:26:07.365" v="16227" actId="20577"/>
          <ac:spMkLst>
            <pc:docMk/>
            <pc:sldMk cId="2120897780" sldId="903"/>
            <ac:spMk id="44" creationId="{5BE3AE2B-4A0E-4204-B25A-B404EC4FDDA8}"/>
          </ac:spMkLst>
        </pc:spChg>
        <pc:spChg chg="add mod ord">
          <ac:chgData name="Kisliuk, Adrian (ext)" userId="6e619ce3-2643-4cdf-9a13-b4c269650021" providerId="ADAL" clId="{AFCEEFB0-37BC-48D4-B200-D3706B2CD7FE}" dt="2021-04-20T07:07:09.807" v="14487" actId="207"/>
          <ac:spMkLst>
            <pc:docMk/>
            <pc:sldMk cId="2120897780" sldId="903"/>
            <ac:spMk id="45" creationId="{601F71BF-E6F1-4033-8784-DDF810A6D4A0}"/>
          </ac:spMkLst>
        </pc:spChg>
        <pc:spChg chg="add mod ord">
          <ac:chgData name="Kisliuk, Adrian (ext)" userId="6e619ce3-2643-4cdf-9a13-b4c269650021" providerId="ADAL" clId="{AFCEEFB0-37BC-48D4-B200-D3706B2CD7FE}" dt="2021-04-20T07:07:09.807" v="14487" actId="207"/>
          <ac:spMkLst>
            <pc:docMk/>
            <pc:sldMk cId="2120897780" sldId="903"/>
            <ac:spMk id="46" creationId="{4B847C00-BB59-457E-B3E2-6A63F6F9DCBA}"/>
          </ac:spMkLst>
        </pc:spChg>
        <pc:spChg chg="add mod ord">
          <ac:chgData name="Kisliuk, Adrian (ext)" userId="6e619ce3-2643-4cdf-9a13-b4c269650021" providerId="ADAL" clId="{AFCEEFB0-37BC-48D4-B200-D3706B2CD7FE}" dt="2021-04-19T19:27:05.231" v="9976" actId="1035"/>
          <ac:spMkLst>
            <pc:docMk/>
            <pc:sldMk cId="2120897780" sldId="903"/>
            <ac:spMk id="48" creationId="{4E452F48-DE7A-49A2-A0F4-C368F2A7C1DE}"/>
          </ac:spMkLst>
        </pc:spChg>
        <pc:spChg chg="add mod">
          <ac:chgData name="Kisliuk, Adrian (ext)" userId="6e619ce3-2643-4cdf-9a13-b4c269650021" providerId="ADAL" clId="{AFCEEFB0-37BC-48D4-B200-D3706B2CD7FE}" dt="2021-04-20T08:01:34.273" v="15445" actId="11530"/>
          <ac:spMkLst>
            <pc:docMk/>
            <pc:sldMk cId="2120897780" sldId="903"/>
            <ac:spMk id="51" creationId="{3825CAD0-5216-4794-B0FC-F636E17F242A}"/>
          </ac:spMkLst>
        </pc:spChg>
        <pc:spChg chg="add mod ord">
          <ac:chgData name="Kisliuk, Adrian (ext)" userId="6e619ce3-2643-4cdf-9a13-b4c269650021" providerId="ADAL" clId="{AFCEEFB0-37BC-48D4-B200-D3706B2CD7FE}" dt="2021-04-19T19:36:55.936" v="9999" actId="108"/>
          <ac:spMkLst>
            <pc:docMk/>
            <pc:sldMk cId="2120897780" sldId="903"/>
            <ac:spMk id="52" creationId="{31148574-1A7B-479C-9F27-F3AB1A366588}"/>
          </ac:spMkLst>
        </pc:spChg>
        <pc:spChg chg="add mod">
          <ac:chgData name="Kisliuk, Adrian (ext)" userId="6e619ce3-2643-4cdf-9a13-b4c269650021" providerId="ADAL" clId="{AFCEEFB0-37BC-48D4-B200-D3706B2CD7FE}" dt="2021-04-19T19:27:05.231" v="9976" actId="1035"/>
          <ac:spMkLst>
            <pc:docMk/>
            <pc:sldMk cId="2120897780" sldId="903"/>
            <ac:spMk id="68" creationId="{D5FE2528-60BD-45A1-BA80-315CAE8BE661}"/>
          </ac:spMkLst>
        </pc:spChg>
        <pc:graphicFrameChg chg="mod ord">
          <ac:chgData name="Kisliuk, Adrian (ext)" userId="6e619ce3-2643-4cdf-9a13-b4c269650021" providerId="ADAL" clId="{AFCEEFB0-37BC-48D4-B200-D3706B2CD7FE}" dt="2021-04-21T09:05:09.642" v="17020" actId="1076"/>
          <ac:graphicFrameMkLst>
            <pc:docMk/>
            <pc:sldMk cId="2120897780" sldId="903"/>
            <ac:graphicFrameMk id="6" creationId="{580DFCAE-76C4-413B-B499-F7B76F1E13AF}"/>
          </ac:graphicFrameMkLst>
        </pc:graphicFrameChg>
        <pc:picChg chg="add mod ord">
          <ac:chgData name="Kisliuk, Adrian (ext)" userId="6e619ce3-2643-4cdf-9a13-b4c269650021" providerId="ADAL" clId="{AFCEEFB0-37BC-48D4-B200-D3706B2CD7FE}" dt="2021-04-19T19:27:05.231" v="9976" actId="1035"/>
          <ac:picMkLst>
            <pc:docMk/>
            <pc:sldMk cId="2120897780" sldId="903"/>
            <ac:picMk id="24" creationId="{EBF8C1E7-2694-4A34-B016-8E777FE545F6}"/>
          </ac:picMkLst>
        </pc:picChg>
        <pc:picChg chg="add mod ord">
          <ac:chgData name="Kisliuk, Adrian (ext)" userId="6e619ce3-2643-4cdf-9a13-b4c269650021" providerId="ADAL" clId="{AFCEEFB0-37BC-48D4-B200-D3706B2CD7FE}" dt="2021-04-19T19:27:05.231" v="9976" actId="1035"/>
          <ac:picMkLst>
            <pc:docMk/>
            <pc:sldMk cId="2120897780" sldId="903"/>
            <ac:picMk id="47" creationId="{E254D9EF-A288-4DDE-B5ED-4CAB7162EAA4}"/>
          </ac:picMkLst>
        </pc:picChg>
        <pc:picChg chg="add mod">
          <ac:chgData name="Kisliuk, Adrian (ext)" userId="6e619ce3-2643-4cdf-9a13-b4c269650021" providerId="ADAL" clId="{AFCEEFB0-37BC-48D4-B200-D3706B2CD7FE}" dt="2021-04-19T19:27:05.231" v="9976" actId="1035"/>
          <ac:picMkLst>
            <pc:docMk/>
            <pc:sldMk cId="2120897780" sldId="903"/>
            <ac:picMk id="49" creationId="{3A92323A-07A7-43A4-B6FB-CEC5819439C8}"/>
          </ac:picMkLst>
        </pc:picChg>
        <pc:cxnChg chg="mod ord">
          <ac:chgData name="Kisliuk, Adrian (ext)" userId="6e619ce3-2643-4cdf-9a13-b4c269650021" providerId="ADAL" clId="{AFCEEFB0-37BC-48D4-B200-D3706B2CD7FE}" dt="2021-04-20T07:59:03.692" v="15424" actId="108"/>
          <ac:cxnSpMkLst>
            <pc:docMk/>
            <pc:sldMk cId="2120897780" sldId="903"/>
            <ac:cxnSpMk id="5" creationId="{64F4978D-D77F-42AA-88F1-9FC844028933}"/>
          </ac:cxnSpMkLst>
        </pc:cxnChg>
        <pc:cxnChg chg="add mod ord">
          <ac:chgData name="Kisliuk, Adrian (ext)" userId="6e619ce3-2643-4cdf-9a13-b4c269650021" providerId="ADAL" clId="{AFCEEFB0-37BC-48D4-B200-D3706B2CD7FE}" dt="2021-04-19T19:27:05.231" v="9976" actId="1035"/>
          <ac:cxnSpMkLst>
            <pc:docMk/>
            <pc:sldMk cId="2120897780" sldId="903"/>
            <ac:cxnSpMk id="10" creationId="{652886AC-1E4C-41B2-8E3F-6BAEE657B018}"/>
          </ac:cxnSpMkLst>
        </pc:cxnChg>
        <pc:cxnChg chg="add mod ord">
          <ac:chgData name="Kisliuk, Adrian (ext)" userId="6e619ce3-2643-4cdf-9a13-b4c269650021" providerId="ADAL" clId="{AFCEEFB0-37BC-48D4-B200-D3706B2CD7FE}" dt="2021-04-19T19:27:05.231" v="9976" actId="1035"/>
          <ac:cxnSpMkLst>
            <pc:docMk/>
            <pc:sldMk cId="2120897780" sldId="903"/>
            <ac:cxnSpMk id="30" creationId="{DEE9D802-06E5-48EA-8026-E27DBBB88431}"/>
          </ac:cxnSpMkLst>
        </pc:cxnChg>
        <pc:cxnChg chg="add mod ord">
          <ac:chgData name="Kisliuk, Adrian (ext)" userId="6e619ce3-2643-4cdf-9a13-b4c269650021" providerId="ADAL" clId="{AFCEEFB0-37BC-48D4-B200-D3706B2CD7FE}" dt="2021-04-19T19:27:05.231" v="9976" actId="1035"/>
          <ac:cxnSpMkLst>
            <pc:docMk/>
            <pc:sldMk cId="2120897780" sldId="903"/>
            <ac:cxnSpMk id="37" creationId="{34725ED4-7ADF-4A95-9118-51B3074CC887}"/>
          </ac:cxnSpMkLst>
        </pc:cxnChg>
        <pc:cxnChg chg="add del mod">
          <ac:chgData name="Kisliuk, Adrian (ext)" userId="6e619ce3-2643-4cdf-9a13-b4c269650021" providerId="ADAL" clId="{AFCEEFB0-37BC-48D4-B200-D3706B2CD7FE}" dt="2021-04-20T07:59:06.292" v="15427"/>
          <ac:cxnSpMkLst>
            <pc:docMk/>
            <pc:sldMk cId="2120897780" sldId="903"/>
            <ac:cxnSpMk id="50" creationId="{0C64FBB5-DA7D-479C-B243-908231BC3E38}"/>
          </ac:cxnSpMkLst>
        </pc:cxnChg>
        <pc:cxnChg chg="add del mod">
          <ac:chgData name="Kisliuk, Adrian (ext)" userId="6e619ce3-2643-4cdf-9a13-b4c269650021" providerId="ADAL" clId="{AFCEEFB0-37BC-48D4-B200-D3706B2CD7FE}" dt="2021-04-19T19:10:40.752" v="9751"/>
          <ac:cxnSpMkLst>
            <pc:docMk/>
            <pc:sldMk cId="2120897780" sldId="903"/>
            <ac:cxnSpMk id="50" creationId="{D57AB242-6D83-4261-990D-2AF8F3ACF97F}"/>
          </ac:cxnSpMkLst>
        </pc:cxnChg>
        <pc:cxnChg chg="add del mod">
          <ac:chgData name="Kisliuk, Adrian (ext)" userId="6e619ce3-2643-4cdf-9a13-b4c269650021" providerId="ADAL" clId="{AFCEEFB0-37BC-48D4-B200-D3706B2CD7FE}" dt="2021-04-19T19:10:38.821" v="9748"/>
          <ac:cxnSpMkLst>
            <pc:docMk/>
            <pc:sldMk cId="2120897780" sldId="903"/>
            <ac:cxnSpMk id="51" creationId="{95ED973D-C591-40CF-A491-7E53AA1F0E73}"/>
          </ac:cxnSpMkLst>
        </pc:cxnChg>
        <pc:cxnChg chg="add mod ord">
          <ac:chgData name="Kisliuk, Adrian (ext)" userId="6e619ce3-2643-4cdf-9a13-b4c269650021" providerId="ADAL" clId="{AFCEEFB0-37BC-48D4-B200-D3706B2CD7FE}" dt="2021-04-20T07:06:25.352" v="14482" actId="1076"/>
          <ac:cxnSpMkLst>
            <pc:docMk/>
            <pc:sldMk cId="2120897780" sldId="903"/>
            <ac:cxnSpMk id="53" creationId="{5A830FD9-3453-4D9A-8CFB-B76E7C1B7236}"/>
          </ac:cxnSpMkLst>
        </pc:cxnChg>
        <pc:cxnChg chg="add mod">
          <ac:chgData name="Kisliuk, Adrian (ext)" userId="6e619ce3-2643-4cdf-9a13-b4c269650021" providerId="ADAL" clId="{AFCEEFB0-37BC-48D4-B200-D3706B2CD7FE}" dt="2021-04-20T08:02:26.728" v="15498" actId="14100"/>
          <ac:cxnSpMkLst>
            <pc:docMk/>
            <pc:sldMk cId="2120897780" sldId="903"/>
            <ac:cxnSpMk id="54" creationId="{3D56E8A4-A434-4475-A18E-E908C1C28EED}"/>
          </ac:cxnSpMkLst>
        </pc:cxnChg>
        <pc:cxnChg chg="add mod ord">
          <ac:chgData name="Kisliuk, Adrian (ext)" userId="6e619ce3-2643-4cdf-9a13-b4c269650021" providerId="ADAL" clId="{AFCEEFB0-37BC-48D4-B200-D3706B2CD7FE}" dt="2021-04-19T19:27:05.231" v="9976" actId="1035"/>
          <ac:cxnSpMkLst>
            <pc:docMk/>
            <pc:sldMk cId="2120897780" sldId="903"/>
            <ac:cxnSpMk id="57" creationId="{1FAEFF86-6BB8-4DDA-B69D-DD4C15823309}"/>
          </ac:cxnSpMkLst>
        </pc:cxnChg>
        <pc:cxnChg chg="add mod">
          <ac:chgData name="Kisliuk, Adrian (ext)" userId="6e619ce3-2643-4cdf-9a13-b4c269650021" providerId="ADAL" clId="{AFCEEFB0-37BC-48D4-B200-D3706B2CD7FE}" dt="2021-04-20T07:05:06.928" v="14473" actId="1076"/>
          <ac:cxnSpMkLst>
            <pc:docMk/>
            <pc:sldMk cId="2120897780" sldId="903"/>
            <ac:cxnSpMk id="61" creationId="{BE321C56-78D2-4149-9E8B-0A438C388959}"/>
          </ac:cxnSpMkLst>
        </pc:cxnChg>
        <pc:cxnChg chg="add mod">
          <ac:chgData name="Kisliuk, Adrian (ext)" userId="6e619ce3-2643-4cdf-9a13-b4c269650021" providerId="ADAL" clId="{AFCEEFB0-37BC-48D4-B200-D3706B2CD7FE}" dt="2021-04-19T19:27:05.231" v="9976" actId="1035"/>
          <ac:cxnSpMkLst>
            <pc:docMk/>
            <pc:sldMk cId="2120897780" sldId="903"/>
            <ac:cxnSpMk id="64" creationId="{14733312-1AED-430F-9964-3D8312BA1143}"/>
          </ac:cxnSpMkLst>
        </pc:cxnChg>
        <pc:cxnChg chg="add mod">
          <ac:chgData name="Kisliuk, Adrian (ext)" userId="6e619ce3-2643-4cdf-9a13-b4c269650021" providerId="ADAL" clId="{AFCEEFB0-37BC-48D4-B200-D3706B2CD7FE}" dt="2021-04-19T19:35:56.510" v="9994" actId="1035"/>
          <ac:cxnSpMkLst>
            <pc:docMk/>
            <pc:sldMk cId="2120897780" sldId="903"/>
            <ac:cxnSpMk id="70" creationId="{CA649833-52F1-418C-A7E2-031102C87666}"/>
          </ac:cxnSpMkLst>
        </pc:cxnChg>
        <pc:cxnChg chg="add mod">
          <ac:chgData name="Kisliuk, Adrian (ext)" userId="6e619ce3-2643-4cdf-9a13-b4c269650021" providerId="ADAL" clId="{AFCEEFB0-37BC-48D4-B200-D3706B2CD7FE}" dt="2021-04-19T19:36:17.002" v="9996" actId="14100"/>
          <ac:cxnSpMkLst>
            <pc:docMk/>
            <pc:sldMk cId="2120897780" sldId="903"/>
            <ac:cxnSpMk id="73" creationId="{A4C3CAC7-CD31-4635-809B-D083DA7CB4E4}"/>
          </ac:cxnSpMkLst>
        </pc:cxnChg>
        <pc:cxnChg chg="add mod">
          <ac:chgData name="Kisliuk, Adrian (ext)" userId="6e619ce3-2643-4cdf-9a13-b4c269650021" providerId="ADAL" clId="{AFCEEFB0-37BC-48D4-B200-D3706B2CD7FE}" dt="2021-04-19T19:36:27.993" v="9998" actId="14100"/>
          <ac:cxnSpMkLst>
            <pc:docMk/>
            <pc:sldMk cId="2120897780" sldId="903"/>
            <ac:cxnSpMk id="76" creationId="{833FE48F-0C55-4056-B53F-9C8124F3D7D7}"/>
          </ac:cxnSpMkLst>
        </pc:cxnChg>
        <pc:cxnChg chg="add mod">
          <ac:chgData name="Kisliuk, Adrian (ext)" userId="6e619ce3-2643-4cdf-9a13-b4c269650021" providerId="ADAL" clId="{AFCEEFB0-37BC-48D4-B200-D3706B2CD7FE}" dt="2021-04-20T08:11:10.018" v="15543" actId="14100"/>
          <ac:cxnSpMkLst>
            <pc:docMk/>
            <pc:sldMk cId="2120897780" sldId="903"/>
            <ac:cxnSpMk id="79" creationId="{AD6C4FA9-C693-43A4-8BD5-867CBEAC39C0}"/>
          </ac:cxnSpMkLst>
        </pc:cxnChg>
      </pc:sldChg>
      <pc:sldChg chg="addSp delSp modSp add del mod ord">
        <pc:chgData name="Kisliuk, Adrian (ext)" userId="6e619ce3-2643-4cdf-9a13-b4c269650021" providerId="ADAL" clId="{AFCEEFB0-37BC-48D4-B200-D3706B2CD7FE}" dt="2021-04-19T21:40:56.337" v="12606" actId="2696"/>
        <pc:sldMkLst>
          <pc:docMk/>
          <pc:sldMk cId="2312666381" sldId="904"/>
        </pc:sldMkLst>
        <pc:spChg chg="mod">
          <ac:chgData name="Kisliuk, Adrian (ext)" userId="6e619ce3-2643-4cdf-9a13-b4c269650021" providerId="ADAL" clId="{AFCEEFB0-37BC-48D4-B200-D3706B2CD7FE}" dt="2021-04-19T21:38:16.751" v="12498" actId="948"/>
          <ac:spMkLst>
            <pc:docMk/>
            <pc:sldMk cId="2312666381" sldId="904"/>
            <ac:spMk id="2" creationId="{C11920DB-DB27-4D35-BC7B-E98157E38E05}"/>
          </ac:spMkLst>
        </pc:spChg>
        <pc:spChg chg="add del mod modVis">
          <ac:chgData name="Kisliuk, Adrian (ext)" userId="6e619ce3-2643-4cdf-9a13-b4c269650021" providerId="ADAL" clId="{AFCEEFB0-37BC-48D4-B200-D3706B2CD7FE}" dt="2021-04-19T21:29:48.341" v="10145"/>
          <ac:spMkLst>
            <pc:docMk/>
            <pc:sldMk cId="2312666381" sldId="904"/>
            <ac:spMk id="3" creationId="{AD78C5C7-3897-4399-8DA5-E7588D75DA38}"/>
          </ac:spMkLst>
        </pc:spChg>
        <pc:spChg chg="add del mod modVis">
          <ac:chgData name="Kisliuk, Adrian (ext)" userId="6e619ce3-2643-4cdf-9a13-b4c269650021" providerId="ADAL" clId="{AFCEEFB0-37BC-48D4-B200-D3706B2CD7FE}" dt="2021-04-19T21:31:14.372" v="10213"/>
          <ac:spMkLst>
            <pc:docMk/>
            <pc:sldMk cId="2312666381" sldId="904"/>
            <ac:spMk id="4" creationId="{72CBD4E6-DDFC-4A40-8393-6245E20DA5CD}"/>
          </ac:spMkLst>
        </pc:spChg>
        <pc:spChg chg="add del mod modVis">
          <ac:chgData name="Kisliuk, Adrian (ext)" userId="6e619ce3-2643-4cdf-9a13-b4c269650021" providerId="ADAL" clId="{AFCEEFB0-37BC-48D4-B200-D3706B2CD7FE}" dt="2021-04-19T21:31:16.520" v="10278"/>
          <ac:spMkLst>
            <pc:docMk/>
            <pc:sldMk cId="2312666381" sldId="904"/>
            <ac:spMk id="5" creationId="{2573979B-8EA1-4C67-997E-59A9669A1830}"/>
          </ac:spMkLst>
        </pc:spChg>
        <pc:spChg chg="mod">
          <ac:chgData name="Kisliuk, Adrian (ext)" userId="6e619ce3-2643-4cdf-9a13-b4c269650021" providerId="ADAL" clId="{AFCEEFB0-37BC-48D4-B200-D3706B2CD7FE}" dt="2021-04-19T21:27:41.591" v="10073" actId="1076"/>
          <ac:spMkLst>
            <pc:docMk/>
            <pc:sldMk cId="2312666381" sldId="904"/>
            <ac:spMk id="7" creationId="{916B3258-4715-4692-965A-254384EFEA6C}"/>
          </ac:spMkLst>
        </pc:spChg>
        <pc:spChg chg="mod">
          <ac:chgData name="Kisliuk, Adrian (ext)" userId="6e619ce3-2643-4cdf-9a13-b4c269650021" providerId="ADAL" clId="{AFCEEFB0-37BC-48D4-B200-D3706B2CD7FE}" dt="2021-04-19T21:27:38.137" v="10072" actId="1076"/>
          <ac:spMkLst>
            <pc:docMk/>
            <pc:sldMk cId="2312666381" sldId="904"/>
            <ac:spMk id="8" creationId="{3907C534-8E08-4CF0-AFA3-754A4F7C8EFA}"/>
          </ac:spMkLst>
        </pc:spChg>
        <pc:spChg chg="add mod">
          <ac:chgData name="Kisliuk, Adrian (ext)" userId="6e619ce3-2643-4cdf-9a13-b4c269650021" providerId="ADAL" clId="{AFCEEFB0-37BC-48D4-B200-D3706B2CD7FE}" dt="2021-04-19T21:27:43.985" v="10074" actId="1076"/>
          <ac:spMkLst>
            <pc:docMk/>
            <pc:sldMk cId="2312666381" sldId="904"/>
            <ac:spMk id="9" creationId="{7669D4DA-E4FE-4EE5-A24F-F52140E0CA6D}"/>
          </ac:spMkLst>
        </pc:spChg>
        <pc:spChg chg="mod">
          <ac:chgData name="Kisliuk, Adrian (ext)" userId="6e619ce3-2643-4cdf-9a13-b4c269650021" providerId="ADAL" clId="{AFCEEFB0-37BC-48D4-B200-D3706B2CD7FE}" dt="2021-04-19T21:40:17.683" v="12605" actId="20577"/>
          <ac:spMkLst>
            <pc:docMk/>
            <pc:sldMk cId="2312666381" sldId="904"/>
            <ac:spMk id="10" creationId="{F4634E1B-2972-4D72-9658-99BB6BD08AA7}"/>
          </ac:spMkLst>
        </pc:spChg>
        <pc:spChg chg="mod">
          <ac:chgData name="Kisliuk, Adrian (ext)" userId="6e619ce3-2643-4cdf-9a13-b4c269650021" providerId="ADAL" clId="{AFCEEFB0-37BC-48D4-B200-D3706B2CD7FE}" dt="2021-04-19T21:30:07.472" v="10148" actId="1076"/>
          <ac:spMkLst>
            <pc:docMk/>
            <pc:sldMk cId="2312666381" sldId="904"/>
            <ac:spMk id="11" creationId="{9A5D9D18-CF71-46F1-A9D5-F8B9CF9CB53B}"/>
          </ac:spMkLst>
        </pc:spChg>
        <pc:spChg chg="mod">
          <ac:chgData name="Kisliuk, Adrian (ext)" userId="6e619ce3-2643-4cdf-9a13-b4c269650021" providerId="ADAL" clId="{AFCEEFB0-37BC-48D4-B200-D3706B2CD7FE}" dt="2021-04-19T21:27:35.263" v="10071" actId="1076"/>
          <ac:spMkLst>
            <pc:docMk/>
            <pc:sldMk cId="2312666381" sldId="904"/>
            <ac:spMk id="12" creationId="{57FE6D4D-037B-42BD-9EC4-3516A2990648}"/>
          </ac:spMkLst>
        </pc:spChg>
        <pc:spChg chg="add mod">
          <ac:chgData name="Kisliuk, Adrian (ext)" userId="6e619ce3-2643-4cdf-9a13-b4c269650021" providerId="ADAL" clId="{AFCEEFB0-37BC-48D4-B200-D3706B2CD7FE}" dt="2021-04-19T21:27:46.224" v="10075" actId="1076"/>
          <ac:spMkLst>
            <pc:docMk/>
            <pc:sldMk cId="2312666381" sldId="904"/>
            <ac:spMk id="13" creationId="{95FDA37D-599D-4ABF-9214-83DDEE5AAAB2}"/>
          </ac:spMkLst>
        </pc:spChg>
        <pc:spChg chg="add mod">
          <ac:chgData name="Kisliuk, Adrian (ext)" userId="6e619ce3-2643-4cdf-9a13-b4c269650021" providerId="ADAL" clId="{AFCEEFB0-37BC-48D4-B200-D3706B2CD7FE}" dt="2021-04-19T21:27:49.200" v="10076" actId="1076"/>
          <ac:spMkLst>
            <pc:docMk/>
            <pc:sldMk cId="2312666381" sldId="904"/>
            <ac:spMk id="14" creationId="{2D7D4A53-E826-4989-812A-BC25A4033E4F}"/>
          </ac:spMkLst>
        </pc:spChg>
        <pc:spChg chg="add del mod modVis">
          <ac:chgData name="Kisliuk, Adrian (ext)" userId="6e619ce3-2643-4cdf-9a13-b4c269650021" providerId="ADAL" clId="{AFCEEFB0-37BC-48D4-B200-D3706B2CD7FE}" dt="2021-04-19T21:31:19.001" v="10347"/>
          <ac:spMkLst>
            <pc:docMk/>
            <pc:sldMk cId="2312666381" sldId="904"/>
            <ac:spMk id="18" creationId="{1510A19D-6BEE-4A18-A6A2-CB7745D4F19F}"/>
          </ac:spMkLst>
        </pc:spChg>
        <pc:spChg chg="add del mod modVis">
          <ac:chgData name="Kisliuk, Adrian (ext)" userId="6e619ce3-2643-4cdf-9a13-b4c269650021" providerId="ADAL" clId="{AFCEEFB0-37BC-48D4-B200-D3706B2CD7FE}" dt="2021-04-19T21:31:19.974" v="10409"/>
          <ac:spMkLst>
            <pc:docMk/>
            <pc:sldMk cId="2312666381" sldId="904"/>
            <ac:spMk id="19" creationId="{7D288638-506D-40C4-9C8C-7ACF86FFCE55}"/>
          </ac:spMkLst>
        </pc:spChg>
        <pc:spChg chg="add del mod modVis">
          <ac:chgData name="Kisliuk, Adrian (ext)" userId="6e619ce3-2643-4cdf-9a13-b4c269650021" providerId="ADAL" clId="{AFCEEFB0-37BC-48D4-B200-D3706B2CD7FE}" dt="2021-04-19T21:31:21.192" v="10473"/>
          <ac:spMkLst>
            <pc:docMk/>
            <pc:sldMk cId="2312666381" sldId="904"/>
            <ac:spMk id="20" creationId="{50E2FC5F-1162-46AE-834A-27993DBCD67B}"/>
          </ac:spMkLst>
        </pc:spChg>
        <pc:spChg chg="add del mod modVis">
          <ac:chgData name="Kisliuk, Adrian (ext)" userId="6e619ce3-2643-4cdf-9a13-b4c269650021" providerId="ADAL" clId="{AFCEEFB0-37BC-48D4-B200-D3706B2CD7FE}" dt="2021-04-19T21:31:23.828" v="10534"/>
          <ac:spMkLst>
            <pc:docMk/>
            <pc:sldMk cId="2312666381" sldId="904"/>
            <ac:spMk id="21" creationId="{09E696BB-D382-4AC4-954B-7F9A4E404B73}"/>
          </ac:spMkLst>
        </pc:spChg>
        <pc:spChg chg="add del mod modVis">
          <ac:chgData name="Kisliuk, Adrian (ext)" userId="6e619ce3-2643-4cdf-9a13-b4c269650021" providerId="ADAL" clId="{AFCEEFB0-37BC-48D4-B200-D3706B2CD7FE}" dt="2021-04-19T21:31:30.393" v="10652" actId="962"/>
          <ac:spMkLst>
            <pc:docMk/>
            <pc:sldMk cId="2312666381" sldId="904"/>
            <ac:spMk id="22" creationId="{6F420809-AA55-4E27-ABE0-84F1F7E34044}"/>
          </ac:spMkLst>
        </pc:spChg>
        <pc:spChg chg="add del mod modVis">
          <ac:chgData name="Kisliuk, Adrian (ext)" userId="6e619ce3-2643-4cdf-9a13-b4c269650021" providerId="ADAL" clId="{AFCEEFB0-37BC-48D4-B200-D3706B2CD7FE}" dt="2021-04-19T21:31:33.936" v="10772" actId="962"/>
          <ac:spMkLst>
            <pc:docMk/>
            <pc:sldMk cId="2312666381" sldId="904"/>
            <ac:spMk id="23" creationId="{80C7151D-959D-45AB-B215-FC265CA7F71B}"/>
          </ac:spMkLst>
        </pc:spChg>
        <pc:spChg chg="add del mod modVis">
          <ac:chgData name="Kisliuk, Adrian (ext)" userId="6e619ce3-2643-4cdf-9a13-b4c269650021" providerId="ADAL" clId="{AFCEEFB0-37BC-48D4-B200-D3706B2CD7FE}" dt="2021-04-19T21:31:38.326" v="10855"/>
          <ac:spMkLst>
            <pc:docMk/>
            <pc:sldMk cId="2312666381" sldId="904"/>
            <ac:spMk id="24" creationId="{E7E4187C-2E36-4037-8259-4CD418B08E3B}"/>
          </ac:spMkLst>
        </pc:spChg>
        <pc:spChg chg="add del mod modVis">
          <ac:chgData name="Kisliuk, Adrian (ext)" userId="6e619ce3-2643-4cdf-9a13-b4c269650021" providerId="ADAL" clId="{AFCEEFB0-37BC-48D4-B200-D3706B2CD7FE}" dt="2021-04-19T21:31:40.189" v="10938"/>
          <ac:spMkLst>
            <pc:docMk/>
            <pc:sldMk cId="2312666381" sldId="904"/>
            <ac:spMk id="25" creationId="{D9427526-63BB-48DB-A748-907B4A2FB704}"/>
          </ac:spMkLst>
        </pc:spChg>
        <pc:spChg chg="add del mod modVis">
          <ac:chgData name="Kisliuk, Adrian (ext)" userId="6e619ce3-2643-4cdf-9a13-b4c269650021" providerId="ADAL" clId="{AFCEEFB0-37BC-48D4-B200-D3706B2CD7FE}" dt="2021-04-19T21:31:41.319" v="11021"/>
          <ac:spMkLst>
            <pc:docMk/>
            <pc:sldMk cId="2312666381" sldId="904"/>
            <ac:spMk id="26" creationId="{D1E326D9-FBC7-425B-8F4D-96E4501DFE71}"/>
          </ac:spMkLst>
        </pc:spChg>
        <pc:spChg chg="add del mod modVis">
          <ac:chgData name="Kisliuk, Adrian (ext)" userId="6e619ce3-2643-4cdf-9a13-b4c269650021" providerId="ADAL" clId="{AFCEEFB0-37BC-48D4-B200-D3706B2CD7FE}" dt="2021-04-19T21:31:42.654" v="11103"/>
          <ac:spMkLst>
            <pc:docMk/>
            <pc:sldMk cId="2312666381" sldId="904"/>
            <ac:spMk id="27" creationId="{D90B8624-79BD-4445-B5DA-531EE7E15338}"/>
          </ac:spMkLst>
        </pc:spChg>
        <pc:spChg chg="add del mod modVis">
          <ac:chgData name="Kisliuk, Adrian (ext)" userId="6e619ce3-2643-4cdf-9a13-b4c269650021" providerId="ADAL" clId="{AFCEEFB0-37BC-48D4-B200-D3706B2CD7FE}" dt="2021-04-19T21:31:51.580" v="11205"/>
          <ac:spMkLst>
            <pc:docMk/>
            <pc:sldMk cId="2312666381" sldId="904"/>
            <ac:spMk id="28" creationId="{370F4801-51AF-4327-BB95-A88D4F31F618}"/>
          </ac:spMkLst>
        </pc:spChg>
        <pc:spChg chg="add del mod modVis">
          <ac:chgData name="Kisliuk, Adrian (ext)" userId="6e619ce3-2643-4cdf-9a13-b4c269650021" providerId="ADAL" clId="{AFCEEFB0-37BC-48D4-B200-D3706B2CD7FE}" dt="2021-04-19T21:31:53.029" v="11306"/>
          <ac:spMkLst>
            <pc:docMk/>
            <pc:sldMk cId="2312666381" sldId="904"/>
            <ac:spMk id="29" creationId="{13CD87D5-8875-4107-A53B-43C23EC9133B}"/>
          </ac:spMkLst>
        </pc:spChg>
        <pc:spChg chg="add del mod modVis">
          <ac:chgData name="Kisliuk, Adrian (ext)" userId="6e619ce3-2643-4cdf-9a13-b4c269650021" providerId="ADAL" clId="{AFCEEFB0-37BC-48D4-B200-D3706B2CD7FE}" dt="2021-04-19T21:32:09.157" v="11387"/>
          <ac:spMkLst>
            <pc:docMk/>
            <pc:sldMk cId="2312666381" sldId="904"/>
            <ac:spMk id="30" creationId="{C89DBE94-F2AD-473C-867A-AAB67D5BBF8D}"/>
          </ac:spMkLst>
        </pc:spChg>
        <pc:spChg chg="add del mod modVis">
          <ac:chgData name="Kisliuk, Adrian (ext)" userId="6e619ce3-2643-4cdf-9a13-b4c269650021" providerId="ADAL" clId="{AFCEEFB0-37BC-48D4-B200-D3706B2CD7FE}" dt="2021-04-19T21:32:22.120" v="11458"/>
          <ac:spMkLst>
            <pc:docMk/>
            <pc:sldMk cId="2312666381" sldId="904"/>
            <ac:spMk id="31" creationId="{03416A6A-E831-40A6-87F1-A56CCD10057C}"/>
          </ac:spMkLst>
        </pc:spChg>
        <pc:spChg chg="add del mod modVis">
          <ac:chgData name="Kisliuk, Adrian (ext)" userId="6e619ce3-2643-4cdf-9a13-b4c269650021" providerId="ADAL" clId="{AFCEEFB0-37BC-48D4-B200-D3706B2CD7FE}" dt="2021-04-19T21:32:41.149" v="11529"/>
          <ac:spMkLst>
            <pc:docMk/>
            <pc:sldMk cId="2312666381" sldId="904"/>
            <ac:spMk id="32" creationId="{AE582A5E-51C1-4777-A547-6426C7EF95AD}"/>
          </ac:spMkLst>
        </pc:spChg>
        <pc:spChg chg="add del mod modVis">
          <ac:chgData name="Kisliuk, Adrian (ext)" userId="6e619ce3-2643-4cdf-9a13-b4c269650021" providerId="ADAL" clId="{AFCEEFB0-37BC-48D4-B200-D3706B2CD7FE}" dt="2021-04-19T21:32:42.701" v="11600"/>
          <ac:spMkLst>
            <pc:docMk/>
            <pc:sldMk cId="2312666381" sldId="904"/>
            <ac:spMk id="33" creationId="{FA839857-D16A-4BA4-8588-7E434EC1EAEC}"/>
          </ac:spMkLst>
        </pc:spChg>
        <pc:spChg chg="add del mod modVis">
          <ac:chgData name="Kisliuk, Adrian (ext)" userId="6e619ce3-2643-4cdf-9a13-b4c269650021" providerId="ADAL" clId="{AFCEEFB0-37BC-48D4-B200-D3706B2CD7FE}" dt="2021-04-19T21:36:01.966" v="11676"/>
          <ac:spMkLst>
            <pc:docMk/>
            <pc:sldMk cId="2312666381" sldId="904"/>
            <ac:spMk id="34" creationId="{F0B7AB63-B87D-4436-9DBC-13DD2F4F34A3}"/>
          </ac:spMkLst>
        </pc:spChg>
        <pc:spChg chg="add del mod modVis">
          <ac:chgData name="Kisliuk, Adrian (ext)" userId="6e619ce3-2643-4cdf-9a13-b4c269650021" providerId="ADAL" clId="{AFCEEFB0-37BC-48D4-B200-D3706B2CD7FE}" dt="2021-04-19T21:36:04.330" v="11747"/>
          <ac:spMkLst>
            <pc:docMk/>
            <pc:sldMk cId="2312666381" sldId="904"/>
            <ac:spMk id="35" creationId="{5E3EC834-A00E-4663-BD7D-7339B66564CF}"/>
          </ac:spMkLst>
        </pc:spChg>
        <pc:spChg chg="add del mod modVis">
          <ac:chgData name="Kisliuk, Adrian (ext)" userId="6e619ce3-2643-4cdf-9a13-b4c269650021" providerId="ADAL" clId="{AFCEEFB0-37BC-48D4-B200-D3706B2CD7FE}" dt="2021-04-19T21:36:08.622" v="11839"/>
          <ac:spMkLst>
            <pc:docMk/>
            <pc:sldMk cId="2312666381" sldId="904"/>
            <ac:spMk id="36" creationId="{E61E0500-4C89-4872-93AA-71B0FBF00139}"/>
          </ac:spMkLst>
        </pc:spChg>
        <pc:spChg chg="add del mod modVis">
          <ac:chgData name="Kisliuk, Adrian (ext)" userId="6e619ce3-2643-4cdf-9a13-b4c269650021" providerId="ADAL" clId="{AFCEEFB0-37BC-48D4-B200-D3706B2CD7FE}" dt="2021-04-19T21:36:11.786" v="11910"/>
          <ac:spMkLst>
            <pc:docMk/>
            <pc:sldMk cId="2312666381" sldId="904"/>
            <ac:spMk id="37" creationId="{BDEAEAE9-2B42-4891-8C28-E94EF3E7B23F}"/>
          </ac:spMkLst>
        </pc:spChg>
        <pc:spChg chg="add del mod modVis">
          <ac:chgData name="Kisliuk, Adrian (ext)" userId="6e619ce3-2643-4cdf-9a13-b4c269650021" providerId="ADAL" clId="{AFCEEFB0-37BC-48D4-B200-D3706B2CD7FE}" dt="2021-04-19T21:36:14.593" v="11987"/>
          <ac:spMkLst>
            <pc:docMk/>
            <pc:sldMk cId="2312666381" sldId="904"/>
            <ac:spMk id="38" creationId="{724F0C1F-75B6-48C6-B45A-A7519A789756}"/>
          </ac:spMkLst>
        </pc:spChg>
        <pc:spChg chg="add del mod modVis">
          <ac:chgData name="Kisliuk, Adrian (ext)" userId="6e619ce3-2643-4cdf-9a13-b4c269650021" providerId="ADAL" clId="{AFCEEFB0-37BC-48D4-B200-D3706B2CD7FE}" dt="2021-04-19T21:36:19.022" v="12059"/>
          <ac:spMkLst>
            <pc:docMk/>
            <pc:sldMk cId="2312666381" sldId="904"/>
            <ac:spMk id="39" creationId="{332546BA-CCDD-49D3-A6CE-4010A43C338F}"/>
          </ac:spMkLst>
        </pc:spChg>
        <pc:spChg chg="add del mod modVis">
          <ac:chgData name="Kisliuk, Adrian (ext)" userId="6e619ce3-2643-4cdf-9a13-b4c269650021" providerId="ADAL" clId="{AFCEEFB0-37BC-48D4-B200-D3706B2CD7FE}" dt="2021-04-19T21:36:19.731" v="12131"/>
          <ac:spMkLst>
            <pc:docMk/>
            <pc:sldMk cId="2312666381" sldId="904"/>
            <ac:spMk id="40" creationId="{D8158306-94C8-47B2-BC02-0A42A6F33B78}"/>
          </ac:spMkLst>
        </pc:spChg>
        <pc:spChg chg="add del mod modVis">
          <ac:chgData name="Kisliuk, Adrian (ext)" userId="6e619ce3-2643-4cdf-9a13-b4c269650021" providerId="ADAL" clId="{AFCEEFB0-37BC-48D4-B200-D3706B2CD7FE}" dt="2021-04-19T21:36:22.066" v="12207"/>
          <ac:spMkLst>
            <pc:docMk/>
            <pc:sldMk cId="2312666381" sldId="904"/>
            <ac:spMk id="41" creationId="{DCBA9C99-EE62-4A92-9FA3-C1FDAE7481CB}"/>
          </ac:spMkLst>
        </pc:spChg>
        <pc:spChg chg="add del mod modVis">
          <ac:chgData name="Kisliuk, Adrian (ext)" userId="6e619ce3-2643-4cdf-9a13-b4c269650021" providerId="ADAL" clId="{AFCEEFB0-37BC-48D4-B200-D3706B2CD7FE}" dt="2021-04-19T21:37:27.728" v="12278"/>
          <ac:spMkLst>
            <pc:docMk/>
            <pc:sldMk cId="2312666381" sldId="904"/>
            <ac:spMk id="42" creationId="{4C3FDA0B-45DB-40BA-BBF7-295A6714D650}"/>
          </ac:spMkLst>
        </pc:spChg>
        <pc:spChg chg="add del mod modVis">
          <ac:chgData name="Kisliuk, Adrian (ext)" userId="6e619ce3-2643-4cdf-9a13-b4c269650021" providerId="ADAL" clId="{AFCEEFB0-37BC-48D4-B200-D3706B2CD7FE}" dt="2021-04-19T21:37:31.037" v="12349"/>
          <ac:spMkLst>
            <pc:docMk/>
            <pc:sldMk cId="2312666381" sldId="904"/>
            <ac:spMk id="43" creationId="{EE12A4A6-26AC-4834-9481-1B1061676AA0}"/>
          </ac:spMkLst>
        </pc:spChg>
        <pc:spChg chg="add del mod modVis">
          <ac:chgData name="Kisliuk, Adrian (ext)" userId="6e619ce3-2643-4cdf-9a13-b4c269650021" providerId="ADAL" clId="{AFCEEFB0-37BC-48D4-B200-D3706B2CD7FE}" dt="2021-04-19T21:37:34.150" v="12420"/>
          <ac:spMkLst>
            <pc:docMk/>
            <pc:sldMk cId="2312666381" sldId="904"/>
            <ac:spMk id="44" creationId="{2D72D4F8-E919-4B8E-AED5-24993C945A04}"/>
          </ac:spMkLst>
        </pc:spChg>
        <pc:spChg chg="add del mod modVis">
          <ac:chgData name="Kisliuk, Adrian (ext)" userId="6e619ce3-2643-4cdf-9a13-b4c269650021" providerId="ADAL" clId="{AFCEEFB0-37BC-48D4-B200-D3706B2CD7FE}" dt="2021-04-19T21:38:13.038" v="12491"/>
          <ac:spMkLst>
            <pc:docMk/>
            <pc:sldMk cId="2312666381" sldId="904"/>
            <ac:spMk id="45" creationId="{D44D7C9D-18BD-4443-9A5E-E7607E91517C}"/>
          </ac:spMkLst>
        </pc:spChg>
        <pc:spChg chg="add del mod modVis">
          <ac:chgData name="Kisliuk, Adrian (ext)" userId="6e619ce3-2643-4cdf-9a13-b4c269650021" providerId="ADAL" clId="{AFCEEFB0-37BC-48D4-B200-D3706B2CD7FE}" dt="2021-04-19T21:38:16.794" v="12565"/>
          <ac:spMkLst>
            <pc:docMk/>
            <pc:sldMk cId="2312666381" sldId="904"/>
            <ac:spMk id="46" creationId="{7A615308-1920-4A0C-B5F6-96E4AF6F0DFC}"/>
          </ac:spMkLst>
        </pc:spChg>
        <pc:graphicFrameChg chg="mod">
          <ac:chgData name="Kisliuk, Adrian (ext)" userId="6e619ce3-2643-4cdf-9a13-b4c269650021" providerId="ADAL" clId="{AFCEEFB0-37BC-48D4-B200-D3706B2CD7FE}" dt="2021-04-19T21:38:16.795" v="12567"/>
          <ac:graphicFrameMkLst>
            <pc:docMk/>
            <pc:sldMk cId="2312666381" sldId="904"/>
            <ac:graphicFrameMk id="6" creationId="{4828E88A-D5C2-4929-A058-2CC608F5A67D}"/>
          </ac:graphicFrameMkLst>
        </pc:graphicFrameChg>
        <pc:cxnChg chg="add mod">
          <ac:chgData name="Kisliuk, Adrian (ext)" userId="6e619ce3-2643-4cdf-9a13-b4c269650021" providerId="ADAL" clId="{AFCEEFB0-37BC-48D4-B200-D3706B2CD7FE}" dt="2021-04-19T21:28:59.723" v="10085" actId="1582"/>
          <ac:cxnSpMkLst>
            <pc:docMk/>
            <pc:sldMk cId="2312666381" sldId="904"/>
            <ac:cxnSpMk id="15" creationId="{CD16183A-DFB2-4606-8066-EDF745EF7CDE}"/>
          </ac:cxnSpMkLst>
        </pc:cxnChg>
        <pc:cxnChg chg="add mod">
          <ac:chgData name="Kisliuk, Adrian (ext)" userId="6e619ce3-2643-4cdf-9a13-b4c269650021" providerId="ADAL" clId="{AFCEEFB0-37BC-48D4-B200-D3706B2CD7FE}" dt="2021-04-19T21:28:59.723" v="10085" actId="1582"/>
          <ac:cxnSpMkLst>
            <pc:docMk/>
            <pc:sldMk cId="2312666381" sldId="904"/>
            <ac:cxnSpMk id="16" creationId="{EDDE9950-507A-4C9B-A861-1FBB55228128}"/>
          </ac:cxnSpMkLst>
        </pc:cxnChg>
        <pc:cxnChg chg="add mod">
          <ac:chgData name="Kisliuk, Adrian (ext)" userId="6e619ce3-2643-4cdf-9a13-b4c269650021" providerId="ADAL" clId="{AFCEEFB0-37BC-48D4-B200-D3706B2CD7FE}" dt="2021-04-19T21:28:59.723" v="10085" actId="1582"/>
          <ac:cxnSpMkLst>
            <pc:docMk/>
            <pc:sldMk cId="2312666381" sldId="904"/>
            <ac:cxnSpMk id="17" creationId="{F2731BF3-A177-4B92-AD62-D269B34150D7}"/>
          </ac:cxnSpMkLst>
        </pc:cxnChg>
      </pc:sldChg>
      <pc:sldChg chg="addSp delSp modSp add del mod addCm delCm modCm">
        <pc:chgData name="Kisliuk, Adrian (ext)" userId="6e619ce3-2643-4cdf-9a13-b4c269650021" providerId="ADAL" clId="{AFCEEFB0-37BC-48D4-B200-D3706B2CD7FE}" dt="2021-04-21T12:30:23.931" v="20425" actId="47"/>
        <pc:sldMkLst>
          <pc:docMk/>
          <pc:sldMk cId="3715642723" sldId="904"/>
        </pc:sldMkLst>
        <pc:spChg chg="mod">
          <ac:chgData name="Kisliuk, Adrian (ext)" userId="6e619ce3-2643-4cdf-9a13-b4c269650021" providerId="ADAL" clId="{AFCEEFB0-37BC-48D4-B200-D3706B2CD7FE}" dt="2021-04-21T12:07:44.028" v="19895" actId="948"/>
          <ac:spMkLst>
            <pc:docMk/>
            <pc:sldMk cId="3715642723" sldId="904"/>
            <ac:spMk id="2" creationId="{C11920DB-DB27-4D35-BC7B-E98157E38E05}"/>
          </ac:spMkLst>
        </pc:spChg>
        <pc:spChg chg="add del mod modVis">
          <ac:chgData name="Kisliuk, Adrian (ext)" userId="6e619ce3-2643-4cdf-9a13-b4c269650021" providerId="ADAL" clId="{AFCEEFB0-37BC-48D4-B200-D3706B2CD7FE}" dt="2021-04-21T10:12:27.499" v="17996"/>
          <ac:spMkLst>
            <pc:docMk/>
            <pc:sldMk cId="3715642723" sldId="904"/>
            <ac:spMk id="3" creationId="{2EFE1D8A-2AFF-4420-9D47-275273615311}"/>
          </ac:spMkLst>
        </pc:spChg>
        <pc:spChg chg="add del mod modVis">
          <ac:chgData name="Kisliuk, Adrian (ext)" userId="6e619ce3-2643-4cdf-9a13-b4c269650021" providerId="ADAL" clId="{AFCEEFB0-37BC-48D4-B200-D3706B2CD7FE}" dt="2021-04-19T21:56:59.117" v="12766"/>
          <ac:spMkLst>
            <pc:docMk/>
            <pc:sldMk cId="3715642723" sldId="904"/>
            <ac:spMk id="3" creationId="{C0105547-1FA5-4DBA-B1DD-3C0C5BA17C6F}"/>
          </ac:spMkLst>
        </pc:spChg>
        <pc:spChg chg="add del mod modVis">
          <ac:chgData name="Kisliuk, Adrian (ext)" userId="6e619ce3-2643-4cdf-9a13-b4c269650021" providerId="ADAL" clId="{AFCEEFB0-37BC-48D4-B200-D3706B2CD7FE}" dt="2021-04-21T12:06:01.370" v="19425"/>
          <ac:spMkLst>
            <pc:docMk/>
            <pc:sldMk cId="3715642723" sldId="904"/>
            <ac:spMk id="3" creationId="{EE377163-75FF-4C9F-B265-C83BDFBA79DA}"/>
          </ac:spMkLst>
        </pc:spChg>
        <pc:spChg chg="add del mod modVis">
          <ac:chgData name="Kisliuk, Adrian (ext)" userId="6e619ce3-2643-4cdf-9a13-b4c269650021" providerId="ADAL" clId="{AFCEEFB0-37BC-48D4-B200-D3706B2CD7FE}" dt="2021-04-19T21:57:01.267" v="12845"/>
          <ac:spMkLst>
            <pc:docMk/>
            <pc:sldMk cId="3715642723" sldId="904"/>
            <ac:spMk id="4" creationId="{5035CE1C-5C63-455C-A83D-756734E192FF}"/>
          </ac:spMkLst>
        </pc:spChg>
        <pc:spChg chg="add del mod modVis">
          <ac:chgData name="Kisliuk, Adrian (ext)" userId="6e619ce3-2643-4cdf-9a13-b4c269650021" providerId="ADAL" clId="{AFCEEFB0-37BC-48D4-B200-D3706B2CD7FE}" dt="2021-04-21T12:06:02.411" v="19488"/>
          <ac:spMkLst>
            <pc:docMk/>
            <pc:sldMk cId="3715642723" sldId="904"/>
            <ac:spMk id="4" creationId="{AB5C16E4-EA63-4648-A240-D67859A74851}"/>
          </ac:spMkLst>
        </pc:spChg>
        <pc:spChg chg="add del mod modVis">
          <ac:chgData name="Kisliuk, Adrian (ext)" userId="6e619ce3-2643-4cdf-9a13-b4c269650021" providerId="ADAL" clId="{AFCEEFB0-37BC-48D4-B200-D3706B2CD7FE}" dt="2021-04-21T10:12:30.025" v="18038"/>
          <ac:spMkLst>
            <pc:docMk/>
            <pc:sldMk cId="3715642723" sldId="904"/>
            <ac:spMk id="4" creationId="{FA7E35E6-6868-4E8B-AE4A-D1F32A3515AC}"/>
          </ac:spMkLst>
        </pc:spChg>
        <pc:spChg chg="add del mod modVis">
          <ac:chgData name="Kisliuk, Adrian (ext)" userId="6e619ce3-2643-4cdf-9a13-b4c269650021" providerId="ADAL" clId="{AFCEEFB0-37BC-48D4-B200-D3706B2CD7FE}" dt="2021-04-19T21:57:21.726" v="12919"/>
          <ac:spMkLst>
            <pc:docMk/>
            <pc:sldMk cId="3715642723" sldId="904"/>
            <ac:spMk id="5" creationId="{90465B8A-A452-4EED-ACBB-362C3DED9902}"/>
          </ac:spMkLst>
        </pc:spChg>
        <pc:spChg chg="add del mod modVis">
          <ac:chgData name="Kisliuk, Adrian (ext)" userId="6e619ce3-2643-4cdf-9a13-b4c269650021" providerId="ADAL" clId="{AFCEEFB0-37BC-48D4-B200-D3706B2CD7FE}" dt="2021-04-21T10:12:41.423" v="18086"/>
          <ac:spMkLst>
            <pc:docMk/>
            <pc:sldMk cId="3715642723" sldId="904"/>
            <ac:spMk id="5" creationId="{A1DDC205-D872-4E32-885B-90BE94E0326E}"/>
          </ac:spMkLst>
        </pc:spChg>
        <pc:spChg chg="add del mod modVis">
          <ac:chgData name="Kisliuk, Adrian (ext)" userId="6e619ce3-2643-4cdf-9a13-b4c269650021" providerId="ADAL" clId="{AFCEEFB0-37BC-48D4-B200-D3706B2CD7FE}" dt="2021-04-21T12:06:05.387" v="19557"/>
          <ac:spMkLst>
            <pc:docMk/>
            <pc:sldMk cId="3715642723" sldId="904"/>
            <ac:spMk id="5" creationId="{DCE94B99-26A4-4F1B-AF98-7EAB9D4B4F69}"/>
          </ac:spMkLst>
        </pc:spChg>
        <pc:spChg chg="mod">
          <ac:chgData name="Kisliuk, Adrian (ext)" userId="6e619ce3-2643-4cdf-9a13-b4c269650021" providerId="ADAL" clId="{AFCEEFB0-37BC-48D4-B200-D3706B2CD7FE}" dt="2021-04-21T12:14:23.762" v="20004" actId="2710"/>
          <ac:spMkLst>
            <pc:docMk/>
            <pc:sldMk cId="3715642723" sldId="904"/>
            <ac:spMk id="7" creationId="{916B3258-4715-4692-965A-254384EFEA6C}"/>
          </ac:spMkLst>
        </pc:spChg>
        <pc:spChg chg="mod">
          <ac:chgData name="Kisliuk, Adrian (ext)" userId="6e619ce3-2643-4cdf-9a13-b4c269650021" providerId="ADAL" clId="{AFCEEFB0-37BC-48D4-B200-D3706B2CD7FE}" dt="2021-04-19T22:08:57.922" v="13245" actId="1076"/>
          <ac:spMkLst>
            <pc:docMk/>
            <pc:sldMk cId="3715642723" sldId="904"/>
            <ac:spMk id="8" creationId="{3907C534-8E08-4CF0-AFA3-754A4F7C8EFA}"/>
          </ac:spMkLst>
        </pc:spChg>
        <pc:spChg chg="add del mod modVis">
          <ac:chgData name="Kisliuk, Adrian (ext)" userId="6e619ce3-2643-4cdf-9a13-b4c269650021" providerId="ADAL" clId="{AFCEEFB0-37BC-48D4-B200-D3706B2CD7FE}" dt="2021-04-21T12:06:22.290" v="19626"/>
          <ac:spMkLst>
            <pc:docMk/>
            <pc:sldMk cId="3715642723" sldId="904"/>
            <ac:spMk id="8" creationId="{78A1BD3A-80AC-42B8-B669-2D147D1FCD20}"/>
          </ac:spMkLst>
        </pc:spChg>
        <pc:spChg chg="add del mod modVis">
          <ac:chgData name="Kisliuk, Adrian (ext)" userId="6e619ce3-2643-4cdf-9a13-b4c269650021" providerId="ADAL" clId="{AFCEEFB0-37BC-48D4-B200-D3706B2CD7FE}" dt="2021-04-21T10:12:43.784" v="18134"/>
          <ac:spMkLst>
            <pc:docMk/>
            <pc:sldMk cId="3715642723" sldId="904"/>
            <ac:spMk id="8" creationId="{D3CF6391-BAA2-4C16-AA3E-8DEEFFABD4EE}"/>
          </ac:spMkLst>
        </pc:spChg>
        <pc:spChg chg="mod">
          <ac:chgData name="Kisliuk, Adrian (ext)" userId="6e619ce3-2643-4cdf-9a13-b4c269650021" providerId="ADAL" clId="{AFCEEFB0-37BC-48D4-B200-D3706B2CD7FE}" dt="2021-04-21T12:03:38.507" v="19302" actId="403"/>
          <ac:spMkLst>
            <pc:docMk/>
            <pc:sldMk cId="3715642723" sldId="904"/>
            <ac:spMk id="9" creationId="{7669D4DA-E4FE-4EE5-A24F-F52140E0CA6D}"/>
          </ac:spMkLst>
        </pc:spChg>
        <pc:spChg chg="add del mod modVis">
          <ac:chgData name="Kisliuk, Adrian (ext)" userId="6e619ce3-2643-4cdf-9a13-b4c269650021" providerId="ADAL" clId="{AFCEEFB0-37BC-48D4-B200-D3706B2CD7FE}" dt="2021-04-21T12:06:25.696" v="19677"/>
          <ac:spMkLst>
            <pc:docMk/>
            <pc:sldMk cId="3715642723" sldId="904"/>
            <ac:spMk id="10" creationId="{4EAD0AC7-A88E-47E1-BFD1-B3DC818FC48E}"/>
          </ac:spMkLst>
        </pc:spChg>
        <pc:spChg chg="del mod">
          <ac:chgData name="Kisliuk, Adrian (ext)" userId="6e619ce3-2643-4cdf-9a13-b4c269650021" providerId="ADAL" clId="{AFCEEFB0-37BC-48D4-B200-D3706B2CD7FE}" dt="2021-04-21T10:07:26.914" v="17955" actId="478"/>
          <ac:spMkLst>
            <pc:docMk/>
            <pc:sldMk cId="3715642723" sldId="904"/>
            <ac:spMk id="10" creationId="{F4634E1B-2972-4D72-9658-99BB6BD08AA7}"/>
          </ac:spMkLst>
        </pc:spChg>
        <pc:spChg chg="add del mod modVis">
          <ac:chgData name="Kisliuk, Adrian (ext)" userId="6e619ce3-2643-4cdf-9a13-b4c269650021" providerId="ADAL" clId="{AFCEEFB0-37BC-48D4-B200-D3706B2CD7FE}" dt="2021-04-21T10:12:49.434" v="18175"/>
          <ac:spMkLst>
            <pc:docMk/>
            <pc:sldMk cId="3715642723" sldId="904"/>
            <ac:spMk id="11" creationId="{24523042-D10F-4394-811B-8CD7CF250388}"/>
          </ac:spMkLst>
        </pc:spChg>
        <pc:spChg chg="add del mod modVis">
          <ac:chgData name="Kisliuk, Adrian (ext)" userId="6e619ce3-2643-4cdf-9a13-b4c269650021" providerId="ADAL" clId="{AFCEEFB0-37BC-48D4-B200-D3706B2CD7FE}" dt="2021-04-21T12:06:37.577" v="19730"/>
          <ac:spMkLst>
            <pc:docMk/>
            <pc:sldMk cId="3715642723" sldId="904"/>
            <ac:spMk id="11" creationId="{8B6C3539-0A40-4E07-B7F3-77EAD96E8541}"/>
          </ac:spMkLst>
        </pc:spChg>
        <pc:spChg chg="mod">
          <ac:chgData name="Kisliuk, Adrian (ext)" userId="6e619ce3-2643-4cdf-9a13-b4c269650021" providerId="ADAL" clId="{AFCEEFB0-37BC-48D4-B200-D3706B2CD7FE}" dt="2021-04-19T22:09:01.858" v="13246" actId="1076"/>
          <ac:spMkLst>
            <pc:docMk/>
            <pc:sldMk cId="3715642723" sldId="904"/>
            <ac:spMk id="11" creationId="{9A5D9D18-CF71-46F1-A9D5-F8B9CF9CB53B}"/>
          </ac:spMkLst>
        </pc:spChg>
        <pc:spChg chg="add mod">
          <ac:chgData name="Kisliuk, Adrian (ext)" userId="6e619ce3-2643-4cdf-9a13-b4c269650021" providerId="ADAL" clId="{AFCEEFB0-37BC-48D4-B200-D3706B2CD7FE}" dt="2021-04-21T12:03:38.507" v="19302" actId="403"/>
          <ac:spMkLst>
            <pc:docMk/>
            <pc:sldMk cId="3715642723" sldId="904"/>
            <ac:spMk id="12" creationId="{289277AE-CAF7-4052-97C1-D65E0845CAD9}"/>
          </ac:spMkLst>
        </pc:spChg>
        <pc:spChg chg="mod">
          <ac:chgData name="Kisliuk, Adrian (ext)" userId="6e619ce3-2643-4cdf-9a13-b4c269650021" providerId="ADAL" clId="{AFCEEFB0-37BC-48D4-B200-D3706B2CD7FE}" dt="2021-04-19T22:16:31.720" v="13442" actId="1076"/>
          <ac:spMkLst>
            <pc:docMk/>
            <pc:sldMk cId="3715642723" sldId="904"/>
            <ac:spMk id="12" creationId="{57FE6D4D-037B-42BD-9EC4-3516A2990648}"/>
          </ac:spMkLst>
        </pc:spChg>
        <pc:spChg chg="mod">
          <ac:chgData name="Kisliuk, Adrian (ext)" userId="6e619ce3-2643-4cdf-9a13-b4c269650021" providerId="ADAL" clId="{AFCEEFB0-37BC-48D4-B200-D3706B2CD7FE}" dt="2021-04-21T12:19:37.957" v="20006" actId="20577"/>
          <ac:spMkLst>
            <pc:docMk/>
            <pc:sldMk cId="3715642723" sldId="904"/>
            <ac:spMk id="13" creationId="{95FDA37D-599D-4ABF-9214-83DDEE5AAAB2}"/>
          </ac:spMkLst>
        </pc:spChg>
        <pc:spChg chg="mod">
          <ac:chgData name="Kisliuk, Adrian (ext)" userId="6e619ce3-2643-4cdf-9a13-b4c269650021" providerId="ADAL" clId="{AFCEEFB0-37BC-48D4-B200-D3706B2CD7FE}" dt="2021-04-21T12:03:38.507" v="19302" actId="403"/>
          <ac:spMkLst>
            <pc:docMk/>
            <pc:sldMk cId="3715642723" sldId="904"/>
            <ac:spMk id="14" creationId="{2D7D4A53-E826-4989-812A-BC25A4033E4F}"/>
          </ac:spMkLst>
        </pc:spChg>
        <pc:spChg chg="add del mod">
          <ac:chgData name="Kisliuk, Adrian (ext)" userId="6e619ce3-2643-4cdf-9a13-b4c269650021" providerId="ADAL" clId="{AFCEEFB0-37BC-48D4-B200-D3706B2CD7FE}" dt="2021-04-21T11:47:16.019" v="19112" actId="478"/>
          <ac:spMkLst>
            <pc:docMk/>
            <pc:sldMk cId="3715642723" sldId="904"/>
            <ac:spMk id="15" creationId="{F3BF75B3-2704-4306-9A7F-7EA004C74802}"/>
          </ac:spMkLst>
        </pc:spChg>
        <pc:spChg chg="add del mod modVis">
          <ac:chgData name="Kisliuk, Adrian (ext)" userId="6e619ce3-2643-4cdf-9a13-b4c269650021" providerId="ADAL" clId="{AFCEEFB0-37BC-48D4-B200-D3706B2CD7FE}" dt="2021-04-19T21:57:23.710" v="12997"/>
          <ac:spMkLst>
            <pc:docMk/>
            <pc:sldMk cId="3715642723" sldId="904"/>
            <ac:spMk id="18" creationId="{CBA8F329-C146-4BAF-9A54-3AA2CB95BAAF}"/>
          </ac:spMkLst>
        </pc:spChg>
        <pc:spChg chg="add del mod">
          <ac:chgData name="Kisliuk, Adrian (ext)" userId="6e619ce3-2643-4cdf-9a13-b4c269650021" providerId="ADAL" clId="{AFCEEFB0-37BC-48D4-B200-D3706B2CD7FE}" dt="2021-04-21T09:00:47.835" v="16974"/>
          <ac:spMkLst>
            <pc:docMk/>
            <pc:sldMk cId="3715642723" sldId="904"/>
            <ac:spMk id="19" creationId="{41ACD0FB-232D-4423-85AF-F0712454AF1D}"/>
          </ac:spMkLst>
        </pc:spChg>
        <pc:spChg chg="add del mod modVis">
          <ac:chgData name="Kisliuk, Adrian (ext)" userId="6e619ce3-2643-4cdf-9a13-b4c269650021" providerId="ADAL" clId="{AFCEEFB0-37BC-48D4-B200-D3706B2CD7FE}" dt="2021-04-21T12:06:39.911" v="19789"/>
          <ac:spMkLst>
            <pc:docMk/>
            <pc:sldMk cId="3715642723" sldId="904"/>
            <ac:spMk id="19" creationId="{465F0B6D-C819-4892-BE1A-257D8E55D64D}"/>
          </ac:spMkLst>
        </pc:spChg>
        <pc:spChg chg="add del mod modVis">
          <ac:chgData name="Kisliuk, Adrian (ext)" userId="6e619ce3-2643-4cdf-9a13-b4c269650021" providerId="ADAL" clId="{AFCEEFB0-37BC-48D4-B200-D3706B2CD7FE}" dt="2021-04-19T21:58:03.258" v="13089"/>
          <ac:spMkLst>
            <pc:docMk/>
            <pc:sldMk cId="3715642723" sldId="904"/>
            <ac:spMk id="19" creationId="{A0542F28-E252-4D6C-AAF4-C41A5D9B46C6}"/>
          </ac:spMkLst>
        </pc:spChg>
        <pc:spChg chg="add del mod modVis">
          <ac:chgData name="Kisliuk, Adrian (ext)" userId="6e619ce3-2643-4cdf-9a13-b4c269650021" providerId="ADAL" clId="{AFCEEFB0-37BC-48D4-B200-D3706B2CD7FE}" dt="2021-04-21T10:12:50.679" v="18216"/>
          <ac:spMkLst>
            <pc:docMk/>
            <pc:sldMk cId="3715642723" sldId="904"/>
            <ac:spMk id="20" creationId="{96BFC49F-905E-4B11-9A4F-15756CA6DFFF}"/>
          </ac:spMkLst>
        </pc:spChg>
        <pc:spChg chg="add del mod modVis">
          <ac:chgData name="Kisliuk, Adrian (ext)" userId="6e619ce3-2643-4cdf-9a13-b4c269650021" providerId="ADAL" clId="{AFCEEFB0-37BC-48D4-B200-D3706B2CD7FE}" dt="2021-04-21T12:07:36.141" v="19840"/>
          <ac:spMkLst>
            <pc:docMk/>
            <pc:sldMk cId="3715642723" sldId="904"/>
            <ac:spMk id="20" creationId="{C74C34D0-6FB6-4C05-931F-369A47EA45D5}"/>
          </ac:spMkLst>
        </pc:spChg>
        <pc:spChg chg="add del mod modVis">
          <ac:chgData name="Kisliuk, Adrian (ext)" userId="6e619ce3-2643-4cdf-9a13-b4c269650021" providerId="ADAL" clId="{AFCEEFB0-37BC-48D4-B200-D3706B2CD7FE}" dt="2021-04-19T21:59:29.060" v="13164"/>
          <ac:spMkLst>
            <pc:docMk/>
            <pc:sldMk cId="3715642723" sldId="904"/>
            <ac:spMk id="20" creationId="{FAECC7B3-FD9C-49C9-8FB3-1AD8E457F59B}"/>
          </ac:spMkLst>
        </pc:spChg>
        <pc:spChg chg="add del mod modVis">
          <ac:chgData name="Kisliuk, Adrian (ext)" userId="6e619ce3-2643-4cdf-9a13-b4c269650021" providerId="ADAL" clId="{AFCEEFB0-37BC-48D4-B200-D3706B2CD7FE}" dt="2021-04-21T10:13:19.347" v="18262"/>
          <ac:spMkLst>
            <pc:docMk/>
            <pc:sldMk cId="3715642723" sldId="904"/>
            <ac:spMk id="21" creationId="{C21348A9-B9C5-484D-A52C-3103D4A52209}"/>
          </ac:spMkLst>
        </pc:spChg>
        <pc:spChg chg="add del mod modVis">
          <ac:chgData name="Kisliuk, Adrian (ext)" userId="6e619ce3-2643-4cdf-9a13-b4c269650021" providerId="ADAL" clId="{AFCEEFB0-37BC-48D4-B200-D3706B2CD7FE}" dt="2021-04-19T22:15:07.582" v="13366"/>
          <ac:spMkLst>
            <pc:docMk/>
            <pc:sldMk cId="3715642723" sldId="904"/>
            <ac:spMk id="21" creationId="{CFB8DD92-9752-4753-815C-00E0C56252FC}"/>
          </ac:spMkLst>
        </pc:spChg>
        <pc:spChg chg="add del mod modVis">
          <ac:chgData name="Kisliuk, Adrian (ext)" userId="6e619ce3-2643-4cdf-9a13-b4c269650021" providerId="ADAL" clId="{AFCEEFB0-37BC-48D4-B200-D3706B2CD7FE}" dt="2021-04-21T12:07:42.910" v="19891"/>
          <ac:spMkLst>
            <pc:docMk/>
            <pc:sldMk cId="3715642723" sldId="904"/>
            <ac:spMk id="21" creationId="{EB19E698-3CA3-45C5-866E-0F70DCE4E887}"/>
          </ac:spMkLst>
        </pc:spChg>
        <pc:spChg chg="add del mod modVis">
          <ac:chgData name="Kisliuk, Adrian (ext)" userId="6e619ce3-2643-4cdf-9a13-b4c269650021" providerId="ADAL" clId="{AFCEEFB0-37BC-48D4-B200-D3706B2CD7FE}" dt="2021-04-19T22:15:36.204" v="13437"/>
          <ac:spMkLst>
            <pc:docMk/>
            <pc:sldMk cId="3715642723" sldId="904"/>
            <ac:spMk id="22" creationId="{54FE314C-25DD-47B3-B623-C9879A797A3C}"/>
          </ac:spMkLst>
        </pc:spChg>
        <pc:spChg chg="add del mod modVis">
          <ac:chgData name="Kisliuk, Adrian (ext)" userId="6e619ce3-2643-4cdf-9a13-b4c269650021" providerId="ADAL" clId="{AFCEEFB0-37BC-48D4-B200-D3706B2CD7FE}" dt="2021-04-21T12:07:44.060" v="19942"/>
          <ac:spMkLst>
            <pc:docMk/>
            <pc:sldMk cId="3715642723" sldId="904"/>
            <ac:spMk id="22" creationId="{F1A201EF-E395-44DF-8341-6F2E3E80B97F}"/>
          </ac:spMkLst>
        </pc:spChg>
        <pc:spChg chg="add del mod modVis">
          <ac:chgData name="Kisliuk, Adrian (ext)" userId="6e619ce3-2643-4cdf-9a13-b4c269650021" providerId="ADAL" clId="{AFCEEFB0-37BC-48D4-B200-D3706B2CD7FE}" dt="2021-04-21T10:13:20.020" v="18304"/>
          <ac:spMkLst>
            <pc:docMk/>
            <pc:sldMk cId="3715642723" sldId="904"/>
            <ac:spMk id="22" creationId="{FCC5FC1A-A5C7-45BD-9FBB-7FFA50466FC9}"/>
          </ac:spMkLst>
        </pc:spChg>
        <pc:spChg chg="add del mod modVis">
          <ac:chgData name="Kisliuk, Adrian (ext)" userId="6e619ce3-2643-4cdf-9a13-b4c269650021" providerId="ADAL" clId="{AFCEEFB0-37BC-48D4-B200-D3706B2CD7FE}" dt="2021-04-21T10:13:21.012" v="18366"/>
          <ac:spMkLst>
            <pc:docMk/>
            <pc:sldMk cId="3715642723" sldId="904"/>
            <ac:spMk id="23" creationId="{084D5246-3C75-4F2F-BAE2-DDCF1F1A6384}"/>
          </ac:spMkLst>
        </pc:spChg>
        <pc:spChg chg="add del mod modVis">
          <ac:chgData name="Kisliuk, Adrian (ext)" userId="6e619ce3-2643-4cdf-9a13-b4c269650021" providerId="ADAL" clId="{AFCEEFB0-37BC-48D4-B200-D3706B2CD7FE}" dt="2021-04-21T10:14:41.716" v="18458"/>
          <ac:spMkLst>
            <pc:docMk/>
            <pc:sldMk cId="3715642723" sldId="904"/>
            <ac:spMk id="24" creationId="{C77E0501-1B26-4789-86B2-681A39E39C6E}"/>
          </ac:spMkLst>
        </pc:spChg>
        <pc:graphicFrameChg chg="mod">
          <ac:chgData name="Kisliuk, Adrian (ext)" userId="6e619ce3-2643-4cdf-9a13-b4c269650021" providerId="ADAL" clId="{AFCEEFB0-37BC-48D4-B200-D3706B2CD7FE}" dt="2021-04-21T12:07:44.060" v="19944"/>
          <ac:graphicFrameMkLst>
            <pc:docMk/>
            <pc:sldMk cId="3715642723" sldId="904"/>
            <ac:graphicFrameMk id="6" creationId="{4828E88A-D5C2-4929-A058-2CC608F5A67D}"/>
          </ac:graphicFrameMkLst>
        </pc:graphicFrameChg>
        <pc:cxnChg chg="del mod">
          <ac:chgData name="Kisliuk, Adrian (ext)" userId="6e619ce3-2643-4cdf-9a13-b4c269650021" providerId="ADAL" clId="{AFCEEFB0-37BC-48D4-B200-D3706B2CD7FE}" dt="2021-04-21T08:37:11.577" v="16684" actId="478"/>
          <ac:cxnSpMkLst>
            <pc:docMk/>
            <pc:sldMk cId="3715642723" sldId="904"/>
            <ac:cxnSpMk id="15" creationId="{CD16183A-DFB2-4606-8066-EDF745EF7CDE}"/>
          </ac:cxnSpMkLst>
        </pc:cxnChg>
        <pc:cxnChg chg="mod">
          <ac:chgData name="Kisliuk, Adrian (ext)" userId="6e619ce3-2643-4cdf-9a13-b4c269650021" providerId="ADAL" clId="{AFCEEFB0-37BC-48D4-B200-D3706B2CD7FE}" dt="2021-04-21T11:31:13.197" v="19035" actId="408"/>
          <ac:cxnSpMkLst>
            <pc:docMk/>
            <pc:sldMk cId="3715642723" sldId="904"/>
            <ac:cxnSpMk id="16" creationId="{EDDE9950-507A-4C9B-A861-1FBB55228128}"/>
          </ac:cxnSpMkLst>
        </pc:cxnChg>
        <pc:cxnChg chg="mod">
          <ac:chgData name="Kisliuk, Adrian (ext)" userId="6e619ce3-2643-4cdf-9a13-b4c269650021" providerId="ADAL" clId="{AFCEEFB0-37BC-48D4-B200-D3706B2CD7FE}" dt="2021-04-21T11:31:13.197" v="19035" actId="408"/>
          <ac:cxnSpMkLst>
            <pc:docMk/>
            <pc:sldMk cId="3715642723" sldId="904"/>
            <ac:cxnSpMk id="17" creationId="{F2731BF3-A177-4B92-AD62-D269B34150D7}"/>
          </ac:cxnSpMkLst>
        </pc:cxnChg>
        <pc:cxnChg chg="add mod">
          <ac:chgData name="Kisliuk, Adrian (ext)" userId="6e619ce3-2643-4cdf-9a13-b4c269650021" providerId="ADAL" clId="{AFCEEFB0-37BC-48D4-B200-D3706B2CD7FE}" dt="2021-04-21T11:31:13.197" v="19035" actId="408"/>
          <ac:cxnSpMkLst>
            <pc:docMk/>
            <pc:sldMk cId="3715642723" sldId="904"/>
            <ac:cxnSpMk id="18" creationId="{61E9DA99-323D-41E2-8BEB-BA7A9A61B5F7}"/>
          </ac:cxnSpMkLst>
        </pc:cxnChg>
      </pc:sldChg>
      <pc:sldChg chg="addSp delSp modSp add del mod addCm modCm">
        <pc:chgData name="Kisliuk, Adrian (ext)" userId="6e619ce3-2643-4cdf-9a13-b4c269650021" providerId="ADAL" clId="{AFCEEFB0-37BC-48D4-B200-D3706B2CD7FE}" dt="2021-04-21T08:51:52.458" v="16870" actId="47"/>
        <pc:sldMkLst>
          <pc:docMk/>
          <pc:sldMk cId="3520673083" sldId="905"/>
        </pc:sldMkLst>
        <pc:spChg chg="mod">
          <ac:chgData name="Kisliuk, Adrian (ext)" userId="6e619ce3-2643-4cdf-9a13-b4c269650021" providerId="ADAL" clId="{AFCEEFB0-37BC-48D4-B200-D3706B2CD7FE}" dt="2021-04-20T21:37:14.762" v="16127" actId="1076"/>
          <ac:spMkLst>
            <pc:docMk/>
            <pc:sldMk cId="3520673083" sldId="905"/>
            <ac:spMk id="3" creationId="{AB0330F2-31AA-234C-9871-70C344D0F8C3}"/>
          </ac:spMkLst>
        </pc:spChg>
        <pc:spChg chg="mod">
          <ac:chgData name="Kisliuk, Adrian (ext)" userId="6e619ce3-2643-4cdf-9a13-b4c269650021" providerId="ADAL" clId="{AFCEEFB0-37BC-48D4-B200-D3706B2CD7FE}" dt="2021-04-20T08:40:24.719" v="16040" actId="20577"/>
          <ac:spMkLst>
            <pc:docMk/>
            <pc:sldMk cId="3520673083" sldId="905"/>
            <ac:spMk id="19" creationId="{0976F485-20E3-4810-A8D6-F3B073E34A00}"/>
          </ac:spMkLst>
        </pc:spChg>
        <pc:spChg chg="mod">
          <ac:chgData name="Kisliuk, Adrian (ext)" userId="6e619ce3-2643-4cdf-9a13-b4c269650021" providerId="ADAL" clId="{AFCEEFB0-37BC-48D4-B200-D3706B2CD7FE}" dt="2021-04-20T08:16:54.660" v="15753" actId="20577"/>
          <ac:spMkLst>
            <pc:docMk/>
            <pc:sldMk cId="3520673083" sldId="905"/>
            <ac:spMk id="20" creationId="{43FDF2E0-5A39-4198-ACA0-14849CE315F3}"/>
          </ac:spMkLst>
        </pc:spChg>
        <pc:spChg chg="mod">
          <ac:chgData name="Kisliuk, Adrian (ext)" userId="6e619ce3-2643-4cdf-9a13-b4c269650021" providerId="ADAL" clId="{AFCEEFB0-37BC-48D4-B200-D3706B2CD7FE}" dt="2021-04-20T08:17:05.719" v="15759" actId="20577"/>
          <ac:spMkLst>
            <pc:docMk/>
            <pc:sldMk cId="3520673083" sldId="905"/>
            <ac:spMk id="21" creationId="{330723CA-7BFA-4C99-B24C-564DDEFB599E}"/>
          </ac:spMkLst>
        </pc:spChg>
        <pc:spChg chg="del">
          <ac:chgData name="Kisliuk, Adrian (ext)" userId="6e619ce3-2643-4cdf-9a13-b4c269650021" providerId="ADAL" clId="{AFCEEFB0-37BC-48D4-B200-D3706B2CD7FE}" dt="2021-04-20T08:16:01.278" v="15736" actId="478"/>
          <ac:spMkLst>
            <pc:docMk/>
            <pc:sldMk cId="3520673083" sldId="905"/>
            <ac:spMk id="28" creationId="{B7007918-E336-4382-A4B1-C41C6F7F3C9C}"/>
          </ac:spMkLst>
        </pc:spChg>
        <pc:spChg chg="mod">
          <ac:chgData name="Kisliuk, Adrian (ext)" userId="6e619ce3-2643-4cdf-9a13-b4c269650021" providerId="ADAL" clId="{AFCEEFB0-37BC-48D4-B200-D3706B2CD7FE}" dt="2021-04-21T08:26:17.686" v="16229" actId="20577"/>
          <ac:spMkLst>
            <pc:docMk/>
            <pc:sldMk cId="3520673083" sldId="905"/>
            <ac:spMk id="29" creationId="{9B519732-585D-482E-ABDB-9EDBB022E627}"/>
          </ac:spMkLst>
        </pc:spChg>
        <pc:spChg chg="del">
          <ac:chgData name="Kisliuk, Adrian (ext)" userId="6e619ce3-2643-4cdf-9a13-b4c269650021" providerId="ADAL" clId="{AFCEEFB0-37BC-48D4-B200-D3706B2CD7FE}" dt="2021-04-20T08:18:15.026" v="15789" actId="478"/>
          <ac:spMkLst>
            <pc:docMk/>
            <pc:sldMk cId="3520673083" sldId="905"/>
            <ac:spMk id="32" creationId="{7F986206-E4A8-49C8-A03A-CF21EAD26520}"/>
          </ac:spMkLst>
        </pc:spChg>
        <pc:spChg chg="del">
          <ac:chgData name="Kisliuk, Adrian (ext)" userId="6e619ce3-2643-4cdf-9a13-b4c269650021" providerId="ADAL" clId="{AFCEEFB0-37BC-48D4-B200-D3706B2CD7FE}" dt="2021-04-20T08:18:11.060" v="15786" actId="478"/>
          <ac:spMkLst>
            <pc:docMk/>
            <pc:sldMk cId="3520673083" sldId="905"/>
            <ac:spMk id="33" creationId="{06756B0A-0567-489A-AD67-DF1BFBF9EBB6}"/>
          </ac:spMkLst>
        </pc:spChg>
        <pc:spChg chg="del">
          <ac:chgData name="Kisliuk, Adrian (ext)" userId="6e619ce3-2643-4cdf-9a13-b4c269650021" providerId="ADAL" clId="{AFCEEFB0-37BC-48D4-B200-D3706B2CD7FE}" dt="2021-04-20T08:18:12.646" v="15787" actId="478"/>
          <ac:spMkLst>
            <pc:docMk/>
            <pc:sldMk cId="3520673083" sldId="905"/>
            <ac:spMk id="35" creationId="{9531B7BA-0417-40B2-B889-2C9A890F2D90}"/>
          </ac:spMkLst>
        </pc:spChg>
        <pc:spChg chg="del">
          <ac:chgData name="Kisliuk, Adrian (ext)" userId="6e619ce3-2643-4cdf-9a13-b4c269650021" providerId="ADAL" clId="{AFCEEFB0-37BC-48D4-B200-D3706B2CD7FE}" dt="2021-04-20T08:18:14.195" v="15788" actId="478"/>
          <ac:spMkLst>
            <pc:docMk/>
            <pc:sldMk cId="3520673083" sldId="905"/>
            <ac:spMk id="36" creationId="{912B4A3E-66BF-4430-9E45-29F58AB66340}"/>
          </ac:spMkLst>
        </pc:spChg>
        <pc:spChg chg="del">
          <ac:chgData name="Kisliuk, Adrian (ext)" userId="6e619ce3-2643-4cdf-9a13-b4c269650021" providerId="ADAL" clId="{AFCEEFB0-37BC-48D4-B200-D3706B2CD7FE}" dt="2021-04-20T08:16:07.042" v="15738" actId="478"/>
          <ac:spMkLst>
            <pc:docMk/>
            <pc:sldMk cId="3520673083" sldId="905"/>
            <ac:spMk id="38" creationId="{1FE620C9-0994-4E3D-A3BA-7845A3FA0211}"/>
          </ac:spMkLst>
        </pc:spChg>
        <pc:spChg chg="del">
          <ac:chgData name="Kisliuk, Adrian (ext)" userId="6e619ce3-2643-4cdf-9a13-b4c269650021" providerId="ADAL" clId="{AFCEEFB0-37BC-48D4-B200-D3706B2CD7FE}" dt="2021-04-20T08:16:09.300" v="15739" actId="478"/>
          <ac:spMkLst>
            <pc:docMk/>
            <pc:sldMk cId="3520673083" sldId="905"/>
            <ac:spMk id="39" creationId="{D57AE966-E6AB-4B41-8159-BF0F819C9D1E}"/>
          </ac:spMkLst>
        </pc:spChg>
        <pc:spChg chg="mod">
          <ac:chgData name="Kisliuk, Adrian (ext)" userId="6e619ce3-2643-4cdf-9a13-b4c269650021" providerId="ADAL" clId="{AFCEEFB0-37BC-48D4-B200-D3706B2CD7FE}" dt="2021-04-20T08:38:08.424" v="16024" actId="14100"/>
          <ac:spMkLst>
            <pc:docMk/>
            <pc:sldMk cId="3520673083" sldId="905"/>
            <ac:spMk id="41" creationId="{15AB89A2-B23B-4C7C-A263-9911421A6276}"/>
          </ac:spMkLst>
        </pc:spChg>
        <pc:spChg chg="mod">
          <ac:chgData name="Kisliuk, Adrian (ext)" userId="6e619ce3-2643-4cdf-9a13-b4c269650021" providerId="ADAL" clId="{AFCEEFB0-37BC-48D4-B200-D3706B2CD7FE}" dt="2021-04-20T08:38:08.424" v="16024" actId="14100"/>
          <ac:spMkLst>
            <pc:docMk/>
            <pc:sldMk cId="3520673083" sldId="905"/>
            <ac:spMk id="42" creationId="{43D56E05-097E-4C5A-8AF5-0B59BDC48092}"/>
          </ac:spMkLst>
        </pc:spChg>
        <pc:spChg chg="mod">
          <ac:chgData name="Kisliuk, Adrian (ext)" userId="6e619ce3-2643-4cdf-9a13-b4c269650021" providerId="ADAL" clId="{AFCEEFB0-37BC-48D4-B200-D3706B2CD7FE}" dt="2021-04-21T08:26:20.135" v="16231" actId="20577"/>
          <ac:spMkLst>
            <pc:docMk/>
            <pc:sldMk cId="3520673083" sldId="905"/>
            <ac:spMk id="44" creationId="{5BE3AE2B-4A0E-4204-B25A-B404EC4FDDA8}"/>
          </ac:spMkLst>
        </pc:spChg>
        <pc:spChg chg="mod">
          <ac:chgData name="Kisliuk, Adrian (ext)" userId="6e619ce3-2643-4cdf-9a13-b4c269650021" providerId="ADAL" clId="{AFCEEFB0-37BC-48D4-B200-D3706B2CD7FE}" dt="2021-04-20T08:35:26.455" v="15954" actId="404"/>
          <ac:spMkLst>
            <pc:docMk/>
            <pc:sldMk cId="3520673083" sldId="905"/>
            <ac:spMk id="46" creationId="{4B847C00-BB59-457E-B3E2-6A63F6F9DCBA}"/>
          </ac:spMkLst>
        </pc:spChg>
        <pc:spChg chg="mod">
          <ac:chgData name="Kisliuk, Adrian (ext)" userId="6e619ce3-2643-4cdf-9a13-b4c269650021" providerId="ADAL" clId="{AFCEEFB0-37BC-48D4-B200-D3706B2CD7FE}" dt="2021-04-20T13:52:31.993" v="16120" actId="1076"/>
          <ac:spMkLst>
            <pc:docMk/>
            <pc:sldMk cId="3520673083" sldId="905"/>
            <ac:spMk id="48" creationId="{4E452F48-DE7A-49A2-A0F4-C368F2A7C1DE}"/>
          </ac:spMkLst>
        </pc:spChg>
        <pc:spChg chg="add mod">
          <ac:chgData name="Kisliuk, Adrian (ext)" userId="6e619ce3-2643-4cdf-9a13-b4c269650021" providerId="ADAL" clId="{AFCEEFB0-37BC-48D4-B200-D3706B2CD7FE}" dt="2021-04-20T13:52:33.310" v="16123" actId="1076"/>
          <ac:spMkLst>
            <pc:docMk/>
            <pc:sldMk cId="3520673083" sldId="905"/>
            <ac:spMk id="50" creationId="{3D4AA3C3-C230-4B6E-B589-0365492F3948}"/>
          </ac:spMkLst>
        </pc:spChg>
        <pc:spChg chg="del">
          <ac:chgData name="Kisliuk, Adrian (ext)" userId="6e619ce3-2643-4cdf-9a13-b4c269650021" providerId="ADAL" clId="{AFCEEFB0-37BC-48D4-B200-D3706B2CD7FE}" dt="2021-04-20T08:16:14.013" v="15740" actId="478"/>
          <ac:spMkLst>
            <pc:docMk/>
            <pc:sldMk cId="3520673083" sldId="905"/>
            <ac:spMk id="51" creationId="{3825CAD0-5216-4794-B0FC-F636E17F242A}"/>
          </ac:spMkLst>
        </pc:spChg>
        <pc:spChg chg="mod">
          <ac:chgData name="Kisliuk, Adrian (ext)" userId="6e619ce3-2643-4cdf-9a13-b4c269650021" providerId="ADAL" clId="{AFCEEFB0-37BC-48D4-B200-D3706B2CD7FE}" dt="2021-04-20T08:34:14.658" v="15877" actId="404"/>
          <ac:spMkLst>
            <pc:docMk/>
            <pc:sldMk cId="3520673083" sldId="905"/>
            <ac:spMk id="52" creationId="{31148574-1A7B-479C-9F27-F3AB1A366588}"/>
          </ac:spMkLst>
        </pc:spChg>
        <pc:spChg chg="add mod">
          <ac:chgData name="Kisliuk, Adrian (ext)" userId="6e619ce3-2643-4cdf-9a13-b4c269650021" providerId="ADAL" clId="{AFCEEFB0-37BC-48D4-B200-D3706B2CD7FE}" dt="2021-04-20T08:40:51.377" v="16042"/>
          <ac:spMkLst>
            <pc:docMk/>
            <pc:sldMk cId="3520673083" sldId="905"/>
            <ac:spMk id="56" creationId="{A0022094-3D73-4876-8784-A0B9750E3CF3}"/>
          </ac:spMkLst>
        </pc:spChg>
        <pc:spChg chg="add mod">
          <ac:chgData name="Kisliuk, Adrian (ext)" userId="6e619ce3-2643-4cdf-9a13-b4c269650021" providerId="ADAL" clId="{AFCEEFB0-37BC-48D4-B200-D3706B2CD7FE}" dt="2021-04-20T08:40:51.377" v="16042"/>
          <ac:spMkLst>
            <pc:docMk/>
            <pc:sldMk cId="3520673083" sldId="905"/>
            <ac:spMk id="60" creationId="{01793831-343A-414A-81F4-94D04755F26A}"/>
          </ac:spMkLst>
        </pc:spChg>
        <pc:spChg chg="add mod">
          <ac:chgData name="Kisliuk, Adrian (ext)" userId="6e619ce3-2643-4cdf-9a13-b4c269650021" providerId="ADAL" clId="{AFCEEFB0-37BC-48D4-B200-D3706B2CD7FE}" dt="2021-04-20T08:40:51.377" v="16042"/>
          <ac:spMkLst>
            <pc:docMk/>
            <pc:sldMk cId="3520673083" sldId="905"/>
            <ac:spMk id="62" creationId="{4F389A0E-B773-46DA-ADA3-AF6B0F73A5ED}"/>
          </ac:spMkLst>
        </pc:spChg>
        <pc:spChg chg="mod">
          <ac:chgData name="Kisliuk, Adrian (ext)" userId="6e619ce3-2643-4cdf-9a13-b4c269650021" providerId="ADAL" clId="{AFCEEFB0-37BC-48D4-B200-D3706B2CD7FE}" dt="2021-04-20T08:34:47.732" v="15893" actId="20577"/>
          <ac:spMkLst>
            <pc:docMk/>
            <pc:sldMk cId="3520673083" sldId="905"/>
            <ac:spMk id="68" creationId="{D5FE2528-60BD-45A1-BA80-315CAE8BE661}"/>
          </ac:spMkLst>
        </pc:spChg>
        <pc:picChg chg="del">
          <ac:chgData name="Kisliuk, Adrian (ext)" userId="6e619ce3-2643-4cdf-9a13-b4c269650021" providerId="ADAL" clId="{AFCEEFB0-37BC-48D4-B200-D3706B2CD7FE}" dt="2021-04-20T08:16:07.042" v="15738" actId="478"/>
          <ac:picMkLst>
            <pc:docMk/>
            <pc:sldMk cId="3520673083" sldId="905"/>
            <ac:picMk id="24" creationId="{EBF8C1E7-2694-4A34-B016-8E777FE545F6}"/>
          </ac:picMkLst>
        </pc:picChg>
        <pc:picChg chg="mod">
          <ac:chgData name="Kisliuk, Adrian (ext)" userId="6e619ce3-2643-4cdf-9a13-b4c269650021" providerId="ADAL" clId="{AFCEEFB0-37BC-48D4-B200-D3706B2CD7FE}" dt="2021-04-20T08:36:10.276" v="15963" actId="1037"/>
          <ac:picMkLst>
            <pc:docMk/>
            <pc:sldMk cId="3520673083" sldId="905"/>
            <ac:picMk id="47" creationId="{E254D9EF-A288-4DDE-B5ED-4CAB7162EAA4}"/>
          </ac:picMkLst>
        </pc:picChg>
        <pc:picChg chg="del mod">
          <ac:chgData name="Kisliuk, Adrian (ext)" userId="6e619ce3-2643-4cdf-9a13-b4c269650021" providerId="ADAL" clId="{AFCEEFB0-37BC-48D4-B200-D3706B2CD7FE}" dt="2021-04-20T08:40:50.861" v="16041" actId="478"/>
          <ac:picMkLst>
            <pc:docMk/>
            <pc:sldMk cId="3520673083" sldId="905"/>
            <ac:picMk id="49" creationId="{3A92323A-07A7-43A4-B6FB-CEC5819439C8}"/>
          </ac:picMkLst>
        </pc:picChg>
        <pc:picChg chg="add mod">
          <ac:chgData name="Kisliuk, Adrian (ext)" userId="6e619ce3-2643-4cdf-9a13-b4c269650021" providerId="ADAL" clId="{AFCEEFB0-37BC-48D4-B200-D3706B2CD7FE}" dt="2021-04-20T08:40:51.377" v="16042"/>
          <ac:picMkLst>
            <pc:docMk/>
            <pc:sldMk cId="3520673083" sldId="905"/>
            <ac:picMk id="54" creationId="{6B854B19-0543-472B-80EE-3E11B9A0ACF9}"/>
          </ac:picMkLst>
        </pc:picChg>
        <pc:picChg chg="add mod">
          <ac:chgData name="Kisliuk, Adrian (ext)" userId="6e619ce3-2643-4cdf-9a13-b4c269650021" providerId="ADAL" clId="{AFCEEFB0-37BC-48D4-B200-D3706B2CD7FE}" dt="2021-04-20T08:41:01.084" v="16059" actId="1036"/>
          <ac:picMkLst>
            <pc:docMk/>
            <pc:sldMk cId="3520673083" sldId="905"/>
            <ac:picMk id="63" creationId="{AA117DC0-9E4B-40B6-BBFB-8C3C33FF70F9}"/>
          </ac:picMkLst>
        </pc:picChg>
        <pc:cxnChg chg="mod">
          <ac:chgData name="Kisliuk, Adrian (ext)" userId="6e619ce3-2643-4cdf-9a13-b4c269650021" providerId="ADAL" clId="{AFCEEFB0-37BC-48D4-B200-D3706B2CD7FE}" dt="2021-04-20T21:36:59.552" v="16126" actId="14100"/>
          <ac:cxnSpMkLst>
            <pc:docMk/>
            <pc:sldMk cId="3520673083" sldId="905"/>
            <ac:cxnSpMk id="10" creationId="{652886AC-1E4C-41B2-8E3F-6BAEE657B018}"/>
          </ac:cxnSpMkLst>
        </pc:cxnChg>
        <pc:cxnChg chg="del">
          <ac:chgData name="Kisliuk, Adrian (ext)" userId="6e619ce3-2643-4cdf-9a13-b4c269650021" providerId="ADAL" clId="{AFCEEFB0-37BC-48D4-B200-D3706B2CD7FE}" dt="2021-04-20T08:16:07.042" v="15738" actId="478"/>
          <ac:cxnSpMkLst>
            <pc:docMk/>
            <pc:sldMk cId="3520673083" sldId="905"/>
            <ac:cxnSpMk id="30" creationId="{DEE9D802-06E5-48EA-8026-E27DBBB88431}"/>
          </ac:cxnSpMkLst>
        </pc:cxnChg>
        <pc:cxnChg chg="del">
          <ac:chgData name="Kisliuk, Adrian (ext)" userId="6e619ce3-2643-4cdf-9a13-b4c269650021" providerId="ADAL" clId="{AFCEEFB0-37BC-48D4-B200-D3706B2CD7FE}" dt="2021-04-20T08:16:04.135" v="15737" actId="478"/>
          <ac:cxnSpMkLst>
            <pc:docMk/>
            <pc:sldMk cId="3520673083" sldId="905"/>
            <ac:cxnSpMk id="37" creationId="{34725ED4-7ADF-4A95-9118-51B3074CC887}"/>
          </ac:cxnSpMkLst>
        </pc:cxnChg>
        <pc:cxnChg chg="mod">
          <ac:chgData name="Kisliuk, Adrian (ext)" userId="6e619ce3-2643-4cdf-9a13-b4c269650021" providerId="ADAL" clId="{AFCEEFB0-37BC-48D4-B200-D3706B2CD7FE}" dt="2021-04-20T08:38:08.424" v="16024" actId="14100"/>
          <ac:cxnSpMkLst>
            <pc:docMk/>
            <pc:sldMk cId="3520673083" sldId="905"/>
            <ac:cxnSpMk id="53" creationId="{5A830FD9-3453-4D9A-8CFB-B76E7C1B7236}"/>
          </ac:cxnSpMkLst>
        </pc:cxnChg>
        <pc:cxnChg chg="del mod">
          <ac:chgData name="Kisliuk, Adrian (ext)" userId="6e619ce3-2643-4cdf-9a13-b4c269650021" providerId="ADAL" clId="{AFCEEFB0-37BC-48D4-B200-D3706B2CD7FE}" dt="2021-04-20T08:16:36.439" v="15750" actId="478"/>
          <ac:cxnSpMkLst>
            <pc:docMk/>
            <pc:sldMk cId="3520673083" sldId="905"/>
            <ac:cxnSpMk id="54" creationId="{3D56E8A4-A434-4475-A18E-E908C1C28EED}"/>
          </ac:cxnSpMkLst>
        </pc:cxnChg>
        <pc:cxnChg chg="add mod">
          <ac:chgData name="Kisliuk, Adrian (ext)" userId="6e619ce3-2643-4cdf-9a13-b4c269650021" providerId="ADAL" clId="{AFCEEFB0-37BC-48D4-B200-D3706B2CD7FE}" dt="2021-04-20T13:52:33.310" v="16123" actId="1076"/>
          <ac:cxnSpMkLst>
            <pc:docMk/>
            <pc:sldMk cId="3520673083" sldId="905"/>
            <ac:cxnSpMk id="55" creationId="{83AE462E-0EBE-4764-BDAD-E3424530EF2D}"/>
          </ac:cxnSpMkLst>
        </pc:cxnChg>
        <pc:cxnChg chg="mod">
          <ac:chgData name="Kisliuk, Adrian (ext)" userId="6e619ce3-2643-4cdf-9a13-b4c269650021" providerId="ADAL" clId="{AFCEEFB0-37BC-48D4-B200-D3706B2CD7FE}" dt="2021-04-20T13:52:34.141" v="16124" actId="14100"/>
          <ac:cxnSpMkLst>
            <pc:docMk/>
            <pc:sldMk cId="3520673083" sldId="905"/>
            <ac:cxnSpMk id="57" creationId="{1FAEFF86-6BB8-4DDA-B69D-DD4C15823309}"/>
          </ac:cxnSpMkLst>
        </pc:cxnChg>
        <pc:cxnChg chg="add mod">
          <ac:chgData name="Kisliuk, Adrian (ext)" userId="6e619ce3-2643-4cdf-9a13-b4c269650021" providerId="ADAL" clId="{AFCEEFB0-37BC-48D4-B200-D3706B2CD7FE}" dt="2021-04-20T08:40:51.377" v="16042"/>
          <ac:cxnSpMkLst>
            <pc:docMk/>
            <pc:sldMk cId="3520673083" sldId="905"/>
            <ac:cxnSpMk id="58" creationId="{39267E21-E8C4-424D-B47F-9C00B780156C}"/>
          </ac:cxnSpMkLst>
        </pc:cxnChg>
        <pc:cxnChg chg="add mod">
          <ac:chgData name="Kisliuk, Adrian (ext)" userId="6e619ce3-2643-4cdf-9a13-b4c269650021" providerId="ADAL" clId="{AFCEEFB0-37BC-48D4-B200-D3706B2CD7FE}" dt="2021-04-20T08:40:51.377" v="16042"/>
          <ac:cxnSpMkLst>
            <pc:docMk/>
            <pc:sldMk cId="3520673083" sldId="905"/>
            <ac:cxnSpMk id="59" creationId="{E4121DC1-51A1-4CE1-9B3E-FDF109D8DDA2}"/>
          </ac:cxnSpMkLst>
        </pc:cxnChg>
        <pc:cxnChg chg="mod">
          <ac:chgData name="Kisliuk, Adrian (ext)" userId="6e619ce3-2643-4cdf-9a13-b4c269650021" providerId="ADAL" clId="{AFCEEFB0-37BC-48D4-B200-D3706B2CD7FE}" dt="2021-04-20T08:38:08.424" v="16024" actId="14100"/>
          <ac:cxnSpMkLst>
            <pc:docMk/>
            <pc:sldMk cId="3520673083" sldId="905"/>
            <ac:cxnSpMk id="61" creationId="{BE321C56-78D2-4149-9E8B-0A438C388959}"/>
          </ac:cxnSpMkLst>
        </pc:cxnChg>
        <pc:cxnChg chg="mod">
          <ac:chgData name="Kisliuk, Adrian (ext)" userId="6e619ce3-2643-4cdf-9a13-b4c269650021" providerId="ADAL" clId="{AFCEEFB0-37BC-48D4-B200-D3706B2CD7FE}" dt="2021-04-20T08:38:08.424" v="16024" actId="14100"/>
          <ac:cxnSpMkLst>
            <pc:docMk/>
            <pc:sldMk cId="3520673083" sldId="905"/>
            <ac:cxnSpMk id="64" creationId="{14733312-1AED-430F-9964-3D8312BA1143}"/>
          </ac:cxnSpMkLst>
        </pc:cxnChg>
        <pc:cxnChg chg="mod">
          <ac:chgData name="Kisliuk, Adrian (ext)" userId="6e619ce3-2643-4cdf-9a13-b4c269650021" providerId="ADAL" clId="{AFCEEFB0-37BC-48D4-B200-D3706B2CD7FE}" dt="2021-04-20T08:35:26.455" v="15954" actId="404"/>
          <ac:cxnSpMkLst>
            <pc:docMk/>
            <pc:sldMk cId="3520673083" sldId="905"/>
            <ac:cxnSpMk id="70" creationId="{CA649833-52F1-418C-A7E2-031102C87666}"/>
          </ac:cxnSpMkLst>
        </pc:cxnChg>
        <pc:cxnChg chg="mod">
          <ac:chgData name="Kisliuk, Adrian (ext)" userId="6e619ce3-2643-4cdf-9a13-b4c269650021" providerId="ADAL" clId="{AFCEEFB0-37BC-48D4-B200-D3706B2CD7FE}" dt="2021-04-20T08:34:44.746" v="15888" actId="20577"/>
          <ac:cxnSpMkLst>
            <pc:docMk/>
            <pc:sldMk cId="3520673083" sldId="905"/>
            <ac:cxnSpMk id="73" creationId="{A4C3CAC7-CD31-4635-809B-D083DA7CB4E4}"/>
          </ac:cxnSpMkLst>
        </pc:cxnChg>
        <pc:cxnChg chg="mod">
          <ac:chgData name="Kisliuk, Adrian (ext)" userId="6e619ce3-2643-4cdf-9a13-b4c269650021" providerId="ADAL" clId="{AFCEEFB0-37BC-48D4-B200-D3706B2CD7FE}" dt="2021-04-20T08:34:44.746" v="15888" actId="20577"/>
          <ac:cxnSpMkLst>
            <pc:docMk/>
            <pc:sldMk cId="3520673083" sldId="905"/>
            <ac:cxnSpMk id="76" creationId="{833FE48F-0C55-4056-B53F-9C8124F3D7D7}"/>
          </ac:cxnSpMkLst>
        </pc:cxnChg>
        <pc:cxnChg chg="mod">
          <ac:chgData name="Kisliuk, Adrian (ext)" userId="6e619ce3-2643-4cdf-9a13-b4c269650021" providerId="ADAL" clId="{AFCEEFB0-37BC-48D4-B200-D3706B2CD7FE}" dt="2021-04-20T08:17:05.719" v="15759" actId="20577"/>
          <ac:cxnSpMkLst>
            <pc:docMk/>
            <pc:sldMk cId="3520673083" sldId="905"/>
            <ac:cxnSpMk id="79" creationId="{AD6C4FA9-C693-43A4-8BD5-867CBEAC39C0}"/>
          </ac:cxnSpMkLst>
        </pc:cxnChg>
      </pc:sldChg>
      <pc:sldChg chg="addSp delSp modSp add del mod delCm modCm">
        <pc:chgData name="Kisliuk, Adrian (ext)" userId="6e619ce3-2643-4cdf-9a13-b4c269650021" providerId="ADAL" clId="{AFCEEFB0-37BC-48D4-B200-D3706B2CD7FE}" dt="2021-04-21T12:32:31.305" v="20455" actId="47"/>
        <pc:sldMkLst>
          <pc:docMk/>
          <pc:sldMk cId="4131368175" sldId="906"/>
        </pc:sldMkLst>
        <pc:spChg chg="mod">
          <ac:chgData name="Kisliuk, Adrian (ext)" userId="6e619ce3-2643-4cdf-9a13-b4c269650021" providerId="ADAL" clId="{AFCEEFB0-37BC-48D4-B200-D3706B2CD7FE}" dt="2021-04-21T08:31:56.265" v="16488" actId="948"/>
          <ac:spMkLst>
            <pc:docMk/>
            <pc:sldMk cId="4131368175" sldId="906"/>
            <ac:spMk id="2" creationId="{DE936FAF-2E76-49E3-A26B-EE542092B6EF}"/>
          </ac:spMkLst>
        </pc:spChg>
        <pc:spChg chg="del mod">
          <ac:chgData name="Kisliuk, Adrian (ext)" userId="6e619ce3-2643-4cdf-9a13-b4c269650021" providerId="ADAL" clId="{AFCEEFB0-37BC-48D4-B200-D3706B2CD7FE}" dt="2021-04-21T12:32:29.740" v="20454" actId="21"/>
          <ac:spMkLst>
            <pc:docMk/>
            <pc:sldMk cId="4131368175" sldId="906"/>
            <ac:spMk id="3" creationId="{AB0330F2-31AA-234C-9871-70C344D0F8C3}"/>
          </ac:spMkLst>
        </pc:spChg>
        <pc:spChg chg="mod">
          <ac:chgData name="Kisliuk, Adrian (ext)" userId="6e619ce3-2643-4cdf-9a13-b4c269650021" providerId="ADAL" clId="{AFCEEFB0-37BC-48D4-B200-D3706B2CD7FE}" dt="2021-04-21T08:29:12.406" v="16334" actId="1038"/>
          <ac:spMkLst>
            <pc:docMk/>
            <pc:sldMk cId="4131368175" sldId="906"/>
            <ac:spMk id="15" creationId="{A911831B-C326-4759-9EA7-6CD9E89CCC84}"/>
          </ac:spMkLst>
        </pc:spChg>
        <pc:spChg chg="add del mod modVis">
          <ac:chgData name="Kisliuk, Adrian (ext)" userId="6e619ce3-2643-4cdf-9a13-b4c269650021" providerId="ADAL" clId="{AFCEEFB0-37BC-48D4-B200-D3706B2CD7FE}" dt="2021-04-21T08:29:03.743" v="16293"/>
          <ac:spMkLst>
            <pc:docMk/>
            <pc:sldMk cId="4131368175" sldId="906"/>
            <ac:spMk id="16" creationId="{07024556-F6E9-4492-B47F-2522D4F38401}"/>
          </ac:spMkLst>
        </pc:spChg>
        <pc:spChg chg="add del mod">
          <ac:chgData name="Kisliuk, Adrian (ext)" userId="6e619ce3-2643-4cdf-9a13-b4c269650021" providerId="ADAL" clId="{AFCEEFB0-37BC-48D4-B200-D3706B2CD7FE}" dt="2021-04-21T08:15:50.503" v="16183" actId="478"/>
          <ac:spMkLst>
            <pc:docMk/>
            <pc:sldMk cId="4131368175" sldId="906"/>
            <ac:spMk id="19" creationId="{0976F485-20E3-4810-A8D6-F3B073E34A00}"/>
          </ac:spMkLst>
        </pc:spChg>
        <pc:spChg chg="mod">
          <ac:chgData name="Kisliuk, Adrian (ext)" userId="6e619ce3-2643-4cdf-9a13-b4c269650021" providerId="ADAL" clId="{AFCEEFB0-37BC-48D4-B200-D3706B2CD7FE}" dt="2021-04-21T08:29:12.406" v="16334" actId="1038"/>
          <ac:spMkLst>
            <pc:docMk/>
            <pc:sldMk cId="4131368175" sldId="906"/>
            <ac:spMk id="20" creationId="{43FDF2E0-5A39-4198-ACA0-14849CE315F3}"/>
          </ac:spMkLst>
        </pc:spChg>
        <pc:spChg chg="mod">
          <ac:chgData name="Kisliuk, Adrian (ext)" userId="6e619ce3-2643-4cdf-9a13-b4c269650021" providerId="ADAL" clId="{AFCEEFB0-37BC-48D4-B200-D3706B2CD7FE}" dt="2021-04-21T08:29:12.406" v="16334" actId="1038"/>
          <ac:spMkLst>
            <pc:docMk/>
            <pc:sldMk cId="4131368175" sldId="906"/>
            <ac:spMk id="21" creationId="{330723CA-7BFA-4C99-B24C-564DDEFB599E}"/>
          </ac:spMkLst>
        </pc:spChg>
        <pc:spChg chg="mod">
          <ac:chgData name="Kisliuk, Adrian (ext)" userId="6e619ce3-2643-4cdf-9a13-b4c269650021" providerId="ADAL" clId="{AFCEEFB0-37BC-48D4-B200-D3706B2CD7FE}" dt="2021-04-21T08:29:12.406" v="16334" actId="1038"/>
          <ac:spMkLst>
            <pc:docMk/>
            <pc:sldMk cId="4131368175" sldId="906"/>
            <ac:spMk id="25" creationId="{8C99B033-DD94-4853-A461-068556DFA496}"/>
          </ac:spMkLst>
        </pc:spChg>
        <pc:spChg chg="mod">
          <ac:chgData name="Kisliuk, Adrian (ext)" userId="6e619ce3-2643-4cdf-9a13-b4c269650021" providerId="ADAL" clId="{AFCEEFB0-37BC-48D4-B200-D3706B2CD7FE}" dt="2021-04-21T08:29:12.406" v="16334" actId="1038"/>
          <ac:spMkLst>
            <pc:docMk/>
            <pc:sldMk cId="4131368175" sldId="906"/>
            <ac:spMk id="26" creationId="{BDAE0176-F24E-404C-A8B6-D8CE61CBC375}"/>
          </ac:spMkLst>
        </pc:spChg>
        <pc:spChg chg="mod">
          <ac:chgData name="Kisliuk, Adrian (ext)" userId="6e619ce3-2643-4cdf-9a13-b4c269650021" providerId="ADAL" clId="{AFCEEFB0-37BC-48D4-B200-D3706B2CD7FE}" dt="2021-04-21T08:29:12.406" v="16334" actId="1038"/>
          <ac:spMkLst>
            <pc:docMk/>
            <pc:sldMk cId="4131368175" sldId="906"/>
            <ac:spMk id="27" creationId="{21E6C608-F6A2-4019-AE79-97DC81E174C3}"/>
          </ac:spMkLst>
        </pc:spChg>
        <pc:spChg chg="mod">
          <ac:chgData name="Kisliuk, Adrian (ext)" userId="6e619ce3-2643-4cdf-9a13-b4c269650021" providerId="ADAL" clId="{AFCEEFB0-37BC-48D4-B200-D3706B2CD7FE}" dt="2021-04-21T08:29:12.406" v="16334" actId="1038"/>
          <ac:spMkLst>
            <pc:docMk/>
            <pc:sldMk cId="4131368175" sldId="906"/>
            <ac:spMk id="29" creationId="{9B519732-585D-482E-ABDB-9EDBB022E627}"/>
          </ac:spMkLst>
        </pc:spChg>
        <pc:spChg chg="add del mod modVis">
          <ac:chgData name="Kisliuk, Adrian (ext)" userId="6e619ce3-2643-4cdf-9a13-b4c269650021" providerId="ADAL" clId="{AFCEEFB0-37BC-48D4-B200-D3706B2CD7FE}" dt="2021-04-21T08:31:55.674" v="16484"/>
          <ac:spMkLst>
            <pc:docMk/>
            <pc:sldMk cId="4131368175" sldId="906"/>
            <ac:spMk id="37" creationId="{50D127C7-AC69-4A99-95DC-410133C9D004}"/>
          </ac:spMkLst>
        </pc:spChg>
        <pc:spChg chg="add del mod modVis">
          <ac:chgData name="Kisliuk, Adrian (ext)" userId="6e619ce3-2643-4cdf-9a13-b4c269650021" providerId="ADAL" clId="{AFCEEFB0-37BC-48D4-B200-D3706B2CD7FE}" dt="2021-04-21T08:31:56.333" v="16525"/>
          <ac:spMkLst>
            <pc:docMk/>
            <pc:sldMk cId="4131368175" sldId="906"/>
            <ac:spMk id="38" creationId="{72367BE0-97F6-4BB6-9E82-FBDA84A933C7}"/>
          </ac:spMkLst>
        </pc:spChg>
        <pc:spChg chg="del">
          <ac:chgData name="Kisliuk, Adrian (ext)" userId="6e619ce3-2643-4cdf-9a13-b4c269650021" providerId="ADAL" clId="{AFCEEFB0-37BC-48D4-B200-D3706B2CD7FE}" dt="2021-04-21T08:15:52.079" v="16184" actId="478"/>
          <ac:spMkLst>
            <pc:docMk/>
            <pc:sldMk cId="4131368175" sldId="906"/>
            <ac:spMk id="41" creationId="{15AB89A2-B23B-4C7C-A263-9911421A6276}"/>
          </ac:spMkLst>
        </pc:spChg>
        <pc:spChg chg="add del mod">
          <ac:chgData name="Kisliuk, Adrian (ext)" userId="6e619ce3-2643-4cdf-9a13-b4c269650021" providerId="ADAL" clId="{AFCEEFB0-37BC-48D4-B200-D3706B2CD7FE}" dt="2021-04-21T08:29:12.406" v="16334" actId="1038"/>
          <ac:spMkLst>
            <pc:docMk/>
            <pc:sldMk cId="4131368175" sldId="906"/>
            <ac:spMk id="42" creationId="{43D56E05-097E-4C5A-8AF5-0B59BDC48092}"/>
          </ac:spMkLst>
        </pc:spChg>
        <pc:spChg chg="mod">
          <ac:chgData name="Kisliuk, Adrian (ext)" userId="6e619ce3-2643-4cdf-9a13-b4c269650021" providerId="ADAL" clId="{AFCEEFB0-37BC-48D4-B200-D3706B2CD7FE}" dt="2021-04-21T08:57:06.914" v="16968" actId="1076"/>
          <ac:spMkLst>
            <pc:docMk/>
            <pc:sldMk cId="4131368175" sldId="906"/>
            <ac:spMk id="43" creationId="{471B0FA7-5984-46B8-B565-7588157C3CA6}"/>
          </ac:spMkLst>
        </pc:spChg>
        <pc:spChg chg="mod">
          <ac:chgData name="Kisliuk, Adrian (ext)" userId="6e619ce3-2643-4cdf-9a13-b4c269650021" providerId="ADAL" clId="{AFCEEFB0-37BC-48D4-B200-D3706B2CD7FE}" dt="2021-04-21T08:29:12.406" v="16334" actId="1038"/>
          <ac:spMkLst>
            <pc:docMk/>
            <pc:sldMk cId="4131368175" sldId="906"/>
            <ac:spMk id="44" creationId="{5BE3AE2B-4A0E-4204-B25A-B404EC4FDDA8}"/>
          </ac:spMkLst>
        </pc:spChg>
        <pc:spChg chg="mod">
          <ac:chgData name="Kisliuk, Adrian (ext)" userId="6e619ce3-2643-4cdf-9a13-b4c269650021" providerId="ADAL" clId="{AFCEEFB0-37BC-48D4-B200-D3706B2CD7FE}" dt="2021-04-21T08:57:06.914" v="16968" actId="1076"/>
          <ac:spMkLst>
            <pc:docMk/>
            <pc:sldMk cId="4131368175" sldId="906"/>
            <ac:spMk id="45" creationId="{601F71BF-E6F1-4033-8784-DDF810A6D4A0}"/>
          </ac:spMkLst>
        </pc:spChg>
        <pc:spChg chg="mod">
          <ac:chgData name="Kisliuk, Adrian (ext)" userId="6e619ce3-2643-4cdf-9a13-b4c269650021" providerId="ADAL" clId="{AFCEEFB0-37BC-48D4-B200-D3706B2CD7FE}" dt="2021-04-21T09:14:57.924" v="17202" actId="1036"/>
          <ac:spMkLst>
            <pc:docMk/>
            <pc:sldMk cId="4131368175" sldId="906"/>
            <ac:spMk id="46" creationId="{4B847C00-BB59-457E-B3E2-6A63F6F9DCBA}"/>
          </ac:spMkLst>
        </pc:spChg>
        <pc:spChg chg="mod">
          <ac:chgData name="Kisliuk, Adrian (ext)" userId="6e619ce3-2643-4cdf-9a13-b4c269650021" providerId="ADAL" clId="{AFCEEFB0-37BC-48D4-B200-D3706B2CD7FE}" dt="2021-04-21T09:06:31.992" v="17074" actId="1036"/>
          <ac:spMkLst>
            <pc:docMk/>
            <pc:sldMk cId="4131368175" sldId="906"/>
            <ac:spMk id="48" creationId="{4E452F48-DE7A-49A2-A0F4-C368F2A7C1DE}"/>
          </ac:spMkLst>
        </pc:spChg>
        <pc:spChg chg="del">
          <ac:chgData name="Kisliuk, Adrian (ext)" userId="6e619ce3-2643-4cdf-9a13-b4c269650021" providerId="ADAL" clId="{AFCEEFB0-37BC-48D4-B200-D3706B2CD7FE}" dt="2021-04-21T08:14:41.824" v="16129" actId="478"/>
          <ac:spMkLst>
            <pc:docMk/>
            <pc:sldMk cId="4131368175" sldId="906"/>
            <ac:spMk id="50" creationId="{3D4AA3C3-C230-4B6E-B589-0365492F3948}"/>
          </ac:spMkLst>
        </pc:spChg>
        <pc:spChg chg="add mod">
          <ac:chgData name="Kisliuk, Adrian (ext)" userId="6e619ce3-2643-4cdf-9a13-b4c269650021" providerId="ADAL" clId="{AFCEEFB0-37BC-48D4-B200-D3706B2CD7FE}" dt="2021-04-21T08:29:12.406" v="16334" actId="1038"/>
          <ac:spMkLst>
            <pc:docMk/>
            <pc:sldMk cId="4131368175" sldId="906"/>
            <ac:spMk id="51" creationId="{0FAB3E01-A53A-4C46-983B-2C451D877C9C}"/>
          </ac:spMkLst>
        </pc:spChg>
        <pc:spChg chg="mod">
          <ac:chgData name="Kisliuk, Adrian (ext)" userId="6e619ce3-2643-4cdf-9a13-b4c269650021" providerId="ADAL" clId="{AFCEEFB0-37BC-48D4-B200-D3706B2CD7FE}" dt="2021-04-21T09:06:31.992" v="17074" actId="1036"/>
          <ac:spMkLst>
            <pc:docMk/>
            <pc:sldMk cId="4131368175" sldId="906"/>
            <ac:spMk id="52" creationId="{31148574-1A7B-479C-9F27-F3AB1A366588}"/>
          </ac:spMkLst>
        </pc:spChg>
        <pc:spChg chg="del mod">
          <ac:chgData name="Kisliuk, Adrian (ext)" userId="6e619ce3-2643-4cdf-9a13-b4c269650021" providerId="ADAL" clId="{AFCEEFB0-37BC-48D4-B200-D3706B2CD7FE}" dt="2021-04-21T08:19:11.791" v="16199" actId="478"/>
          <ac:spMkLst>
            <pc:docMk/>
            <pc:sldMk cId="4131368175" sldId="906"/>
            <ac:spMk id="56" creationId="{A0022094-3D73-4876-8784-A0B9750E3CF3}"/>
          </ac:spMkLst>
        </pc:spChg>
        <pc:spChg chg="del mod">
          <ac:chgData name="Kisliuk, Adrian (ext)" userId="6e619ce3-2643-4cdf-9a13-b4c269650021" providerId="ADAL" clId="{AFCEEFB0-37BC-48D4-B200-D3706B2CD7FE}" dt="2021-04-21T08:19:08.215" v="16198" actId="478"/>
          <ac:spMkLst>
            <pc:docMk/>
            <pc:sldMk cId="4131368175" sldId="906"/>
            <ac:spMk id="60" creationId="{01793831-343A-414A-81F4-94D04755F26A}"/>
          </ac:spMkLst>
        </pc:spChg>
        <pc:spChg chg="del mod">
          <ac:chgData name="Kisliuk, Adrian (ext)" userId="6e619ce3-2643-4cdf-9a13-b4c269650021" providerId="ADAL" clId="{AFCEEFB0-37BC-48D4-B200-D3706B2CD7FE}" dt="2021-04-21T08:19:08.215" v="16198" actId="478"/>
          <ac:spMkLst>
            <pc:docMk/>
            <pc:sldMk cId="4131368175" sldId="906"/>
            <ac:spMk id="62" creationId="{4F389A0E-B773-46DA-ADA3-AF6B0F73A5ED}"/>
          </ac:spMkLst>
        </pc:spChg>
        <pc:spChg chg="add mod">
          <ac:chgData name="Kisliuk, Adrian (ext)" userId="6e619ce3-2643-4cdf-9a13-b4c269650021" providerId="ADAL" clId="{AFCEEFB0-37BC-48D4-B200-D3706B2CD7FE}" dt="2021-04-21T08:29:12.406" v="16334" actId="1038"/>
          <ac:spMkLst>
            <pc:docMk/>
            <pc:sldMk cId="4131368175" sldId="906"/>
            <ac:spMk id="65" creationId="{E6E65F66-66B9-4D5B-BC4C-4429AB3DF14A}"/>
          </ac:spMkLst>
        </pc:spChg>
        <pc:spChg chg="add mod">
          <ac:chgData name="Kisliuk, Adrian (ext)" userId="6e619ce3-2643-4cdf-9a13-b4c269650021" providerId="ADAL" clId="{AFCEEFB0-37BC-48D4-B200-D3706B2CD7FE}" dt="2021-04-21T08:29:12.406" v="16334" actId="1038"/>
          <ac:spMkLst>
            <pc:docMk/>
            <pc:sldMk cId="4131368175" sldId="906"/>
            <ac:spMk id="66" creationId="{D9529866-C807-4B05-8B96-A72FE76EAE02}"/>
          </ac:spMkLst>
        </pc:spChg>
        <pc:spChg chg="add mod">
          <ac:chgData name="Kisliuk, Adrian (ext)" userId="6e619ce3-2643-4cdf-9a13-b4c269650021" providerId="ADAL" clId="{AFCEEFB0-37BC-48D4-B200-D3706B2CD7FE}" dt="2021-04-21T08:29:12.406" v="16334" actId="1038"/>
          <ac:spMkLst>
            <pc:docMk/>
            <pc:sldMk cId="4131368175" sldId="906"/>
            <ac:spMk id="67" creationId="{5EC8A125-29CA-4AE0-9211-03C4EB04346C}"/>
          </ac:spMkLst>
        </pc:spChg>
        <pc:spChg chg="mod">
          <ac:chgData name="Kisliuk, Adrian (ext)" userId="6e619ce3-2643-4cdf-9a13-b4c269650021" providerId="ADAL" clId="{AFCEEFB0-37BC-48D4-B200-D3706B2CD7FE}" dt="2021-04-21T09:06:31.992" v="17074" actId="1036"/>
          <ac:spMkLst>
            <pc:docMk/>
            <pc:sldMk cId="4131368175" sldId="906"/>
            <ac:spMk id="68" creationId="{D5FE2528-60BD-45A1-BA80-315CAE8BE661}"/>
          </ac:spMkLst>
        </pc:spChg>
        <pc:spChg chg="add del mod">
          <ac:chgData name="Kisliuk, Adrian (ext)" userId="6e619ce3-2643-4cdf-9a13-b4c269650021" providerId="ADAL" clId="{AFCEEFB0-37BC-48D4-B200-D3706B2CD7FE}" dt="2021-04-21T08:29:26.921" v="16337"/>
          <ac:spMkLst>
            <pc:docMk/>
            <pc:sldMk cId="4131368175" sldId="906"/>
            <ac:spMk id="69" creationId="{2398A55D-0E7A-4DE7-9040-8ACA4239702E}"/>
          </ac:spMkLst>
        </pc:spChg>
        <pc:spChg chg="add del mod">
          <ac:chgData name="Kisliuk, Adrian (ext)" userId="6e619ce3-2643-4cdf-9a13-b4c269650021" providerId="ADAL" clId="{AFCEEFB0-37BC-48D4-B200-D3706B2CD7FE}" dt="2021-04-21T08:29:26.921" v="16337"/>
          <ac:spMkLst>
            <pc:docMk/>
            <pc:sldMk cId="4131368175" sldId="906"/>
            <ac:spMk id="71" creationId="{7B264C09-4D0A-42A3-B2F1-0C5BEC9D38D7}"/>
          </ac:spMkLst>
        </pc:spChg>
        <pc:spChg chg="add del mod">
          <ac:chgData name="Kisliuk, Adrian (ext)" userId="6e619ce3-2643-4cdf-9a13-b4c269650021" providerId="ADAL" clId="{AFCEEFB0-37BC-48D4-B200-D3706B2CD7FE}" dt="2021-04-21T08:29:26.921" v="16337"/>
          <ac:spMkLst>
            <pc:docMk/>
            <pc:sldMk cId="4131368175" sldId="906"/>
            <ac:spMk id="74" creationId="{8B58D892-216A-4F4B-AE40-BB331C164374}"/>
          </ac:spMkLst>
        </pc:spChg>
        <pc:spChg chg="add del mod">
          <ac:chgData name="Kisliuk, Adrian (ext)" userId="6e619ce3-2643-4cdf-9a13-b4c269650021" providerId="ADAL" clId="{AFCEEFB0-37BC-48D4-B200-D3706B2CD7FE}" dt="2021-04-21T08:29:26.921" v="16337"/>
          <ac:spMkLst>
            <pc:docMk/>
            <pc:sldMk cId="4131368175" sldId="906"/>
            <ac:spMk id="75" creationId="{96A9D2AC-46D6-474D-AB1F-C0666C3014BA}"/>
          </ac:spMkLst>
        </pc:spChg>
        <pc:spChg chg="add del mod">
          <ac:chgData name="Kisliuk, Adrian (ext)" userId="6e619ce3-2643-4cdf-9a13-b4c269650021" providerId="ADAL" clId="{AFCEEFB0-37BC-48D4-B200-D3706B2CD7FE}" dt="2021-04-21T08:29:26.921" v="16337"/>
          <ac:spMkLst>
            <pc:docMk/>
            <pc:sldMk cId="4131368175" sldId="906"/>
            <ac:spMk id="77" creationId="{7F37B9D9-6AB6-4A1D-8747-CB6A629C249A}"/>
          </ac:spMkLst>
        </pc:spChg>
        <pc:spChg chg="add del mod">
          <ac:chgData name="Kisliuk, Adrian (ext)" userId="6e619ce3-2643-4cdf-9a13-b4c269650021" providerId="ADAL" clId="{AFCEEFB0-37BC-48D4-B200-D3706B2CD7FE}" dt="2021-04-21T08:29:26.921" v="16337"/>
          <ac:spMkLst>
            <pc:docMk/>
            <pc:sldMk cId="4131368175" sldId="906"/>
            <ac:spMk id="78" creationId="{B40EE09C-8EE0-4281-BE70-8216193DAA43}"/>
          </ac:spMkLst>
        </pc:spChg>
        <pc:spChg chg="add del mod">
          <ac:chgData name="Kisliuk, Adrian (ext)" userId="6e619ce3-2643-4cdf-9a13-b4c269650021" providerId="ADAL" clId="{AFCEEFB0-37BC-48D4-B200-D3706B2CD7FE}" dt="2021-04-21T08:29:26.921" v="16337"/>
          <ac:spMkLst>
            <pc:docMk/>
            <pc:sldMk cId="4131368175" sldId="906"/>
            <ac:spMk id="80" creationId="{D255E4A7-CA85-46F8-BC86-BD6A9AB09747}"/>
          </ac:spMkLst>
        </pc:spChg>
        <pc:spChg chg="add del mod">
          <ac:chgData name="Kisliuk, Adrian (ext)" userId="6e619ce3-2643-4cdf-9a13-b4c269650021" providerId="ADAL" clId="{AFCEEFB0-37BC-48D4-B200-D3706B2CD7FE}" dt="2021-04-21T08:29:26.921" v="16337"/>
          <ac:spMkLst>
            <pc:docMk/>
            <pc:sldMk cId="4131368175" sldId="906"/>
            <ac:spMk id="81" creationId="{A07CB1E5-FE32-4ED7-96BB-6F550A9E98F2}"/>
          </ac:spMkLst>
        </pc:spChg>
        <pc:spChg chg="add del mod">
          <ac:chgData name="Kisliuk, Adrian (ext)" userId="6e619ce3-2643-4cdf-9a13-b4c269650021" providerId="ADAL" clId="{AFCEEFB0-37BC-48D4-B200-D3706B2CD7FE}" dt="2021-04-21T08:29:26.921" v="16337"/>
          <ac:spMkLst>
            <pc:docMk/>
            <pc:sldMk cId="4131368175" sldId="906"/>
            <ac:spMk id="82" creationId="{0B6DE9F2-757E-4732-812C-7B9183793120}"/>
          </ac:spMkLst>
        </pc:spChg>
        <pc:spChg chg="add del mod">
          <ac:chgData name="Kisliuk, Adrian (ext)" userId="6e619ce3-2643-4cdf-9a13-b4c269650021" providerId="ADAL" clId="{AFCEEFB0-37BC-48D4-B200-D3706B2CD7FE}" dt="2021-04-21T08:29:26.921" v="16337"/>
          <ac:spMkLst>
            <pc:docMk/>
            <pc:sldMk cId="4131368175" sldId="906"/>
            <ac:spMk id="83" creationId="{0B885042-3B2D-4900-9450-48A3AC2BC3B4}"/>
          </ac:spMkLst>
        </pc:spChg>
        <pc:spChg chg="add del mod">
          <ac:chgData name="Kisliuk, Adrian (ext)" userId="6e619ce3-2643-4cdf-9a13-b4c269650021" providerId="ADAL" clId="{AFCEEFB0-37BC-48D4-B200-D3706B2CD7FE}" dt="2021-04-21T08:29:26.921" v="16337"/>
          <ac:spMkLst>
            <pc:docMk/>
            <pc:sldMk cId="4131368175" sldId="906"/>
            <ac:spMk id="84" creationId="{F369428A-F5AE-490B-83FD-C6F86647F7AC}"/>
          </ac:spMkLst>
        </pc:spChg>
        <pc:spChg chg="add del mod">
          <ac:chgData name="Kisliuk, Adrian (ext)" userId="6e619ce3-2643-4cdf-9a13-b4c269650021" providerId="ADAL" clId="{AFCEEFB0-37BC-48D4-B200-D3706B2CD7FE}" dt="2021-04-21T08:29:26.921" v="16337"/>
          <ac:spMkLst>
            <pc:docMk/>
            <pc:sldMk cId="4131368175" sldId="906"/>
            <ac:spMk id="85" creationId="{789F92A8-C9B2-4E62-A23B-7E601AC703F5}"/>
          </ac:spMkLst>
        </pc:spChg>
        <pc:spChg chg="add del mod">
          <ac:chgData name="Kisliuk, Adrian (ext)" userId="6e619ce3-2643-4cdf-9a13-b4c269650021" providerId="ADAL" clId="{AFCEEFB0-37BC-48D4-B200-D3706B2CD7FE}" dt="2021-04-21T08:29:26.921" v="16337"/>
          <ac:spMkLst>
            <pc:docMk/>
            <pc:sldMk cId="4131368175" sldId="906"/>
            <ac:spMk id="86" creationId="{49946C41-A578-4BA1-84A7-B7555BA0DAF5}"/>
          </ac:spMkLst>
        </pc:spChg>
        <pc:spChg chg="add del mod">
          <ac:chgData name="Kisliuk, Adrian (ext)" userId="6e619ce3-2643-4cdf-9a13-b4c269650021" providerId="ADAL" clId="{AFCEEFB0-37BC-48D4-B200-D3706B2CD7FE}" dt="2021-04-21T08:29:26.921" v="16337"/>
          <ac:spMkLst>
            <pc:docMk/>
            <pc:sldMk cId="4131368175" sldId="906"/>
            <ac:spMk id="87" creationId="{9668F574-41FB-4AC7-A74E-2B4275CADAD1}"/>
          </ac:spMkLst>
        </pc:spChg>
        <pc:spChg chg="add del mod">
          <ac:chgData name="Kisliuk, Adrian (ext)" userId="6e619ce3-2643-4cdf-9a13-b4c269650021" providerId="ADAL" clId="{AFCEEFB0-37BC-48D4-B200-D3706B2CD7FE}" dt="2021-04-21T08:29:26.921" v="16337"/>
          <ac:spMkLst>
            <pc:docMk/>
            <pc:sldMk cId="4131368175" sldId="906"/>
            <ac:spMk id="91" creationId="{817D799C-12DB-468A-84D0-11DF2FE29BAE}"/>
          </ac:spMkLst>
        </pc:spChg>
        <pc:spChg chg="add del mod">
          <ac:chgData name="Kisliuk, Adrian (ext)" userId="6e619ce3-2643-4cdf-9a13-b4c269650021" providerId="ADAL" clId="{AFCEEFB0-37BC-48D4-B200-D3706B2CD7FE}" dt="2021-04-21T08:29:26.921" v="16337"/>
          <ac:spMkLst>
            <pc:docMk/>
            <pc:sldMk cId="4131368175" sldId="906"/>
            <ac:spMk id="98" creationId="{C6643990-4E1D-4593-B4CB-050A9FD27856}"/>
          </ac:spMkLst>
        </pc:spChg>
        <pc:spChg chg="add del mod">
          <ac:chgData name="Kisliuk, Adrian (ext)" userId="6e619ce3-2643-4cdf-9a13-b4c269650021" providerId="ADAL" clId="{AFCEEFB0-37BC-48D4-B200-D3706B2CD7FE}" dt="2021-04-21T08:29:26.921" v="16337"/>
          <ac:spMkLst>
            <pc:docMk/>
            <pc:sldMk cId="4131368175" sldId="906"/>
            <ac:spMk id="99" creationId="{62D64E6A-E81E-4948-BC0E-E9FEDE587E99}"/>
          </ac:spMkLst>
        </pc:spChg>
        <pc:spChg chg="add del mod">
          <ac:chgData name="Kisliuk, Adrian (ext)" userId="6e619ce3-2643-4cdf-9a13-b4c269650021" providerId="ADAL" clId="{AFCEEFB0-37BC-48D4-B200-D3706B2CD7FE}" dt="2021-04-21T08:29:26.921" v="16337"/>
          <ac:spMkLst>
            <pc:docMk/>
            <pc:sldMk cId="4131368175" sldId="906"/>
            <ac:spMk id="100" creationId="{91633F4D-D665-431D-A48D-4FEF4AED9089}"/>
          </ac:spMkLst>
        </pc:spChg>
        <pc:spChg chg="add del mod">
          <ac:chgData name="Kisliuk, Adrian (ext)" userId="6e619ce3-2643-4cdf-9a13-b4c269650021" providerId="ADAL" clId="{AFCEEFB0-37BC-48D4-B200-D3706B2CD7FE}" dt="2021-04-21T08:29:26.921" v="16337"/>
          <ac:spMkLst>
            <pc:docMk/>
            <pc:sldMk cId="4131368175" sldId="906"/>
            <ac:spMk id="101" creationId="{C13B4949-2F58-4157-AFD3-B0D891E4EF3B}"/>
          </ac:spMkLst>
        </pc:spChg>
        <pc:spChg chg="add del mod">
          <ac:chgData name="Kisliuk, Adrian (ext)" userId="6e619ce3-2643-4cdf-9a13-b4c269650021" providerId="ADAL" clId="{AFCEEFB0-37BC-48D4-B200-D3706B2CD7FE}" dt="2021-04-21T08:32:09.710" v="16529" actId="478"/>
          <ac:spMkLst>
            <pc:docMk/>
            <pc:sldMk cId="4131368175" sldId="906"/>
            <ac:spMk id="104" creationId="{E714DC77-D8F0-4911-A30F-800098DCDCD5}"/>
          </ac:spMkLst>
        </pc:spChg>
        <pc:spChg chg="add del mod">
          <ac:chgData name="Kisliuk, Adrian (ext)" userId="6e619ce3-2643-4cdf-9a13-b4c269650021" providerId="ADAL" clId="{AFCEEFB0-37BC-48D4-B200-D3706B2CD7FE}" dt="2021-04-21T08:32:57.686" v="16534" actId="478"/>
          <ac:spMkLst>
            <pc:docMk/>
            <pc:sldMk cId="4131368175" sldId="906"/>
            <ac:spMk id="106" creationId="{010CA21C-D941-4FF1-B3C7-250FB32EA8ED}"/>
          </ac:spMkLst>
        </pc:spChg>
        <pc:spChg chg="add del mod">
          <ac:chgData name="Kisliuk, Adrian (ext)" userId="6e619ce3-2643-4cdf-9a13-b4c269650021" providerId="ADAL" clId="{AFCEEFB0-37BC-48D4-B200-D3706B2CD7FE}" dt="2021-04-21T08:33:11.970" v="16552" actId="478"/>
          <ac:spMkLst>
            <pc:docMk/>
            <pc:sldMk cId="4131368175" sldId="906"/>
            <ac:spMk id="108" creationId="{19974687-AB22-41C1-ABB3-3E6BB34A3876}"/>
          </ac:spMkLst>
        </pc:spChg>
        <pc:spChg chg="add mod">
          <ac:chgData name="Kisliuk, Adrian (ext)" userId="6e619ce3-2643-4cdf-9a13-b4c269650021" providerId="ADAL" clId="{AFCEEFB0-37BC-48D4-B200-D3706B2CD7FE}" dt="2021-04-21T09:06:31.992" v="17074" actId="1036"/>
          <ac:spMkLst>
            <pc:docMk/>
            <pc:sldMk cId="4131368175" sldId="906"/>
            <ac:spMk id="110" creationId="{22CF3A45-478F-43DF-94A9-34AAB65C0523}"/>
          </ac:spMkLst>
        </pc:spChg>
        <pc:graphicFrameChg chg="mod">
          <ac:chgData name="Kisliuk, Adrian (ext)" userId="6e619ce3-2643-4cdf-9a13-b4c269650021" providerId="ADAL" clId="{AFCEEFB0-37BC-48D4-B200-D3706B2CD7FE}" dt="2021-04-21T08:31:56.335" v="16527"/>
          <ac:graphicFrameMkLst>
            <pc:docMk/>
            <pc:sldMk cId="4131368175" sldId="906"/>
            <ac:graphicFrameMk id="6" creationId="{580DFCAE-76C4-413B-B499-F7B76F1E13AF}"/>
          </ac:graphicFrameMkLst>
        </pc:graphicFrameChg>
        <pc:picChg chg="mod">
          <ac:chgData name="Kisliuk, Adrian (ext)" userId="6e619ce3-2643-4cdf-9a13-b4c269650021" providerId="ADAL" clId="{AFCEEFB0-37BC-48D4-B200-D3706B2CD7FE}" dt="2021-04-21T09:06:31.992" v="17074" actId="1036"/>
          <ac:picMkLst>
            <pc:docMk/>
            <pc:sldMk cId="4131368175" sldId="906"/>
            <ac:picMk id="47" creationId="{E254D9EF-A288-4DDE-B5ED-4CAB7162EAA4}"/>
          </ac:picMkLst>
        </pc:picChg>
        <pc:picChg chg="del">
          <ac:chgData name="Kisliuk, Adrian (ext)" userId="6e619ce3-2643-4cdf-9a13-b4c269650021" providerId="ADAL" clId="{AFCEEFB0-37BC-48D4-B200-D3706B2CD7FE}" dt="2021-04-21T08:19:08.215" v="16198" actId="478"/>
          <ac:picMkLst>
            <pc:docMk/>
            <pc:sldMk cId="4131368175" sldId="906"/>
            <ac:picMk id="54" creationId="{6B854B19-0543-472B-80EE-3E11B9A0ACF9}"/>
          </ac:picMkLst>
        </pc:picChg>
        <pc:picChg chg="mod">
          <ac:chgData name="Kisliuk, Adrian (ext)" userId="6e619ce3-2643-4cdf-9a13-b4c269650021" providerId="ADAL" clId="{AFCEEFB0-37BC-48D4-B200-D3706B2CD7FE}" dt="2021-04-21T09:06:31.992" v="17074" actId="1036"/>
          <ac:picMkLst>
            <pc:docMk/>
            <pc:sldMk cId="4131368175" sldId="906"/>
            <ac:picMk id="63" creationId="{AA117DC0-9E4B-40B6-BBFB-8C3C33FF70F9}"/>
          </ac:picMkLst>
        </pc:picChg>
        <pc:picChg chg="add del mod">
          <ac:chgData name="Kisliuk, Adrian (ext)" userId="6e619ce3-2643-4cdf-9a13-b4c269650021" providerId="ADAL" clId="{AFCEEFB0-37BC-48D4-B200-D3706B2CD7FE}" dt="2021-04-21T08:29:26.921" v="16337"/>
          <ac:picMkLst>
            <pc:docMk/>
            <pc:sldMk cId="4131368175" sldId="906"/>
            <ac:picMk id="90" creationId="{4807AD42-7311-4397-8417-FA1505C6526D}"/>
          </ac:picMkLst>
        </pc:picChg>
        <pc:picChg chg="add del mod">
          <ac:chgData name="Kisliuk, Adrian (ext)" userId="6e619ce3-2643-4cdf-9a13-b4c269650021" providerId="ADAL" clId="{AFCEEFB0-37BC-48D4-B200-D3706B2CD7FE}" dt="2021-04-21T08:29:26.921" v="16337"/>
          <ac:picMkLst>
            <pc:docMk/>
            <pc:sldMk cId="4131368175" sldId="906"/>
            <ac:picMk id="97" creationId="{3F9E4F9E-8595-48CC-B887-176ADA8BA88F}"/>
          </ac:picMkLst>
        </pc:picChg>
        <pc:cxnChg chg="mod">
          <ac:chgData name="Kisliuk, Adrian (ext)" userId="6e619ce3-2643-4cdf-9a13-b4c269650021" providerId="ADAL" clId="{AFCEEFB0-37BC-48D4-B200-D3706B2CD7FE}" dt="2021-04-21T08:29:12.406" v="16334" actId="1038"/>
          <ac:cxnSpMkLst>
            <pc:docMk/>
            <pc:sldMk cId="4131368175" sldId="906"/>
            <ac:cxnSpMk id="5" creationId="{64F4978D-D77F-42AA-88F1-9FC844028933}"/>
          </ac:cxnSpMkLst>
        </pc:cxnChg>
        <pc:cxnChg chg="del mod">
          <ac:chgData name="Kisliuk, Adrian (ext)" userId="6e619ce3-2643-4cdf-9a13-b4c269650021" providerId="ADAL" clId="{AFCEEFB0-37BC-48D4-B200-D3706B2CD7FE}" dt="2021-04-21T08:18:09.304" v="16194" actId="478"/>
          <ac:cxnSpMkLst>
            <pc:docMk/>
            <pc:sldMk cId="4131368175" sldId="906"/>
            <ac:cxnSpMk id="10" creationId="{652886AC-1E4C-41B2-8E3F-6BAEE657B018}"/>
          </ac:cxnSpMkLst>
        </pc:cxnChg>
        <pc:cxnChg chg="mod">
          <ac:chgData name="Kisliuk, Adrian (ext)" userId="6e619ce3-2643-4cdf-9a13-b4c269650021" providerId="ADAL" clId="{AFCEEFB0-37BC-48D4-B200-D3706B2CD7FE}" dt="2021-04-21T09:06:31.992" v="17074" actId="1036"/>
          <ac:cxnSpMkLst>
            <pc:docMk/>
            <pc:sldMk cId="4131368175" sldId="906"/>
            <ac:cxnSpMk id="53" creationId="{5A830FD9-3453-4D9A-8CFB-B76E7C1B7236}"/>
          </ac:cxnSpMkLst>
        </pc:cxnChg>
        <pc:cxnChg chg="del mod">
          <ac:chgData name="Kisliuk, Adrian (ext)" userId="6e619ce3-2643-4cdf-9a13-b4c269650021" providerId="ADAL" clId="{AFCEEFB0-37BC-48D4-B200-D3706B2CD7FE}" dt="2021-04-21T08:29:32.737" v="16340" actId="478"/>
          <ac:cxnSpMkLst>
            <pc:docMk/>
            <pc:sldMk cId="4131368175" sldId="906"/>
            <ac:cxnSpMk id="55" creationId="{83AE462E-0EBE-4764-BDAD-E3424530EF2D}"/>
          </ac:cxnSpMkLst>
        </pc:cxnChg>
        <pc:cxnChg chg="del mod">
          <ac:chgData name="Kisliuk, Adrian (ext)" userId="6e619ce3-2643-4cdf-9a13-b4c269650021" providerId="ADAL" clId="{AFCEEFB0-37BC-48D4-B200-D3706B2CD7FE}" dt="2021-04-21T08:33:02.493" v="16536" actId="478"/>
          <ac:cxnSpMkLst>
            <pc:docMk/>
            <pc:sldMk cId="4131368175" sldId="906"/>
            <ac:cxnSpMk id="57" creationId="{1FAEFF86-6BB8-4DDA-B69D-DD4C15823309}"/>
          </ac:cxnSpMkLst>
        </pc:cxnChg>
        <pc:cxnChg chg="del">
          <ac:chgData name="Kisliuk, Adrian (ext)" userId="6e619ce3-2643-4cdf-9a13-b4c269650021" providerId="ADAL" clId="{AFCEEFB0-37BC-48D4-B200-D3706B2CD7FE}" dt="2021-04-21T08:19:08.215" v="16198" actId="478"/>
          <ac:cxnSpMkLst>
            <pc:docMk/>
            <pc:sldMk cId="4131368175" sldId="906"/>
            <ac:cxnSpMk id="58" creationId="{39267E21-E8C4-424D-B47F-9C00B780156C}"/>
          </ac:cxnSpMkLst>
        </pc:cxnChg>
        <pc:cxnChg chg="del">
          <ac:chgData name="Kisliuk, Adrian (ext)" userId="6e619ce3-2643-4cdf-9a13-b4c269650021" providerId="ADAL" clId="{AFCEEFB0-37BC-48D4-B200-D3706B2CD7FE}" dt="2021-04-21T08:19:08.215" v="16198" actId="478"/>
          <ac:cxnSpMkLst>
            <pc:docMk/>
            <pc:sldMk cId="4131368175" sldId="906"/>
            <ac:cxnSpMk id="59" creationId="{E4121DC1-51A1-4CE1-9B3E-FDF109D8DDA2}"/>
          </ac:cxnSpMkLst>
        </pc:cxnChg>
        <pc:cxnChg chg="del mod">
          <ac:chgData name="Kisliuk, Adrian (ext)" userId="6e619ce3-2643-4cdf-9a13-b4c269650021" providerId="ADAL" clId="{AFCEEFB0-37BC-48D4-B200-D3706B2CD7FE}" dt="2021-04-21T08:15:56.669" v="16186" actId="478"/>
          <ac:cxnSpMkLst>
            <pc:docMk/>
            <pc:sldMk cId="4131368175" sldId="906"/>
            <ac:cxnSpMk id="61" creationId="{BE321C56-78D2-4149-9E8B-0A438C388959}"/>
          </ac:cxnSpMkLst>
        </pc:cxnChg>
        <pc:cxnChg chg="del mod">
          <ac:chgData name="Kisliuk, Adrian (ext)" userId="6e619ce3-2643-4cdf-9a13-b4c269650021" providerId="ADAL" clId="{AFCEEFB0-37BC-48D4-B200-D3706B2CD7FE}" dt="2021-04-21T08:15:54.404" v="16185" actId="478"/>
          <ac:cxnSpMkLst>
            <pc:docMk/>
            <pc:sldMk cId="4131368175" sldId="906"/>
            <ac:cxnSpMk id="64" creationId="{14733312-1AED-430F-9964-3D8312BA1143}"/>
          </ac:cxnSpMkLst>
        </pc:cxnChg>
        <pc:cxnChg chg="mod">
          <ac:chgData name="Kisliuk, Adrian (ext)" userId="6e619ce3-2643-4cdf-9a13-b4c269650021" providerId="ADAL" clId="{AFCEEFB0-37BC-48D4-B200-D3706B2CD7FE}" dt="2021-04-21T09:14:57.924" v="17202" actId="1036"/>
          <ac:cxnSpMkLst>
            <pc:docMk/>
            <pc:sldMk cId="4131368175" sldId="906"/>
            <ac:cxnSpMk id="70" creationId="{CA649833-52F1-418C-A7E2-031102C87666}"/>
          </ac:cxnSpMkLst>
        </pc:cxnChg>
        <pc:cxnChg chg="add del mod">
          <ac:chgData name="Kisliuk, Adrian (ext)" userId="6e619ce3-2643-4cdf-9a13-b4c269650021" providerId="ADAL" clId="{AFCEEFB0-37BC-48D4-B200-D3706B2CD7FE}" dt="2021-04-21T08:29:26.921" v="16337"/>
          <ac:cxnSpMkLst>
            <pc:docMk/>
            <pc:sldMk cId="4131368175" sldId="906"/>
            <ac:cxnSpMk id="72" creationId="{EB4323C9-7DE0-45EF-9D38-9F6A90F5377A}"/>
          </ac:cxnSpMkLst>
        </pc:cxnChg>
        <pc:cxnChg chg="mod">
          <ac:chgData name="Kisliuk, Adrian (ext)" userId="6e619ce3-2643-4cdf-9a13-b4c269650021" providerId="ADAL" clId="{AFCEEFB0-37BC-48D4-B200-D3706B2CD7FE}" dt="2021-04-21T09:06:31.992" v="17074" actId="1036"/>
          <ac:cxnSpMkLst>
            <pc:docMk/>
            <pc:sldMk cId="4131368175" sldId="906"/>
            <ac:cxnSpMk id="73" creationId="{A4C3CAC7-CD31-4635-809B-D083DA7CB4E4}"/>
          </ac:cxnSpMkLst>
        </pc:cxnChg>
        <pc:cxnChg chg="mod">
          <ac:chgData name="Kisliuk, Adrian (ext)" userId="6e619ce3-2643-4cdf-9a13-b4c269650021" providerId="ADAL" clId="{AFCEEFB0-37BC-48D4-B200-D3706B2CD7FE}" dt="2021-04-21T09:06:31.992" v="17074" actId="1036"/>
          <ac:cxnSpMkLst>
            <pc:docMk/>
            <pc:sldMk cId="4131368175" sldId="906"/>
            <ac:cxnSpMk id="76" creationId="{833FE48F-0C55-4056-B53F-9C8124F3D7D7}"/>
          </ac:cxnSpMkLst>
        </pc:cxnChg>
        <pc:cxnChg chg="mod">
          <ac:chgData name="Kisliuk, Adrian (ext)" userId="6e619ce3-2643-4cdf-9a13-b4c269650021" providerId="ADAL" clId="{AFCEEFB0-37BC-48D4-B200-D3706B2CD7FE}" dt="2021-04-21T08:29:12.406" v="16334" actId="1038"/>
          <ac:cxnSpMkLst>
            <pc:docMk/>
            <pc:sldMk cId="4131368175" sldId="906"/>
            <ac:cxnSpMk id="79" creationId="{AD6C4FA9-C693-43A4-8BD5-867CBEAC39C0}"/>
          </ac:cxnSpMkLst>
        </pc:cxnChg>
        <pc:cxnChg chg="add del mod">
          <ac:chgData name="Kisliuk, Adrian (ext)" userId="6e619ce3-2643-4cdf-9a13-b4c269650021" providerId="ADAL" clId="{AFCEEFB0-37BC-48D4-B200-D3706B2CD7FE}" dt="2021-04-21T08:29:26.921" v="16337"/>
          <ac:cxnSpMkLst>
            <pc:docMk/>
            <pc:sldMk cId="4131368175" sldId="906"/>
            <ac:cxnSpMk id="88" creationId="{2C1F5DD1-0539-4EB8-A292-C86276E757E8}"/>
          </ac:cxnSpMkLst>
        </pc:cxnChg>
        <pc:cxnChg chg="add del mod">
          <ac:chgData name="Kisliuk, Adrian (ext)" userId="6e619ce3-2643-4cdf-9a13-b4c269650021" providerId="ADAL" clId="{AFCEEFB0-37BC-48D4-B200-D3706B2CD7FE}" dt="2021-04-21T08:29:26.921" v="16337"/>
          <ac:cxnSpMkLst>
            <pc:docMk/>
            <pc:sldMk cId="4131368175" sldId="906"/>
            <ac:cxnSpMk id="89" creationId="{CA3B65A1-5FD6-45D1-BD1B-429D1CDC1C4F}"/>
          </ac:cxnSpMkLst>
        </pc:cxnChg>
        <pc:cxnChg chg="add del mod">
          <ac:chgData name="Kisliuk, Adrian (ext)" userId="6e619ce3-2643-4cdf-9a13-b4c269650021" providerId="ADAL" clId="{AFCEEFB0-37BC-48D4-B200-D3706B2CD7FE}" dt="2021-04-21T08:29:26.921" v="16337"/>
          <ac:cxnSpMkLst>
            <pc:docMk/>
            <pc:sldMk cId="4131368175" sldId="906"/>
            <ac:cxnSpMk id="92" creationId="{09637571-16E6-4B2C-9B8E-8B3F7970EF45}"/>
          </ac:cxnSpMkLst>
        </pc:cxnChg>
        <pc:cxnChg chg="add del mod">
          <ac:chgData name="Kisliuk, Adrian (ext)" userId="6e619ce3-2643-4cdf-9a13-b4c269650021" providerId="ADAL" clId="{AFCEEFB0-37BC-48D4-B200-D3706B2CD7FE}" dt="2021-04-21T08:29:26.921" v="16337"/>
          <ac:cxnSpMkLst>
            <pc:docMk/>
            <pc:sldMk cId="4131368175" sldId="906"/>
            <ac:cxnSpMk id="93" creationId="{7D64AD17-FE56-4EE0-ABB2-E4F6BA5A900F}"/>
          </ac:cxnSpMkLst>
        </pc:cxnChg>
        <pc:cxnChg chg="add del mod">
          <ac:chgData name="Kisliuk, Adrian (ext)" userId="6e619ce3-2643-4cdf-9a13-b4c269650021" providerId="ADAL" clId="{AFCEEFB0-37BC-48D4-B200-D3706B2CD7FE}" dt="2021-04-21T08:29:26.921" v="16337"/>
          <ac:cxnSpMkLst>
            <pc:docMk/>
            <pc:sldMk cId="4131368175" sldId="906"/>
            <ac:cxnSpMk id="94" creationId="{7914CEA7-4572-47D1-B113-545961D67F7D}"/>
          </ac:cxnSpMkLst>
        </pc:cxnChg>
        <pc:cxnChg chg="add del mod">
          <ac:chgData name="Kisliuk, Adrian (ext)" userId="6e619ce3-2643-4cdf-9a13-b4c269650021" providerId="ADAL" clId="{AFCEEFB0-37BC-48D4-B200-D3706B2CD7FE}" dt="2021-04-21T08:29:26.921" v="16337"/>
          <ac:cxnSpMkLst>
            <pc:docMk/>
            <pc:sldMk cId="4131368175" sldId="906"/>
            <ac:cxnSpMk id="95" creationId="{8AABD2F2-EC5B-4F5C-9BE0-BB758BFF2E7C}"/>
          </ac:cxnSpMkLst>
        </pc:cxnChg>
        <pc:cxnChg chg="add del mod">
          <ac:chgData name="Kisliuk, Adrian (ext)" userId="6e619ce3-2643-4cdf-9a13-b4c269650021" providerId="ADAL" clId="{AFCEEFB0-37BC-48D4-B200-D3706B2CD7FE}" dt="2021-04-21T08:29:26.921" v="16337"/>
          <ac:cxnSpMkLst>
            <pc:docMk/>
            <pc:sldMk cId="4131368175" sldId="906"/>
            <ac:cxnSpMk id="96" creationId="{7FF217BC-FCCF-4481-894D-18021A605C4C}"/>
          </ac:cxnSpMkLst>
        </pc:cxnChg>
        <pc:cxnChg chg="add mod">
          <ac:chgData name="Kisliuk, Adrian (ext)" userId="6e619ce3-2643-4cdf-9a13-b4c269650021" providerId="ADAL" clId="{AFCEEFB0-37BC-48D4-B200-D3706B2CD7FE}" dt="2021-04-21T09:06:31.992" v="17074" actId="1036"/>
          <ac:cxnSpMkLst>
            <pc:docMk/>
            <pc:sldMk cId="4131368175" sldId="906"/>
            <ac:cxnSpMk id="102" creationId="{97D1238A-1C27-486B-A834-676059FAEC75}"/>
          </ac:cxnSpMkLst>
        </pc:cxnChg>
        <pc:cxnChg chg="add del mod">
          <ac:chgData name="Kisliuk, Adrian (ext)" userId="6e619ce3-2643-4cdf-9a13-b4c269650021" providerId="ADAL" clId="{AFCEEFB0-37BC-48D4-B200-D3706B2CD7FE}" dt="2021-04-21T08:32:59.433" v="16535" actId="478"/>
          <ac:cxnSpMkLst>
            <pc:docMk/>
            <pc:sldMk cId="4131368175" sldId="906"/>
            <ac:cxnSpMk id="103" creationId="{707CD8FF-53F7-49E2-8CD5-BB457EFBAA7C}"/>
          </ac:cxnSpMkLst>
        </pc:cxnChg>
        <pc:cxnChg chg="add del mod">
          <ac:chgData name="Kisliuk, Adrian (ext)" userId="6e619ce3-2643-4cdf-9a13-b4c269650021" providerId="ADAL" clId="{AFCEEFB0-37BC-48D4-B200-D3706B2CD7FE}" dt="2021-04-21T08:32:25.811" v="16532" actId="478"/>
          <ac:cxnSpMkLst>
            <pc:docMk/>
            <pc:sldMk cId="4131368175" sldId="906"/>
            <ac:cxnSpMk id="105" creationId="{7EF8967C-825C-4422-86C9-4A79E2A22B64}"/>
          </ac:cxnSpMkLst>
        </pc:cxnChg>
        <pc:cxnChg chg="add del mod">
          <ac:chgData name="Kisliuk, Adrian (ext)" userId="6e619ce3-2643-4cdf-9a13-b4c269650021" providerId="ADAL" clId="{AFCEEFB0-37BC-48D4-B200-D3706B2CD7FE}" dt="2021-04-21T08:33:09.729" v="16551" actId="478"/>
          <ac:cxnSpMkLst>
            <pc:docMk/>
            <pc:sldMk cId="4131368175" sldId="906"/>
            <ac:cxnSpMk id="107" creationId="{7592DE94-3F02-4ED1-8D15-94387BED3687}"/>
          </ac:cxnSpMkLst>
        </pc:cxnChg>
        <pc:cxnChg chg="add mod">
          <ac:chgData name="Kisliuk, Adrian (ext)" userId="6e619ce3-2643-4cdf-9a13-b4c269650021" providerId="ADAL" clId="{AFCEEFB0-37BC-48D4-B200-D3706B2CD7FE}" dt="2021-04-21T09:06:31.992" v="17074" actId="1036"/>
          <ac:cxnSpMkLst>
            <pc:docMk/>
            <pc:sldMk cId="4131368175" sldId="906"/>
            <ac:cxnSpMk id="111" creationId="{AB43C7F3-7F5E-4E77-8CB4-C99E82BC0671}"/>
          </ac:cxnSpMkLst>
        </pc:cxnChg>
      </pc:sldChg>
      <pc:sldChg chg="addSp delSp modSp new add del mod">
        <pc:chgData name="Kisliuk, Adrian (ext)" userId="6e619ce3-2643-4cdf-9a13-b4c269650021" providerId="ADAL" clId="{AFCEEFB0-37BC-48D4-B200-D3706B2CD7FE}" dt="2021-04-21T12:32:59.751" v="20462" actId="47"/>
        <pc:sldMkLst>
          <pc:docMk/>
          <pc:sldMk cId="702498905" sldId="907"/>
        </pc:sldMkLst>
        <pc:spChg chg="mod">
          <ac:chgData name="Kisliuk, Adrian (ext)" userId="6e619ce3-2643-4cdf-9a13-b4c269650021" providerId="ADAL" clId="{AFCEEFB0-37BC-48D4-B200-D3706B2CD7FE}" dt="2021-04-21T08:52:46.939" v="16884" actId="948"/>
          <ac:spMkLst>
            <pc:docMk/>
            <pc:sldMk cId="702498905" sldId="907"/>
            <ac:spMk id="2" creationId="{2F17B919-305E-4422-9C46-A8D0CC1CEB39}"/>
          </ac:spMkLst>
        </pc:spChg>
        <pc:spChg chg="del">
          <ac:chgData name="Kisliuk, Adrian (ext)" userId="6e619ce3-2643-4cdf-9a13-b4c269650021" providerId="ADAL" clId="{AFCEEFB0-37BC-48D4-B200-D3706B2CD7FE}" dt="2021-04-21T08:52:49.609" v="16937" actId="478"/>
          <ac:spMkLst>
            <pc:docMk/>
            <pc:sldMk cId="702498905" sldId="907"/>
            <ac:spMk id="3" creationId="{DD1A2FD7-620A-41A5-BACF-3C424AD37F8E}"/>
          </ac:spMkLst>
        </pc:spChg>
        <pc:spChg chg="add del mod modVis">
          <ac:chgData name="Kisliuk, Adrian (ext)" userId="6e619ce3-2643-4cdf-9a13-b4c269650021" providerId="ADAL" clId="{AFCEEFB0-37BC-48D4-B200-D3706B2CD7FE}" dt="2021-04-21T08:52:47.028" v="16921"/>
          <ac:spMkLst>
            <pc:docMk/>
            <pc:sldMk cId="702498905" sldId="907"/>
            <ac:spMk id="4" creationId="{1DBA75BC-D2F5-4DF9-973E-FC18BD73D053}"/>
          </ac:spMkLst>
        </pc:spChg>
        <pc:spChg chg="add del mod">
          <ac:chgData name="Kisliuk, Adrian (ext)" userId="6e619ce3-2643-4cdf-9a13-b4c269650021" providerId="ADAL" clId="{AFCEEFB0-37BC-48D4-B200-D3706B2CD7FE}" dt="2021-04-21T09:05:34.454" v="17048" actId="478"/>
          <ac:spMkLst>
            <pc:docMk/>
            <pc:sldMk cId="702498905" sldId="907"/>
            <ac:spMk id="6" creationId="{09035D69-FB40-4B7D-8E39-1DC072CFEF3C}"/>
          </ac:spMkLst>
        </pc:spChg>
        <pc:spChg chg="add mod">
          <ac:chgData name="Kisliuk, Adrian (ext)" userId="6e619ce3-2643-4cdf-9a13-b4c269650021" providerId="ADAL" clId="{AFCEEFB0-37BC-48D4-B200-D3706B2CD7FE}" dt="2021-04-21T09:16:26.123" v="17320" actId="20577"/>
          <ac:spMkLst>
            <pc:docMk/>
            <pc:sldMk cId="702498905" sldId="907"/>
            <ac:spMk id="7" creationId="{A8393EA8-472C-4D33-A141-E484BE9832C6}"/>
          </ac:spMkLst>
        </pc:spChg>
        <pc:graphicFrameChg chg="add mod ord modVis">
          <ac:chgData name="Kisliuk, Adrian (ext)" userId="6e619ce3-2643-4cdf-9a13-b4c269650021" providerId="ADAL" clId="{AFCEEFB0-37BC-48D4-B200-D3706B2CD7FE}" dt="2021-04-21T08:52:47.596" v="16936"/>
          <ac:graphicFrameMkLst>
            <pc:docMk/>
            <pc:sldMk cId="702498905" sldId="907"/>
            <ac:graphicFrameMk id="5" creationId="{9B5FCC09-E8BA-4D83-92AE-D53D32EAD720}"/>
          </ac:graphicFrameMkLst>
        </pc:graphicFrameChg>
      </pc:sldChg>
      <pc:sldChg chg="addSp delSp modSp new add del mod">
        <pc:chgData name="Kisliuk, Adrian (ext)" userId="6e619ce3-2643-4cdf-9a13-b4c269650021" providerId="ADAL" clId="{AFCEEFB0-37BC-48D4-B200-D3706B2CD7FE}" dt="2021-04-21T10:00:08.770" v="17766" actId="47"/>
        <pc:sldMkLst>
          <pc:docMk/>
          <pc:sldMk cId="198707752" sldId="908"/>
        </pc:sldMkLst>
        <pc:spChg chg="add mod">
          <ac:chgData name="Kisliuk, Adrian (ext)" userId="6e619ce3-2643-4cdf-9a13-b4c269650021" providerId="ADAL" clId="{AFCEEFB0-37BC-48D4-B200-D3706B2CD7FE}" dt="2021-04-21T09:57:03.835" v="17707" actId="20577"/>
          <ac:spMkLst>
            <pc:docMk/>
            <pc:sldMk cId="198707752" sldId="908"/>
            <ac:spMk id="5" creationId="{E3EC9CB9-29C9-48F7-A652-A68FBC9DBA10}"/>
          </ac:spMkLst>
        </pc:spChg>
        <pc:spChg chg="add del mod">
          <ac:chgData name="Kisliuk, Adrian (ext)" userId="6e619ce3-2643-4cdf-9a13-b4c269650021" providerId="ADAL" clId="{AFCEEFB0-37BC-48D4-B200-D3706B2CD7FE}" dt="2021-04-21T09:46:15.728" v="17488"/>
          <ac:spMkLst>
            <pc:docMk/>
            <pc:sldMk cId="198707752" sldId="908"/>
            <ac:spMk id="6" creationId="{21EB38A3-95C7-4B28-83BF-6E83F1342DA0}"/>
          </ac:spMkLst>
        </pc:spChg>
      </pc:sldChg>
      <pc:sldChg chg="add del">
        <pc:chgData name="Kisliuk, Adrian (ext)" userId="6e619ce3-2643-4cdf-9a13-b4c269650021" providerId="ADAL" clId="{AFCEEFB0-37BC-48D4-B200-D3706B2CD7FE}" dt="2021-04-21T10:22:14.083" v="18572" actId="47"/>
        <pc:sldMkLst>
          <pc:docMk/>
          <pc:sldMk cId="1635713402" sldId="908"/>
        </pc:sldMkLst>
      </pc:sldChg>
      <pc:sldChg chg="new add del">
        <pc:chgData name="Kisliuk, Adrian (ext)" userId="6e619ce3-2643-4cdf-9a13-b4c269650021" providerId="ADAL" clId="{AFCEEFB0-37BC-48D4-B200-D3706B2CD7FE}" dt="2021-04-21T09:30:39.164" v="17379" actId="47"/>
        <pc:sldMkLst>
          <pc:docMk/>
          <pc:sldMk cId="2282783065" sldId="908"/>
        </pc:sldMkLst>
      </pc:sldChg>
      <pc:sldChg chg="addSp delSp modSp add del mod">
        <pc:chgData name="Kisliuk, Adrian (ext)" userId="6e619ce3-2643-4cdf-9a13-b4c269650021" providerId="ADAL" clId="{AFCEEFB0-37BC-48D4-B200-D3706B2CD7FE}" dt="2021-04-21T12:34:11.791" v="20470" actId="47"/>
        <pc:sldMkLst>
          <pc:docMk/>
          <pc:sldMk cId="2414988994" sldId="908"/>
        </pc:sldMkLst>
        <pc:spChg chg="del">
          <ac:chgData name="Kisliuk, Adrian (ext)" userId="6e619ce3-2643-4cdf-9a13-b4c269650021" providerId="ADAL" clId="{AFCEEFB0-37BC-48D4-B200-D3706B2CD7FE}" dt="2021-04-21T11:40:56.381" v="19070" actId="478"/>
          <ac:spMkLst>
            <pc:docMk/>
            <pc:sldMk cId="2414988994" sldId="908"/>
            <ac:spMk id="9" creationId="{7669D4DA-E4FE-4EE5-A24F-F52140E0CA6D}"/>
          </ac:spMkLst>
        </pc:spChg>
        <pc:spChg chg="del">
          <ac:chgData name="Kisliuk, Adrian (ext)" userId="6e619ce3-2643-4cdf-9a13-b4c269650021" providerId="ADAL" clId="{AFCEEFB0-37BC-48D4-B200-D3706B2CD7FE}" dt="2021-04-21T11:40:56.381" v="19070" actId="478"/>
          <ac:spMkLst>
            <pc:docMk/>
            <pc:sldMk cId="2414988994" sldId="908"/>
            <ac:spMk id="12" creationId="{289277AE-CAF7-4052-97C1-D65E0845CAD9}"/>
          </ac:spMkLst>
        </pc:spChg>
        <pc:spChg chg="del">
          <ac:chgData name="Kisliuk, Adrian (ext)" userId="6e619ce3-2643-4cdf-9a13-b4c269650021" providerId="ADAL" clId="{AFCEEFB0-37BC-48D4-B200-D3706B2CD7FE}" dt="2021-04-21T11:40:49.293" v="19067" actId="478"/>
          <ac:spMkLst>
            <pc:docMk/>
            <pc:sldMk cId="2414988994" sldId="908"/>
            <ac:spMk id="13" creationId="{95FDA37D-599D-4ABF-9214-83DDEE5AAAB2}"/>
          </ac:spMkLst>
        </pc:spChg>
        <pc:spChg chg="del">
          <ac:chgData name="Kisliuk, Adrian (ext)" userId="6e619ce3-2643-4cdf-9a13-b4c269650021" providerId="ADAL" clId="{AFCEEFB0-37BC-48D4-B200-D3706B2CD7FE}" dt="2021-04-21T11:40:49.293" v="19067" actId="478"/>
          <ac:spMkLst>
            <pc:docMk/>
            <pc:sldMk cId="2414988994" sldId="908"/>
            <ac:spMk id="14" creationId="{2D7D4A53-E826-4989-812A-BC25A4033E4F}"/>
          </ac:spMkLst>
        </pc:spChg>
        <pc:spChg chg="add del mod">
          <ac:chgData name="Kisliuk, Adrian (ext)" userId="6e619ce3-2643-4cdf-9a13-b4c269650021" providerId="ADAL" clId="{AFCEEFB0-37BC-48D4-B200-D3706B2CD7FE}" dt="2021-04-21T11:40:51.519" v="19069"/>
          <ac:spMkLst>
            <pc:docMk/>
            <pc:sldMk cId="2414988994" sldId="908"/>
            <ac:spMk id="15" creationId="{B46E67B3-1991-477C-9167-C54C6F0A87A2}"/>
          </ac:spMkLst>
        </pc:spChg>
        <pc:spChg chg="add del mod">
          <ac:chgData name="Kisliuk, Adrian (ext)" userId="6e619ce3-2643-4cdf-9a13-b4c269650021" providerId="ADAL" clId="{AFCEEFB0-37BC-48D4-B200-D3706B2CD7FE}" dt="2021-04-21T11:40:51.519" v="19069"/>
          <ac:spMkLst>
            <pc:docMk/>
            <pc:sldMk cId="2414988994" sldId="908"/>
            <ac:spMk id="19" creationId="{045CD29F-586A-43EE-BDFA-FC28F21C15A6}"/>
          </ac:spMkLst>
        </pc:spChg>
        <pc:spChg chg="add del mod">
          <ac:chgData name="Kisliuk, Adrian (ext)" userId="6e619ce3-2643-4cdf-9a13-b4c269650021" providerId="ADAL" clId="{AFCEEFB0-37BC-48D4-B200-D3706B2CD7FE}" dt="2021-04-21T11:40:51.519" v="19069"/>
          <ac:spMkLst>
            <pc:docMk/>
            <pc:sldMk cId="2414988994" sldId="908"/>
            <ac:spMk id="20" creationId="{7873E470-86AF-45BB-8054-3D118EC23CD9}"/>
          </ac:spMkLst>
        </pc:spChg>
        <pc:spChg chg="add del mod">
          <ac:chgData name="Kisliuk, Adrian (ext)" userId="6e619ce3-2643-4cdf-9a13-b4c269650021" providerId="ADAL" clId="{AFCEEFB0-37BC-48D4-B200-D3706B2CD7FE}" dt="2021-04-21T11:40:51.519" v="19069"/>
          <ac:spMkLst>
            <pc:docMk/>
            <pc:sldMk cId="2414988994" sldId="908"/>
            <ac:spMk id="23" creationId="{011590E0-9CA6-4664-BA5E-E323DCC7EC75}"/>
          </ac:spMkLst>
        </pc:spChg>
        <pc:spChg chg="add mod">
          <ac:chgData name="Kisliuk, Adrian (ext)" userId="6e619ce3-2643-4cdf-9a13-b4c269650021" providerId="ADAL" clId="{AFCEEFB0-37BC-48D4-B200-D3706B2CD7FE}" dt="2021-04-21T11:40:57.985" v="19071"/>
          <ac:spMkLst>
            <pc:docMk/>
            <pc:sldMk cId="2414988994" sldId="908"/>
            <ac:spMk id="25" creationId="{7878CABD-96E3-475C-9700-CD8DDFD9467D}"/>
          </ac:spMkLst>
        </pc:spChg>
        <pc:spChg chg="add mod">
          <ac:chgData name="Kisliuk, Adrian (ext)" userId="6e619ce3-2643-4cdf-9a13-b4c269650021" providerId="ADAL" clId="{AFCEEFB0-37BC-48D4-B200-D3706B2CD7FE}" dt="2021-04-21T11:40:57.985" v="19071"/>
          <ac:spMkLst>
            <pc:docMk/>
            <pc:sldMk cId="2414988994" sldId="908"/>
            <ac:spMk id="26" creationId="{A665D213-4718-43D5-B4E2-DAB7400F545B}"/>
          </ac:spMkLst>
        </pc:spChg>
        <pc:spChg chg="add mod">
          <ac:chgData name="Kisliuk, Adrian (ext)" userId="6e619ce3-2643-4cdf-9a13-b4c269650021" providerId="ADAL" clId="{AFCEEFB0-37BC-48D4-B200-D3706B2CD7FE}" dt="2021-04-21T11:40:57.985" v="19071"/>
          <ac:spMkLst>
            <pc:docMk/>
            <pc:sldMk cId="2414988994" sldId="908"/>
            <ac:spMk id="27" creationId="{A53D0898-431B-49E1-B509-7E0A13E8019E}"/>
          </ac:spMkLst>
        </pc:spChg>
        <pc:spChg chg="add mod">
          <ac:chgData name="Kisliuk, Adrian (ext)" userId="6e619ce3-2643-4cdf-9a13-b4c269650021" providerId="ADAL" clId="{AFCEEFB0-37BC-48D4-B200-D3706B2CD7FE}" dt="2021-04-21T11:40:57.985" v="19071"/>
          <ac:spMkLst>
            <pc:docMk/>
            <pc:sldMk cId="2414988994" sldId="908"/>
            <ac:spMk id="30" creationId="{2D56E1EB-45F3-456E-866E-9D3D9A6F9428}"/>
          </ac:spMkLst>
        </pc:spChg>
        <pc:cxnChg chg="del">
          <ac:chgData name="Kisliuk, Adrian (ext)" userId="6e619ce3-2643-4cdf-9a13-b4c269650021" providerId="ADAL" clId="{AFCEEFB0-37BC-48D4-B200-D3706B2CD7FE}" dt="2021-04-21T11:40:49.293" v="19067" actId="478"/>
          <ac:cxnSpMkLst>
            <pc:docMk/>
            <pc:sldMk cId="2414988994" sldId="908"/>
            <ac:cxnSpMk id="16" creationId="{EDDE9950-507A-4C9B-A861-1FBB55228128}"/>
          </ac:cxnSpMkLst>
        </pc:cxnChg>
        <pc:cxnChg chg="del">
          <ac:chgData name="Kisliuk, Adrian (ext)" userId="6e619ce3-2643-4cdf-9a13-b4c269650021" providerId="ADAL" clId="{AFCEEFB0-37BC-48D4-B200-D3706B2CD7FE}" dt="2021-04-21T11:40:49.293" v="19067" actId="478"/>
          <ac:cxnSpMkLst>
            <pc:docMk/>
            <pc:sldMk cId="2414988994" sldId="908"/>
            <ac:cxnSpMk id="17" creationId="{F2731BF3-A177-4B92-AD62-D269B34150D7}"/>
          </ac:cxnSpMkLst>
        </pc:cxnChg>
        <pc:cxnChg chg="del">
          <ac:chgData name="Kisliuk, Adrian (ext)" userId="6e619ce3-2643-4cdf-9a13-b4c269650021" providerId="ADAL" clId="{AFCEEFB0-37BC-48D4-B200-D3706B2CD7FE}" dt="2021-04-21T11:40:49.293" v="19067" actId="478"/>
          <ac:cxnSpMkLst>
            <pc:docMk/>
            <pc:sldMk cId="2414988994" sldId="908"/>
            <ac:cxnSpMk id="18" creationId="{61E9DA99-323D-41E2-8BEB-BA7A9A61B5F7}"/>
          </ac:cxnSpMkLst>
        </pc:cxnChg>
        <pc:cxnChg chg="add del mod">
          <ac:chgData name="Kisliuk, Adrian (ext)" userId="6e619ce3-2643-4cdf-9a13-b4c269650021" providerId="ADAL" clId="{AFCEEFB0-37BC-48D4-B200-D3706B2CD7FE}" dt="2021-04-21T11:40:51.519" v="19069"/>
          <ac:cxnSpMkLst>
            <pc:docMk/>
            <pc:sldMk cId="2414988994" sldId="908"/>
            <ac:cxnSpMk id="21" creationId="{F9925BC0-1321-488F-963D-E49B39649938}"/>
          </ac:cxnSpMkLst>
        </pc:cxnChg>
        <pc:cxnChg chg="add del mod">
          <ac:chgData name="Kisliuk, Adrian (ext)" userId="6e619ce3-2643-4cdf-9a13-b4c269650021" providerId="ADAL" clId="{AFCEEFB0-37BC-48D4-B200-D3706B2CD7FE}" dt="2021-04-21T11:40:51.519" v="19069"/>
          <ac:cxnSpMkLst>
            <pc:docMk/>
            <pc:sldMk cId="2414988994" sldId="908"/>
            <ac:cxnSpMk id="22" creationId="{44C65962-CF09-474D-A92D-D5AF19189586}"/>
          </ac:cxnSpMkLst>
        </pc:cxnChg>
        <pc:cxnChg chg="add del mod">
          <ac:chgData name="Kisliuk, Adrian (ext)" userId="6e619ce3-2643-4cdf-9a13-b4c269650021" providerId="ADAL" clId="{AFCEEFB0-37BC-48D4-B200-D3706B2CD7FE}" dt="2021-04-21T11:40:51.519" v="19069"/>
          <ac:cxnSpMkLst>
            <pc:docMk/>
            <pc:sldMk cId="2414988994" sldId="908"/>
            <ac:cxnSpMk id="24" creationId="{19B3FED9-D02A-4541-9FF7-ED2A0CD35991}"/>
          </ac:cxnSpMkLst>
        </pc:cxnChg>
        <pc:cxnChg chg="add mod">
          <ac:chgData name="Kisliuk, Adrian (ext)" userId="6e619ce3-2643-4cdf-9a13-b4c269650021" providerId="ADAL" clId="{AFCEEFB0-37BC-48D4-B200-D3706B2CD7FE}" dt="2021-04-21T11:40:57.985" v="19071"/>
          <ac:cxnSpMkLst>
            <pc:docMk/>
            <pc:sldMk cId="2414988994" sldId="908"/>
            <ac:cxnSpMk id="28" creationId="{2891752C-AD38-4FC1-A727-31950F9E12F1}"/>
          </ac:cxnSpMkLst>
        </pc:cxnChg>
        <pc:cxnChg chg="add mod">
          <ac:chgData name="Kisliuk, Adrian (ext)" userId="6e619ce3-2643-4cdf-9a13-b4c269650021" providerId="ADAL" clId="{AFCEEFB0-37BC-48D4-B200-D3706B2CD7FE}" dt="2021-04-21T11:40:57.985" v="19071"/>
          <ac:cxnSpMkLst>
            <pc:docMk/>
            <pc:sldMk cId="2414988994" sldId="908"/>
            <ac:cxnSpMk id="29" creationId="{2EFBF13D-52AD-45B6-999D-39B15B265B05}"/>
          </ac:cxnSpMkLst>
        </pc:cxnChg>
        <pc:cxnChg chg="add mod">
          <ac:chgData name="Kisliuk, Adrian (ext)" userId="6e619ce3-2643-4cdf-9a13-b4c269650021" providerId="ADAL" clId="{AFCEEFB0-37BC-48D4-B200-D3706B2CD7FE}" dt="2021-04-21T11:40:57.985" v="19071"/>
          <ac:cxnSpMkLst>
            <pc:docMk/>
            <pc:sldMk cId="2414988994" sldId="908"/>
            <ac:cxnSpMk id="31" creationId="{051A881D-353D-44EC-8908-23F94DA202F2}"/>
          </ac:cxnSpMkLst>
        </pc:cxnChg>
      </pc:sldChg>
      <pc:sldChg chg="new add del">
        <pc:chgData name="Kisliuk, Adrian (ext)" userId="6e619ce3-2643-4cdf-9a13-b4c269650021" providerId="ADAL" clId="{AFCEEFB0-37BC-48D4-B200-D3706B2CD7FE}" dt="2021-04-21T09:30:40.365" v="17380" actId="47"/>
        <pc:sldMkLst>
          <pc:docMk/>
          <pc:sldMk cId="1857682429" sldId="909"/>
        </pc:sldMkLst>
      </pc:sldChg>
      <pc:sldChg chg="add del">
        <pc:chgData name="Kisliuk, Adrian (ext)" userId="6e619ce3-2643-4cdf-9a13-b4c269650021" providerId="ADAL" clId="{AFCEEFB0-37BC-48D4-B200-D3706B2CD7FE}" dt="2021-04-21T10:22:14.083" v="18572" actId="47"/>
        <pc:sldMkLst>
          <pc:docMk/>
          <pc:sldMk cId="2626357500" sldId="909"/>
        </pc:sldMkLst>
      </pc:sldChg>
      <pc:sldChg chg="addSp delSp modSp add del mod delCm">
        <pc:chgData name="Kisliuk, Adrian (ext)" userId="6e619ce3-2643-4cdf-9a13-b4c269650021" providerId="ADAL" clId="{AFCEEFB0-37BC-48D4-B200-D3706B2CD7FE}" dt="2021-04-21T12:34:11.117" v="20469" actId="47"/>
        <pc:sldMkLst>
          <pc:docMk/>
          <pc:sldMk cId="2692411194" sldId="909"/>
        </pc:sldMkLst>
        <pc:spChg chg="del mod">
          <ac:chgData name="Kisliuk, Adrian (ext)" userId="6e619ce3-2643-4cdf-9a13-b4c269650021" providerId="ADAL" clId="{AFCEEFB0-37BC-48D4-B200-D3706B2CD7FE}" dt="2021-04-21T11:47:04.897" v="19109" actId="478"/>
          <ac:spMkLst>
            <pc:docMk/>
            <pc:sldMk cId="2692411194" sldId="909"/>
            <ac:spMk id="7" creationId="{916B3258-4715-4692-965A-254384EFEA6C}"/>
          </ac:spMkLst>
        </pc:spChg>
        <pc:spChg chg="add mod">
          <ac:chgData name="Kisliuk, Adrian (ext)" userId="6e619ce3-2643-4cdf-9a13-b4c269650021" providerId="ADAL" clId="{AFCEEFB0-37BC-48D4-B200-D3706B2CD7FE}" dt="2021-04-21T11:47:05.285" v="19110"/>
          <ac:spMkLst>
            <pc:docMk/>
            <pc:sldMk cId="2692411194" sldId="909"/>
            <ac:spMk id="15" creationId="{280801F4-0A5E-4D41-84C2-F6A2F593960A}"/>
          </ac:spMkLst>
        </pc:spChg>
      </pc:sldChg>
      <pc:sldChg chg="add del">
        <pc:chgData name="Kisliuk, Adrian (ext)" userId="6e619ce3-2643-4cdf-9a13-b4c269650021" providerId="ADAL" clId="{AFCEEFB0-37BC-48D4-B200-D3706B2CD7FE}" dt="2021-04-21T09:58:01.380" v="17708" actId="47"/>
        <pc:sldMkLst>
          <pc:docMk/>
          <pc:sldMk cId="4247179871" sldId="909"/>
        </pc:sldMkLst>
      </pc:sldChg>
      <pc:sldChg chg="addSp delSp modSp new del mod chgLayout">
        <pc:chgData name="Kisliuk, Adrian (ext)" userId="6e619ce3-2643-4cdf-9a13-b4c269650021" providerId="ADAL" clId="{AFCEEFB0-37BC-48D4-B200-D3706B2CD7FE}" dt="2021-04-28T08:53:49.453" v="26330" actId="47"/>
        <pc:sldMkLst>
          <pc:docMk/>
          <pc:sldMk cId="319833377" sldId="910"/>
        </pc:sldMkLst>
        <pc:spChg chg="add mod">
          <ac:chgData name="Kisliuk, Adrian (ext)" userId="6e619ce3-2643-4cdf-9a13-b4c269650021" providerId="ADAL" clId="{AFCEEFB0-37BC-48D4-B200-D3706B2CD7FE}" dt="2021-04-21T12:29:30.406" v="20413" actId="20577"/>
          <ac:spMkLst>
            <pc:docMk/>
            <pc:sldMk cId="319833377" sldId="910"/>
            <ac:spMk id="2" creationId="{CE074E61-6C9D-4DAC-A9F9-7AACF17511FB}"/>
          </ac:spMkLst>
        </pc:spChg>
        <pc:spChg chg="add del mod">
          <ac:chgData name="Kisliuk, Adrian (ext)" userId="6e619ce3-2643-4cdf-9a13-b4c269650021" providerId="ADAL" clId="{AFCEEFB0-37BC-48D4-B200-D3706B2CD7FE}" dt="2021-04-21T12:29:41.443" v="20416" actId="478"/>
          <ac:spMkLst>
            <pc:docMk/>
            <pc:sldMk cId="319833377" sldId="910"/>
            <ac:spMk id="3" creationId="{27D0B185-D5E1-411E-BE26-CF25D5F5F8F6}"/>
          </ac:spMkLst>
        </pc:spChg>
        <pc:graphicFrameChg chg="add del">
          <ac:chgData name="Kisliuk, Adrian (ext)" userId="6e619ce3-2643-4cdf-9a13-b4c269650021" providerId="ADAL" clId="{AFCEEFB0-37BC-48D4-B200-D3706B2CD7FE}" dt="2021-04-21T12:29:46.245" v="20418"/>
          <ac:graphicFrameMkLst>
            <pc:docMk/>
            <pc:sldMk cId="319833377" sldId="910"/>
            <ac:graphicFrameMk id="4" creationId="{DBDA5972-93D3-4831-AE6F-6633B2AF9898}"/>
          </ac:graphicFrameMkLst>
        </pc:graphicFrameChg>
        <pc:graphicFrameChg chg="add mod modGraphic">
          <ac:chgData name="Kisliuk, Adrian (ext)" userId="6e619ce3-2643-4cdf-9a13-b4c269650021" providerId="ADAL" clId="{AFCEEFB0-37BC-48D4-B200-D3706B2CD7FE}" dt="2021-04-28T08:53:39.884" v="26329"/>
          <ac:graphicFrameMkLst>
            <pc:docMk/>
            <pc:sldMk cId="319833377" sldId="910"/>
            <ac:graphicFrameMk id="5" creationId="{AB108E41-B307-42E8-9C17-686246A327B0}"/>
          </ac:graphicFrameMkLst>
        </pc:graphicFrameChg>
      </pc:sldChg>
      <pc:sldChg chg="addSp delSp modSp new mod delCm">
        <pc:chgData name="Kisliuk, Adrian (ext)" userId="6e619ce3-2643-4cdf-9a13-b4c269650021" providerId="ADAL" clId="{AFCEEFB0-37BC-48D4-B200-D3706B2CD7FE}" dt="2021-05-26T06:53:07.711" v="28443" actId="207"/>
        <pc:sldMkLst>
          <pc:docMk/>
          <pc:sldMk cId="576101963" sldId="911"/>
        </pc:sldMkLst>
        <pc:spChg chg="mod">
          <ac:chgData name="Kisliuk, Adrian (ext)" userId="6e619ce3-2643-4cdf-9a13-b4c269650021" providerId="ADAL" clId="{AFCEEFB0-37BC-48D4-B200-D3706B2CD7FE}" dt="2021-04-21T13:11:46.909" v="20914" actId="20577"/>
          <ac:spMkLst>
            <pc:docMk/>
            <pc:sldMk cId="576101963" sldId="911"/>
            <ac:spMk id="2" creationId="{A18219F5-BB0D-46FE-BAEC-0DADC7660E16}"/>
          </ac:spMkLst>
        </pc:spChg>
        <pc:spChg chg="del">
          <ac:chgData name="Kisliuk, Adrian (ext)" userId="6e619ce3-2643-4cdf-9a13-b4c269650021" providerId="ADAL" clId="{AFCEEFB0-37BC-48D4-B200-D3706B2CD7FE}" dt="2021-04-21T12:30:10.275" v="20423" actId="478"/>
          <ac:spMkLst>
            <pc:docMk/>
            <pc:sldMk cId="576101963" sldId="911"/>
            <ac:spMk id="3" creationId="{A512E196-5E50-483A-BB06-EE7F0436FE9D}"/>
          </ac:spMkLst>
        </pc:spChg>
        <pc:spChg chg="add mod">
          <ac:chgData name="Kisliuk, Adrian (ext)" userId="6e619ce3-2643-4cdf-9a13-b4c269650021" providerId="ADAL" clId="{AFCEEFB0-37BC-48D4-B200-D3706B2CD7FE}" dt="2021-04-21T12:41:47.002" v="20542" actId="20577"/>
          <ac:spMkLst>
            <pc:docMk/>
            <pc:sldMk cId="576101963" sldId="911"/>
            <ac:spMk id="4" creationId="{5C108BBB-99D3-4DE5-A8DF-196D0A5AA976}"/>
          </ac:spMkLst>
        </pc:spChg>
        <pc:spChg chg="add mod">
          <ac:chgData name="Kisliuk, Adrian (ext)" userId="6e619ce3-2643-4cdf-9a13-b4c269650021" providerId="ADAL" clId="{AFCEEFB0-37BC-48D4-B200-D3706B2CD7FE}" dt="2021-05-26T06:53:07.711" v="28443" actId="207"/>
          <ac:spMkLst>
            <pc:docMk/>
            <pc:sldMk cId="576101963" sldId="911"/>
            <ac:spMk id="5" creationId="{82212DE8-95B4-4736-AE75-45602350C0F7}"/>
          </ac:spMkLst>
        </pc:spChg>
        <pc:spChg chg="add mod">
          <ac:chgData name="Kisliuk, Adrian (ext)" userId="6e619ce3-2643-4cdf-9a13-b4c269650021" providerId="ADAL" clId="{AFCEEFB0-37BC-48D4-B200-D3706B2CD7FE}" dt="2021-05-26T06:53:07.711" v="28443" actId="207"/>
          <ac:spMkLst>
            <pc:docMk/>
            <pc:sldMk cId="576101963" sldId="911"/>
            <ac:spMk id="6" creationId="{5D6335EF-BAFD-48C0-84B1-9E9E5EA40B13}"/>
          </ac:spMkLst>
        </pc:spChg>
        <pc:spChg chg="add mod">
          <ac:chgData name="Kisliuk, Adrian (ext)" userId="6e619ce3-2643-4cdf-9a13-b4c269650021" providerId="ADAL" clId="{AFCEEFB0-37BC-48D4-B200-D3706B2CD7FE}" dt="2021-05-26T06:53:07.711" v="28443" actId="207"/>
          <ac:spMkLst>
            <pc:docMk/>
            <pc:sldMk cId="576101963" sldId="911"/>
            <ac:spMk id="7" creationId="{29B43071-4AA0-4F07-8226-AEFDCABAD86A}"/>
          </ac:spMkLst>
        </pc:spChg>
        <pc:spChg chg="add mod">
          <ac:chgData name="Kisliuk, Adrian (ext)" userId="6e619ce3-2643-4cdf-9a13-b4c269650021" providerId="ADAL" clId="{AFCEEFB0-37BC-48D4-B200-D3706B2CD7FE}" dt="2021-05-26T06:53:07.711" v="28443" actId="207"/>
          <ac:spMkLst>
            <pc:docMk/>
            <pc:sldMk cId="576101963" sldId="911"/>
            <ac:spMk id="10" creationId="{5230ECD1-B78C-4373-8734-38F7632BBFDE}"/>
          </ac:spMkLst>
        </pc:spChg>
        <pc:cxnChg chg="add mod">
          <ac:chgData name="Kisliuk, Adrian (ext)" userId="6e619ce3-2643-4cdf-9a13-b4c269650021" providerId="ADAL" clId="{AFCEEFB0-37BC-48D4-B200-D3706B2CD7FE}" dt="2021-04-22T06:23:31.305" v="22170" actId="692"/>
          <ac:cxnSpMkLst>
            <pc:docMk/>
            <pc:sldMk cId="576101963" sldId="911"/>
            <ac:cxnSpMk id="8" creationId="{34D38C95-5395-4879-A146-49C0978FD29E}"/>
          </ac:cxnSpMkLst>
        </pc:cxnChg>
        <pc:cxnChg chg="add mod">
          <ac:chgData name="Kisliuk, Adrian (ext)" userId="6e619ce3-2643-4cdf-9a13-b4c269650021" providerId="ADAL" clId="{AFCEEFB0-37BC-48D4-B200-D3706B2CD7FE}" dt="2021-04-22T06:23:31.305" v="22170" actId="692"/>
          <ac:cxnSpMkLst>
            <pc:docMk/>
            <pc:sldMk cId="576101963" sldId="911"/>
            <ac:cxnSpMk id="9" creationId="{DF49E708-33B5-4D58-AA85-A20FEE41782B}"/>
          </ac:cxnSpMkLst>
        </pc:cxnChg>
        <pc:cxnChg chg="add mod">
          <ac:chgData name="Kisliuk, Adrian (ext)" userId="6e619ce3-2643-4cdf-9a13-b4c269650021" providerId="ADAL" clId="{AFCEEFB0-37BC-48D4-B200-D3706B2CD7FE}" dt="2021-04-22T06:23:31.305" v="22170" actId="692"/>
          <ac:cxnSpMkLst>
            <pc:docMk/>
            <pc:sldMk cId="576101963" sldId="911"/>
            <ac:cxnSpMk id="11" creationId="{8DD4FAED-BE81-46B8-9002-C15B935421FE}"/>
          </ac:cxnSpMkLst>
        </pc:cxnChg>
      </pc:sldChg>
      <pc:sldChg chg="addSp delSp modSp new add del mod">
        <pc:chgData name="Kisliuk, Adrian (ext)" userId="6e619ce3-2643-4cdf-9a13-b4c269650021" providerId="ADAL" clId="{AFCEEFB0-37BC-48D4-B200-D3706B2CD7FE}" dt="2021-04-21T12:53:30.351" v="20717" actId="47"/>
        <pc:sldMkLst>
          <pc:docMk/>
          <pc:sldMk cId="258519267" sldId="912"/>
        </pc:sldMkLst>
        <pc:spChg chg="mod">
          <ac:chgData name="Kisliuk, Adrian (ext)" userId="6e619ce3-2643-4cdf-9a13-b4c269650021" providerId="ADAL" clId="{AFCEEFB0-37BC-48D4-B200-D3706B2CD7FE}" dt="2021-04-21T12:31:08.318" v="20439" actId="20577"/>
          <ac:spMkLst>
            <pc:docMk/>
            <pc:sldMk cId="258519267" sldId="912"/>
            <ac:spMk id="2" creationId="{69A07231-9C27-4042-A176-76F50926ECA4}"/>
          </ac:spMkLst>
        </pc:spChg>
        <pc:spChg chg="del">
          <ac:chgData name="Kisliuk, Adrian (ext)" userId="6e619ce3-2643-4cdf-9a13-b4c269650021" providerId="ADAL" clId="{AFCEEFB0-37BC-48D4-B200-D3706B2CD7FE}" dt="2021-04-21T12:31:17.586" v="20440" actId="478"/>
          <ac:spMkLst>
            <pc:docMk/>
            <pc:sldMk cId="258519267" sldId="912"/>
            <ac:spMk id="3" creationId="{0328D2C6-3D13-452A-9743-46C69E56CBEA}"/>
          </ac:spMkLst>
        </pc:spChg>
        <pc:spChg chg="add mod">
          <ac:chgData name="Kisliuk, Adrian (ext)" userId="6e619ce3-2643-4cdf-9a13-b4c269650021" providerId="ADAL" clId="{AFCEEFB0-37BC-48D4-B200-D3706B2CD7FE}" dt="2021-04-21T12:31:18.079" v="20441"/>
          <ac:spMkLst>
            <pc:docMk/>
            <pc:sldMk cId="258519267" sldId="912"/>
            <ac:spMk id="4" creationId="{6854494A-9B61-4119-832A-FD344B839FE8}"/>
          </ac:spMkLst>
        </pc:spChg>
        <pc:spChg chg="add mod">
          <ac:chgData name="Kisliuk, Adrian (ext)" userId="6e619ce3-2643-4cdf-9a13-b4c269650021" providerId="ADAL" clId="{AFCEEFB0-37BC-48D4-B200-D3706B2CD7FE}" dt="2021-04-21T12:31:18.079" v="20441"/>
          <ac:spMkLst>
            <pc:docMk/>
            <pc:sldMk cId="258519267" sldId="912"/>
            <ac:spMk id="5" creationId="{D5365CAD-8EA1-44E4-99C2-D4CDAF080CB2}"/>
          </ac:spMkLst>
        </pc:spChg>
        <pc:spChg chg="add mod">
          <ac:chgData name="Kisliuk, Adrian (ext)" userId="6e619ce3-2643-4cdf-9a13-b4c269650021" providerId="ADAL" clId="{AFCEEFB0-37BC-48D4-B200-D3706B2CD7FE}" dt="2021-04-21T12:31:18.079" v="20441"/>
          <ac:spMkLst>
            <pc:docMk/>
            <pc:sldMk cId="258519267" sldId="912"/>
            <ac:spMk id="6" creationId="{9C097A11-B5F1-4C73-A808-D496E64B9BBD}"/>
          </ac:spMkLst>
        </pc:spChg>
        <pc:spChg chg="add mod">
          <ac:chgData name="Kisliuk, Adrian (ext)" userId="6e619ce3-2643-4cdf-9a13-b4c269650021" providerId="ADAL" clId="{AFCEEFB0-37BC-48D4-B200-D3706B2CD7FE}" dt="2021-04-21T12:53:08.951" v="20697" actId="14100"/>
          <ac:spMkLst>
            <pc:docMk/>
            <pc:sldMk cId="258519267" sldId="912"/>
            <ac:spMk id="7" creationId="{AA14EC2D-9CFA-45CA-9145-80AC6670CFEB}"/>
          </ac:spMkLst>
        </pc:spChg>
        <pc:spChg chg="add mod">
          <ac:chgData name="Kisliuk, Adrian (ext)" userId="6e619ce3-2643-4cdf-9a13-b4c269650021" providerId="ADAL" clId="{AFCEEFB0-37BC-48D4-B200-D3706B2CD7FE}" dt="2021-04-21T12:50:27.295" v="20642" actId="14100"/>
          <ac:spMkLst>
            <pc:docMk/>
            <pc:sldMk cId="258519267" sldId="912"/>
            <ac:spMk id="8" creationId="{31775514-DCD1-49DB-AE3D-22396854241C}"/>
          </ac:spMkLst>
        </pc:spChg>
        <pc:spChg chg="add mod">
          <ac:chgData name="Kisliuk, Adrian (ext)" userId="6e619ce3-2643-4cdf-9a13-b4c269650021" providerId="ADAL" clId="{AFCEEFB0-37BC-48D4-B200-D3706B2CD7FE}" dt="2021-04-21T12:50:27.295" v="20642" actId="14100"/>
          <ac:spMkLst>
            <pc:docMk/>
            <pc:sldMk cId="258519267" sldId="912"/>
            <ac:spMk id="9" creationId="{176F6CEE-79CB-4943-B4E8-E670DB6B9AA8}"/>
          </ac:spMkLst>
        </pc:spChg>
        <pc:spChg chg="add mod">
          <ac:chgData name="Kisliuk, Adrian (ext)" userId="6e619ce3-2643-4cdf-9a13-b4c269650021" providerId="ADAL" clId="{AFCEEFB0-37BC-48D4-B200-D3706B2CD7FE}" dt="2021-04-21T12:50:27.295" v="20642" actId="14100"/>
          <ac:spMkLst>
            <pc:docMk/>
            <pc:sldMk cId="258519267" sldId="912"/>
            <ac:spMk id="10" creationId="{45120841-0765-48A3-A796-07DC304220A8}"/>
          </ac:spMkLst>
        </pc:spChg>
        <pc:spChg chg="add mod">
          <ac:chgData name="Kisliuk, Adrian (ext)" userId="6e619ce3-2643-4cdf-9a13-b4c269650021" providerId="ADAL" clId="{AFCEEFB0-37BC-48D4-B200-D3706B2CD7FE}" dt="2021-04-21T12:50:27.295" v="20642" actId="14100"/>
          <ac:spMkLst>
            <pc:docMk/>
            <pc:sldMk cId="258519267" sldId="912"/>
            <ac:spMk id="11" creationId="{138EAB97-45FB-47DA-8D3C-FD7D85AB933E}"/>
          </ac:spMkLst>
        </pc:spChg>
        <pc:spChg chg="add mod">
          <ac:chgData name="Kisliuk, Adrian (ext)" userId="6e619ce3-2643-4cdf-9a13-b4c269650021" providerId="ADAL" clId="{AFCEEFB0-37BC-48D4-B200-D3706B2CD7FE}" dt="2021-04-21T12:48:33.893" v="20561" actId="2711"/>
          <ac:spMkLst>
            <pc:docMk/>
            <pc:sldMk cId="258519267" sldId="912"/>
            <ac:spMk id="14" creationId="{31DD9616-91F2-4E06-9F8E-4CE455111413}"/>
          </ac:spMkLst>
        </pc:spChg>
        <pc:spChg chg="add mod">
          <ac:chgData name="Kisliuk, Adrian (ext)" userId="6e619ce3-2643-4cdf-9a13-b4c269650021" providerId="ADAL" clId="{AFCEEFB0-37BC-48D4-B200-D3706B2CD7FE}" dt="2021-04-21T12:48:33.893" v="20561" actId="2711"/>
          <ac:spMkLst>
            <pc:docMk/>
            <pc:sldMk cId="258519267" sldId="912"/>
            <ac:spMk id="15" creationId="{5777F9A0-14B5-43A1-BCF0-286E0EB0FA21}"/>
          </ac:spMkLst>
        </pc:spChg>
        <pc:spChg chg="add mod">
          <ac:chgData name="Kisliuk, Adrian (ext)" userId="6e619ce3-2643-4cdf-9a13-b4c269650021" providerId="ADAL" clId="{AFCEEFB0-37BC-48D4-B200-D3706B2CD7FE}" dt="2021-04-21T12:48:33.893" v="20561" actId="2711"/>
          <ac:spMkLst>
            <pc:docMk/>
            <pc:sldMk cId="258519267" sldId="912"/>
            <ac:spMk id="16" creationId="{AA8F3460-39C7-4224-92F7-47ED1C2F32EA}"/>
          </ac:spMkLst>
        </pc:spChg>
        <pc:spChg chg="add mod">
          <ac:chgData name="Kisliuk, Adrian (ext)" userId="6e619ce3-2643-4cdf-9a13-b4c269650021" providerId="ADAL" clId="{AFCEEFB0-37BC-48D4-B200-D3706B2CD7FE}" dt="2021-04-21T12:48:33.893" v="20561" actId="2711"/>
          <ac:spMkLst>
            <pc:docMk/>
            <pc:sldMk cId="258519267" sldId="912"/>
            <ac:spMk id="17" creationId="{AB984E7F-0EAB-41CE-AE01-A6F6F7BA65D5}"/>
          </ac:spMkLst>
        </pc:spChg>
        <pc:spChg chg="add mod">
          <ac:chgData name="Kisliuk, Adrian (ext)" userId="6e619ce3-2643-4cdf-9a13-b4c269650021" providerId="ADAL" clId="{AFCEEFB0-37BC-48D4-B200-D3706B2CD7FE}" dt="2021-04-21T12:51:26.201" v="20665" actId="12789"/>
          <ac:spMkLst>
            <pc:docMk/>
            <pc:sldMk cId="258519267" sldId="912"/>
            <ac:spMk id="18" creationId="{04BFCC48-F6EA-4602-9771-F09CF341109D}"/>
          </ac:spMkLst>
        </pc:spChg>
        <pc:spChg chg="add mod">
          <ac:chgData name="Kisliuk, Adrian (ext)" userId="6e619ce3-2643-4cdf-9a13-b4c269650021" providerId="ADAL" clId="{AFCEEFB0-37BC-48D4-B200-D3706B2CD7FE}" dt="2021-04-21T12:49:06.694" v="20564" actId="14100"/>
          <ac:spMkLst>
            <pc:docMk/>
            <pc:sldMk cId="258519267" sldId="912"/>
            <ac:spMk id="19" creationId="{D5080E73-58BA-45F3-A133-666EE5C15A75}"/>
          </ac:spMkLst>
        </pc:spChg>
        <pc:spChg chg="add mod">
          <ac:chgData name="Kisliuk, Adrian (ext)" userId="6e619ce3-2643-4cdf-9a13-b4c269650021" providerId="ADAL" clId="{AFCEEFB0-37BC-48D4-B200-D3706B2CD7FE}" dt="2021-04-21T12:53:14.018" v="20714" actId="1036"/>
          <ac:spMkLst>
            <pc:docMk/>
            <pc:sldMk cId="258519267" sldId="912"/>
            <ac:spMk id="20" creationId="{2385981D-2464-4BAE-B08F-0BFC8DE6EF44}"/>
          </ac:spMkLst>
        </pc:spChg>
        <pc:spChg chg="add mod">
          <ac:chgData name="Kisliuk, Adrian (ext)" userId="6e619ce3-2643-4cdf-9a13-b4c269650021" providerId="ADAL" clId="{AFCEEFB0-37BC-48D4-B200-D3706B2CD7FE}" dt="2021-04-21T12:53:09.902" v="20699" actId="1036"/>
          <ac:spMkLst>
            <pc:docMk/>
            <pc:sldMk cId="258519267" sldId="912"/>
            <ac:spMk id="25" creationId="{87B717A7-992E-47F4-8674-D386EB504022}"/>
          </ac:spMkLst>
        </pc:spChg>
        <pc:spChg chg="add mod">
          <ac:chgData name="Kisliuk, Adrian (ext)" userId="6e619ce3-2643-4cdf-9a13-b4c269650021" providerId="ADAL" clId="{AFCEEFB0-37BC-48D4-B200-D3706B2CD7FE}" dt="2021-04-21T12:53:10.400" v="20700" actId="1036"/>
          <ac:spMkLst>
            <pc:docMk/>
            <pc:sldMk cId="258519267" sldId="912"/>
            <ac:spMk id="26" creationId="{A1088F2E-CA7A-4ABC-9B9A-F4AA4CA872BE}"/>
          </ac:spMkLst>
        </pc:spChg>
        <pc:spChg chg="add mod">
          <ac:chgData name="Kisliuk, Adrian (ext)" userId="6e619ce3-2643-4cdf-9a13-b4c269650021" providerId="ADAL" clId="{AFCEEFB0-37BC-48D4-B200-D3706B2CD7FE}" dt="2021-04-21T12:53:10.838" v="20701" actId="1036"/>
          <ac:spMkLst>
            <pc:docMk/>
            <pc:sldMk cId="258519267" sldId="912"/>
            <ac:spMk id="27" creationId="{74A92D2C-51A3-4E39-AE8D-322C85734819}"/>
          </ac:spMkLst>
        </pc:spChg>
        <pc:spChg chg="add mod">
          <ac:chgData name="Kisliuk, Adrian (ext)" userId="6e619ce3-2643-4cdf-9a13-b4c269650021" providerId="ADAL" clId="{AFCEEFB0-37BC-48D4-B200-D3706B2CD7FE}" dt="2021-04-21T12:31:18.079" v="20441"/>
          <ac:spMkLst>
            <pc:docMk/>
            <pc:sldMk cId="258519267" sldId="912"/>
            <ac:spMk id="28" creationId="{37C3BFFE-FDCC-465D-A725-F4A8EBD7CB42}"/>
          </ac:spMkLst>
        </pc:spChg>
        <pc:spChg chg="add mod">
          <ac:chgData name="Kisliuk, Adrian (ext)" userId="6e619ce3-2643-4cdf-9a13-b4c269650021" providerId="ADAL" clId="{AFCEEFB0-37BC-48D4-B200-D3706B2CD7FE}" dt="2021-04-21T12:31:18.079" v="20441"/>
          <ac:spMkLst>
            <pc:docMk/>
            <pc:sldMk cId="258519267" sldId="912"/>
            <ac:spMk id="29" creationId="{470BC2C3-779B-455E-AACA-A55065566610}"/>
          </ac:spMkLst>
        </pc:spChg>
        <pc:spChg chg="add mod">
          <ac:chgData name="Kisliuk, Adrian (ext)" userId="6e619ce3-2643-4cdf-9a13-b4c269650021" providerId="ADAL" clId="{AFCEEFB0-37BC-48D4-B200-D3706B2CD7FE}" dt="2021-04-21T12:31:18.079" v="20441"/>
          <ac:spMkLst>
            <pc:docMk/>
            <pc:sldMk cId="258519267" sldId="912"/>
            <ac:spMk id="30" creationId="{F68A0F33-B4D2-499D-B9E3-DCF89E449C74}"/>
          </ac:spMkLst>
        </pc:spChg>
        <pc:spChg chg="add mod">
          <ac:chgData name="Kisliuk, Adrian (ext)" userId="6e619ce3-2643-4cdf-9a13-b4c269650021" providerId="ADAL" clId="{AFCEEFB0-37BC-48D4-B200-D3706B2CD7FE}" dt="2021-04-21T12:53:13.273" v="20710" actId="1036"/>
          <ac:spMkLst>
            <pc:docMk/>
            <pc:sldMk cId="258519267" sldId="912"/>
            <ac:spMk id="32" creationId="{11EC086C-B9D5-4EEE-AAA4-0E59EAEE7B6C}"/>
          </ac:spMkLst>
        </pc:spChg>
        <pc:spChg chg="add mod">
          <ac:chgData name="Kisliuk, Adrian (ext)" userId="6e619ce3-2643-4cdf-9a13-b4c269650021" providerId="ADAL" clId="{AFCEEFB0-37BC-48D4-B200-D3706B2CD7FE}" dt="2021-04-21T12:48:33.893" v="20561" actId="2711"/>
          <ac:spMkLst>
            <pc:docMk/>
            <pc:sldMk cId="258519267" sldId="912"/>
            <ac:spMk id="33" creationId="{4A72ACD7-26F5-413E-B4F5-9A3C0091E1F0}"/>
          </ac:spMkLst>
        </pc:spChg>
        <pc:spChg chg="add mod">
          <ac:chgData name="Kisliuk, Adrian (ext)" userId="6e619ce3-2643-4cdf-9a13-b4c269650021" providerId="ADAL" clId="{AFCEEFB0-37BC-48D4-B200-D3706B2CD7FE}" dt="2021-04-21T12:31:18.079" v="20441"/>
          <ac:spMkLst>
            <pc:docMk/>
            <pc:sldMk cId="258519267" sldId="912"/>
            <ac:spMk id="34" creationId="{E8F1B9E9-4571-4AF7-BFE7-7AACECE242C5}"/>
          </ac:spMkLst>
        </pc:spChg>
        <pc:spChg chg="add mod">
          <ac:chgData name="Kisliuk, Adrian (ext)" userId="6e619ce3-2643-4cdf-9a13-b4c269650021" providerId="ADAL" clId="{AFCEEFB0-37BC-48D4-B200-D3706B2CD7FE}" dt="2021-04-21T12:48:33.893" v="20561" actId="2711"/>
          <ac:spMkLst>
            <pc:docMk/>
            <pc:sldMk cId="258519267" sldId="912"/>
            <ac:spMk id="35" creationId="{19586ECC-FE38-4284-BB8C-D29E0C8980C9}"/>
          </ac:spMkLst>
        </pc:spChg>
        <pc:spChg chg="add mod">
          <ac:chgData name="Kisliuk, Adrian (ext)" userId="6e619ce3-2643-4cdf-9a13-b4c269650021" providerId="ADAL" clId="{AFCEEFB0-37BC-48D4-B200-D3706B2CD7FE}" dt="2021-04-21T12:50:27.295" v="20642" actId="14100"/>
          <ac:spMkLst>
            <pc:docMk/>
            <pc:sldMk cId="258519267" sldId="912"/>
            <ac:spMk id="36" creationId="{A588D323-616A-4ECE-A56D-406C0C223B04}"/>
          </ac:spMkLst>
        </pc:spChg>
        <pc:spChg chg="add mod">
          <ac:chgData name="Kisliuk, Adrian (ext)" userId="6e619ce3-2643-4cdf-9a13-b4c269650021" providerId="ADAL" clId="{AFCEEFB0-37BC-48D4-B200-D3706B2CD7FE}" dt="2021-04-21T12:50:27.295" v="20642" actId="14100"/>
          <ac:spMkLst>
            <pc:docMk/>
            <pc:sldMk cId="258519267" sldId="912"/>
            <ac:spMk id="37" creationId="{C94B0839-56DF-4E84-B51F-DC687495CB9B}"/>
          </ac:spMkLst>
        </pc:spChg>
        <pc:spChg chg="add mod">
          <ac:chgData name="Kisliuk, Adrian (ext)" userId="6e619ce3-2643-4cdf-9a13-b4c269650021" providerId="ADAL" clId="{AFCEEFB0-37BC-48D4-B200-D3706B2CD7FE}" dt="2021-04-21T12:50:27.295" v="20642" actId="14100"/>
          <ac:spMkLst>
            <pc:docMk/>
            <pc:sldMk cId="258519267" sldId="912"/>
            <ac:spMk id="38" creationId="{EA594352-32AB-406E-A3E1-2458781D4DD5}"/>
          </ac:spMkLst>
        </pc:spChg>
        <pc:spChg chg="add mod">
          <ac:chgData name="Kisliuk, Adrian (ext)" userId="6e619ce3-2643-4cdf-9a13-b4c269650021" providerId="ADAL" clId="{AFCEEFB0-37BC-48D4-B200-D3706B2CD7FE}" dt="2021-04-21T12:50:27.295" v="20642" actId="14100"/>
          <ac:spMkLst>
            <pc:docMk/>
            <pc:sldMk cId="258519267" sldId="912"/>
            <ac:spMk id="39" creationId="{482CD05A-0D6A-428D-8116-01F2C776EC4E}"/>
          </ac:spMkLst>
        </pc:spChg>
        <pc:spChg chg="add mod">
          <ac:chgData name="Kisliuk, Adrian (ext)" userId="6e619ce3-2643-4cdf-9a13-b4c269650021" providerId="ADAL" clId="{AFCEEFB0-37BC-48D4-B200-D3706B2CD7FE}" dt="2021-04-21T12:48:33.893" v="20561" actId="2711"/>
          <ac:spMkLst>
            <pc:docMk/>
            <pc:sldMk cId="258519267" sldId="912"/>
            <ac:spMk id="42" creationId="{BE6558E5-A057-44E4-922D-0223EE1F71A6}"/>
          </ac:spMkLst>
        </pc:spChg>
        <pc:spChg chg="add mod">
          <ac:chgData name="Kisliuk, Adrian (ext)" userId="6e619ce3-2643-4cdf-9a13-b4c269650021" providerId="ADAL" clId="{AFCEEFB0-37BC-48D4-B200-D3706B2CD7FE}" dt="2021-04-21T12:48:33.893" v="20561" actId="2711"/>
          <ac:spMkLst>
            <pc:docMk/>
            <pc:sldMk cId="258519267" sldId="912"/>
            <ac:spMk id="43" creationId="{493DE65C-1633-4E87-8910-1F2F3B7FC7D6}"/>
          </ac:spMkLst>
        </pc:spChg>
        <pc:spChg chg="add mod">
          <ac:chgData name="Kisliuk, Adrian (ext)" userId="6e619ce3-2643-4cdf-9a13-b4c269650021" providerId="ADAL" clId="{AFCEEFB0-37BC-48D4-B200-D3706B2CD7FE}" dt="2021-04-21T12:48:33.893" v="20561" actId="2711"/>
          <ac:spMkLst>
            <pc:docMk/>
            <pc:sldMk cId="258519267" sldId="912"/>
            <ac:spMk id="44" creationId="{960FFFBE-69FC-4C6E-B176-DDF63738DA62}"/>
          </ac:spMkLst>
        </pc:spChg>
        <pc:spChg chg="add mod">
          <ac:chgData name="Kisliuk, Adrian (ext)" userId="6e619ce3-2643-4cdf-9a13-b4c269650021" providerId="ADAL" clId="{AFCEEFB0-37BC-48D4-B200-D3706B2CD7FE}" dt="2021-04-21T12:48:33.893" v="20561" actId="2711"/>
          <ac:spMkLst>
            <pc:docMk/>
            <pc:sldMk cId="258519267" sldId="912"/>
            <ac:spMk id="45" creationId="{710D111A-9120-4F8C-81FD-1EFE75312E5F}"/>
          </ac:spMkLst>
        </pc:spChg>
        <pc:spChg chg="add mod">
          <ac:chgData name="Kisliuk, Adrian (ext)" userId="6e619ce3-2643-4cdf-9a13-b4c269650021" providerId="ADAL" clId="{AFCEEFB0-37BC-48D4-B200-D3706B2CD7FE}" dt="2021-04-21T12:50:49.626" v="20649" actId="1036"/>
          <ac:spMkLst>
            <pc:docMk/>
            <pc:sldMk cId="258519267" sldId="912"/>
            <ac:spMk id="46" creationId="{4A0E1D43-F9F4-4D15-8EBF-5B452606E71C}"/>
          </ac:spMkLst>
        </pc:spChg>
        <pc:spChg chg="add mod">
          <ac:chgData name="Kisliuk, Adrian (ext)" userId="6e619ce3-2643-4cdf-9a13-b4c269650021" providerId="ADAL" clId="{AFCEEFB0-37BC-48D4-B200-D3706B2CD7FE}" dt="2021-04-21T12:49:06.694" v="20564" actId="14100"/>
          <ac:spMkLst>
            <pc:docMk/>
            <pc:sldMk cId="258519267" sldId="912"/>
            <ac:spMk id="47" creationId="{58F696FB-73FE-46CE-BBC0-861BF97721B2}"/>
          </ac:spMkLst>
        </pc:spChg>
        <pc:spChg chg="add mod">
          <ac:chgData name="Kisliuk, Adrian (ext)" userId="6e619ce3-2643-4cdf-9a13-b4c269650021" providerId="ADAL" clId="{AFCEEFB0-37BC-48D4-B200-D3706B2CD7FE}" dt="2021-04-21T12:50:52.374" v="20653" actId="1036"/>
          <ac:spMkLst>
            <pc:docMk/>
            <pc:sldMk cId="258519267" sldId="912"/>
            <ac:spMk id="48" creationId="{95A4877B-2B04-4A34-AB74-DCCADFB9C701}"/>
          </ac:spMkLst>
        </pc:spChg>
        <pc:spChg chg="add mod">
          <ac:chgData name="Kisliuk, Adrian (ext)" userId="6e619ce3-2643-4cdf-9a13-b4c269650021" providerId="ADAL" clId="{AFCEEFB0-37BC-48D4-B200-D3706B2CD7FE}" dt="2021-04-21T12:48:33.893" v="20561" actId="2711"/>
          <ac:spMkLst>
            <pc:docMk/>
            <pc:sldMk cId="258519267" sldId="912"/>
            <ac:spMk id="53" creationId="{0BC0E3F9-C611-4756-8F53-33B375C17F06}"/>
          </ac:spMkLst>
        </pc:spChg>
        <pc:spChg chg="add mod">
          <ac:chgData name="Kisliuk, Adrian (ext)" userId="6e619ce3-2643-4cdf-9a13-b4c269650021" providerId="ADAL" clId="{AFCEEFB0-37BC-48D4-B200-D3706B2CD7FE}" dt="2021-04-21T12:48:33.893" v="20561" actId="2711"/>
          <ac:spMkLst>
            <pc:docMk/>
            <pc:sldMk cId="258519267" sldId="912"/>
            <ac:spMk id="54" creationId="{405CA7B9-00E2-4E53-B8B2-9A8AA95ED48C}"/>
          </ac:spMkLst>
        </pc:spChg>
        <pc:spChg chg="add mod">
          <ac:chgData name="Kisliuk, Adrian (ext)" userId="6e619ce3-2643-4cdf-9a13-b4c269650021" providerId="ADAL" clId="{AFCEEFB0-37BC-48D4-B200-D3706B2CD7FE}" dt="2021-04-21T12:48:33.893" v="20561" actId="2711"/>
          <ac:spMkLst>
            <pc:docMk/>
            <pc:sldMk cId="258519267" sldId="912"/>
            <ac:spMk id="55" creationId="{F0C26FA0-757D-48B3-922E-6BEB8F09ED95}"/>
          </ac:spMkLst>
        </pc:spChg>
        <pc:spChg chg="add mod">
          <ac:chgData name="Kisliuk, Adrian (ext)" userId="6e619ce3-2643-4cdf-9a13-b4c269650021" providerId="ADAL" clId="{AFCEEFB0-37BC-48D4-B200-D3706B2CD7FE}" dt="2021-04-21T12:50:27.295" v="20642" actId="14100"/>
          <ac:spMkLst>
            <pc:docMk/>
            <pc:sldMk cId="258519267" sldId="912"/>
            <ac:spMk id="56" creationId="{75C13DF5-3E5B-4C23-8A09-30E3A3667442}"/>
          </ac:spMkLst>
        </pc:spChg>
        <pc:spChg chg="add mod">
          <ac:chgData name="Kisliuk, Adrian (ext)" userId="6e619ce3-2643-4cdf-9a13-b4c269650021" providerId="ADAL" clId="{AFCEEFB0-37BC-48D4-B200-D3706B2CD7FE}" dt="2021-04-21T12:48:33.893" v="20561" actId="2711"/>
          <ac:spMkLst>
            <pc:docMk/>
            <pc:sldMk cId="258519267" sldId="912"/>
            <ac:spMk id="57" creationId="{87679BC9-3FD6-469B-9247-77714755514B}"/>
          </ac:spMkLst>
        </pc:spChg>
        <pc:spChg chg="add mod">
          <ac:chgData name="Kisliuk, Adrian (ext)" userId="6e619ce3-2643-4cdf-9a13-b4c269650021" providerId="ADAL" clId="{AFCEEFB0-37BC-48D4-B200-D3706B2CD7FE}" dt="2021-04-21T12:48:33.893" v="20561" actId="2711"/>
          <ac:spMkLst>
            <pc:docMk/>
            <pc:sldMk cId="258519267" sldId="912"/>
            <ac:spMk id="60" creationId="{886B4BE0-6EF6-4B5D-ADA6-D7734D0910F8}"/>
          </ac:spMkLst>
        </pc:spChg>
        <pc:spChg chg="add mod">
          <ac:chgData name="Kisliuk, Adrian (ext)" userId="6e619ce3-2643-4cdf-9a13-b4c269650021" providerId="ADAL" clId="{AFCEEFB0-37BC-48D4-B200-D3706B2CD7FE}" dt="2021-04-21T12:48:33.893" v="20561" actId="2711"/>
          <ac:spMkLst>
            <pc:docMk/>
            <pc:sldMk cId="258519267" sldId="912"/>
            <ac:spMk id="61" creationId="{167097EA-05CC-4C0D-A091-9E4D9D02DAF3}"/>
          </ac:spMkLst>
        </pc:spChg>
        <pc:spChg chg="add mod">
          <ac:chgData name="Kisliuk, Adrian (ext)" userId="6e619ce3-2643-4cdf-9a13-b4c269650021" providerId="ADAL" clId="{AFCEEFB0-37BC-48D4-B200-D3706B2CD7FE}" dt="2021-04-21T12:31:18.079" v="20441"/>
          <ac:spMkLst>
            <pc:docMk/>
            <pc:sldMk cId="258519267" sldId="912"/>
            <ac:spMk id="63" creationId="{6E83B5FE-7B78-4A5E-9B14-C74D15A4B7AC}"/>
          </ac:spMkLst>
        </pc:spChg>
        <pc:spChg chg="add mod">
          <ac:chgData name="Kisliuk, Adrian (ext)" userId="6e619ce3-2643-4cdf-9a13-b4c269650021" providerId="ADAL" clId="{AFCEEFB0-37BC-48D4-B200-D3706B2CD7FE}" dt="2021-04-21T12:48:33.893" v="20561" actId="2711"/>
          <ac:spMkLst>
            <pc:docMk/>
            <pc:sldMk cId="258519267" sldId="912"/>
            <ac:spMk id="64" creationId="{9F5D403C-0C45-4DE0-B66C-83A6FE460AB2}"/>
          </ac:spMkLst>
        </pc:spChg>
        <pc:spChg chg="add mod">
          <ac:chgData name="Kisliuk, Adrian (ext)" userId="6e619ce3-2643-4cdf-9a13-b4c269650021" providerId="ADAL" clId="{AFCEEFB0-37BC-48D4-B200-D3706B2CD7FE}" dt="2021-04-21T12:48:33.893" v="20561" actId="2711"/>
          <ac:spMkLst>
            <pc:docMk/>
            <pc:sldMk cId="258519267" sldId="912"/>
            <ac:spMk id="65" creationId="{05567C78-2019-45C7-9A1E-01609CAFEAD8}"/>
          </ac:spMkLst>
        </pc:spChg>
        <pc:spChg chg="add mod">
          <ac:chgData name="Kisliuk, Adrian (ext)" userId="6e619ce3-2643-4cdf-9a13-b4c269650021" providerId="ADAL" clId="{AFCEEFB0-37BC-48D4-B200-D3706B2CD7FE}" dt="2021-04-21T12:48:33.893" v="20561" actId="2711"/>
          <ac:spMkLst>
            <pc:docMk/>
            <pc:sldMk cId="258519267" sldId="912"/>
            <ac:spMk id="66" creationId="{CFCCE3A8-C5B0-45A7-959C-222546A90D63}"/>
          </ac:spMkLst>
        </pc:spChg>
        <pc:spChg chg="add mod">
          <ac:chgData name="Kisliuk, Adrian (ext)" userId="6e619ce3-2643-4cdf-9a13-b4c269650021" providerId="ADAL" clId="{AFCEEFB0-37BC-48D4-B200-D3706B2CD7FE}" dt="2021-04-21T12:31:18.079" v="20441"/>
          <ac:spMkLst>
            <pc:docMk/>
            <pc:sldMk cId="258519267" sldId="912"/>
            <ac:spMk id="67" creationId="{E46452FB-F9E1-4A7B-A02A-073330589355}"/>
          </ac:spMkLst>
        </pc:spChg>
        <pc:spChg chg="add mod">
          <ac:chgData name="Kisliuk, Adrian (ext)" userId="6e619ce3-2643-4cdf-9a13-b4c269650021" providerId="ADAL" clId="{AFCEEFB0-37BC-48D4-B200-D3706B2CD7FE}" dt="2021-04-21T12:48:33.893" v="20561" actId="2711"/>
          <ac:spMkLst>
            <pc:docMk/>
            <pc:sldMk cId="258519267" sldId="912"/>
            <ac:spMk id="68" creationId="{A8007179-9EE4-4353-B6A6-B9F66E9E7FD7}"/>
          </ac:spMkLst>
        </pc:spChg>
        <pc:grpChg chg="add mod">
          <ac:chgData name="Kisliuk, Adrian (ext)" userId="6e619ce3-2643-4cdf-9a13-b4c269650021" providerId="ADAL" clId="{AFCEEFB0-37BC-48D4-B200-D3706B2CD7FE}" dt="2021-04-21T12:31:18.079" v="20441"/>
          <ac:grpSpMkLst>
            <pc:docMk/>
            <pc:sldMk cId="258519267" sldId="912"/>
            <ac:grpSpMk id="21" creationId="{E79DD6BF-1999-4691-B943-D0436BA38C4D}"/>
          </ac:grpSpMkLst>
        </pc:grpChg>
        <pc:grpChg chg="add mod">
          <ac:chgData name="Kisliuk, Adrian (ext)" userId="6e619ce3-2643-4cdf-9a13-b4c269650021" providerId="ADAL" clId="{AFCEEFB0-37BC-48D4-B200-D3706B2CD7FE}" dt="2021-04-21T12:31:18.079" v="20441"/>
          <ac:grpSpMkLst>
            <pc:docMk/>
            <pc:sldMk cId="258519267" sldId="912"/>
            <ac:grpSpMk id="49" creationId="{95B3AB2C-2FD8-42A4-A342-B4A032CA294C}"/>
          </ac:grpSpMkLst>
        </pc:grpChg>
        <pc:cxnChg chg="add mod">
          <ac:chgData name="Kisliuk, Adrian (ext)" userId="6e619ce3-2643-4cdf-9a13-b4c269650021" providerId="ADAL" clId="{AFCEEFB0-37BC-48D4-B200-D3706B2CD7FE}" dt="2021-04-21T12:31:18.079" v="20441"/>
          <ac:cxnSpMkLst>
            <pc:docMk/>
            <pc:sldMk cId="258519267" sldId="912"/>
            <ac:cxnSpMk id="12" creationId="{5EDD69B0-B1E6-4BA8-B1BF-DCE1A876C86F}"/>
          </ac:cxnSpMkLst>
        </pc:cxnChg>
        <pc:cxnChg chg="add mod">
          <ac:chgData name="Kisliuk, Adrian (ext)" userId="6e619ce3-2643-4cdf-9a13-b4c269650021" providerId="ADAL" clId="{AFCEEFB0-37BC-48D4-B200-D3706B2CD7FE}" dt="2021-04-21T12:31:18.079" v="20441"/>
          <ac:cxnSpMkLst>
            <pc:docMk/>
            <pc:sldMk cId="258519267" sldId="912"/>
            <ac:cxnSpMk id="13" creationId="{36F12CD6-4A80-45D4-992B-2BFF95F593D6}"/>
          </ac:cxnSpMkLst>
        </pc:cxnChg>
        <pc:cxnChg chg="mod">
          <ac:chgData name="Kisliuk, Adrian (ext)" userId="6e619ce3-2643-4cdf-9a13-b4c269650021" providerId="ADAL" clId="{AFCEEFB0-37BC-48D4-B200-D3706B2CD7FE}" dt="2021-04-21T12:53:13.474" v="20711" actId="14100"/>
          <ac:cxnSpMkLst>
            <pc:docMk/>
            <pc:sldMk cId="258519267" sldId="912"/>
            <ac:cxnSpMk id="22" creationId="{274EACB2-56DA-4431-BF20-1C6001FB9EDD}"/>
          </ac:cxnSpMkLst>
        </pc:cxnChg>
        <pc:cxnChg chg="mod">
          <ac:chgData name="Kisliuk, Adrian (ext)" userId="6e619ce3-2643-4cdf-9a13-b4c269650021" providerId="ADAL" clId="{AFCEEFB0-37BC-48D4-B200-D3706B2CD7FE}" dt="2021-04-21T12:53:13.643" v="20712" actId="14100"/>
          <ac:cxnSpMkLst>
            <pc:docMk/>
            <pc:sldMk cId="258519267" sldId="912"/>
            <ac:cxnSpMk id="23" creationId="{202A22CC-50FD-44C9-AD7D-F0314C81ED33}"/>
          </ac:cxnSpMkLst>
        </pc:cxnChg>
        <pc:cxnChg chg="mod">
          <ac:chgData name="Kisliuk, Adrian (ext)" userId="6e619ce3-2643-4cdf-9a13-b4c269650021" providerId="ADAL" clId="{AFCEEFB0-37BC-48D4-B200-D3706B2CD7FE}" dt="2021-04-21T12:53:13.836" v="20713" actId="14100"/>
          <ac:cxnSpMkLst>
            <pc:docMk/>
            <pc:sldMk cId="258519267" sldId="912"/>
            <ac:cxnSpMk id="24" creationId="{51D043BF-B97A-49CF-AA03-2D371244463F}"/>
          </ac:cxnSpMkLst>
        </pc:cxnChg>
        <pc:cxnChg chg="add mod">
          <ac:chgData name="Kisliuk, Adrian (ext)" userId="6e619ce3-2643-4cdf-9a13-b4c269650021" providerId="ADAL" clId="{AFCEEFB0-37BC-48D4-B200-D3706B2CD7FE}" dt="2021-04-21T12:31:18.079" v="20441"/>
          <ac:cxnSpMkLst>
            <pc:docMk/>
            <pc:sldMk cId="258519267" sldId="912"/>
            <ac:cxnSpMk id="31" creationId="{67090742-4436-4766-AF74-B9D3DC68D06B}"/>
          </ac:cxnSpMkLst>
        </pc:cxnChg>
        <pc:cxnChg chg="add mod">
          <ac:chgData name="Kisliuk, Adrian (ext)" userId="6e619ce3-2643-4cdf-9a13-b4c269650021" providerId="ADAL" clId="{AFCEEFB0-37BC-48D4-B200-D3706B2CD7FE}" dt="2021-04-21T12:31:18.079" v="20441"/>
          <ac:cxnSpMkLst>
            <pc:docMk/>
            <pc:sldMk cId="258519267" sldId="912"/>
            <ac:cxnSpMk id="40" creationId="{24341C7E-EFC6-4C83-9708-CA155B8F2C24}"/>
          </ac:cxnSpMkLst>
        </pc:cxnChg>
        <pc:cxnChg chg="add mod">
          <ac:chgData name="Kisliuk, Adrian (ext)" userId="6e619ce3-2643-4cdf-9a13-b4c269650021" providerId="ADAL" clId="{AFCEEFB0-37BC-48D4-B200-D3706B2CD7FE}" dt="2021-04-21T12:31:18.079" v="20441"/>
          <ac:cxnSpMkLst>
            <pc:docMk/>
            <pc:sldMk cId="258519267" sldId="912"/>
            <ac:cxnSpMk id="41" creationId="{4B06AB27-E8CB-4353-BEFC-9A0034019A1E}"/>
          </ac:cxnSpMkLst>
        </pc:cxnChg>
        <pc:cxnChg chg="mod">
          <ac:chgData name="Kisliuk, Adrian (ext)" userId="6e619ce3-2643-4cdf-9a13-b4c269650021" providerId="ADAL" clId="{AFCEEFB0-37BC-48D4-B200-D3706B2CD7FE}" dt="2021-04-21T12:31:18.079" v="20441"/>
          <ac:cxnSpMkLst>
            <pc:docMk/>
            <pc:sldMk cId="258519267" sldId="912"/>
            <ac:cxnSpMk id="50" creationId="{659F92BA-E049-47F6-91DA-84726DB8242A}"/>
          </ac:cxnSpMkLst>
        </pc:cxnChg>
        <pc:cxnChg chg="mod">
          <ac:chgData name="Kisliuk, Adrian (ext)" userId="6e619ce3-2643-4cdf-9a13-b4c269650021" providerId="ADAL" clId="{AFCEEFB0-37BC-48D4-B200-D3706B2CD7FE}" dt="2021-04-21T12:31:18.079" v="20441"/>
          <ac:cxnSpMkLst>
            <pc:docMk/>
            <pc:sldMk cId="258519267" sldId="912"/>
            <ac:cxnSpMk id="51" creationId="{BA137906-C2F9-4CD7-BDF8-213053F224AF}"/>
          </ac:cxnSpMkLst>
        </pc:cxnChg>
        <pc:cxnChg chg="mod">
          <ac:chgData name="Kisliuk, Adrian (ext)" userId="6e619ce3-2643-4cdf-9a13-b4c269650021" providerId="ADAL" clId="{AFCEEFB0-37BC-48D4-B200-D3706B2CD7FE}" dt="2021-04-21T12:31:18.079" v="20441"/>
          <ac:cxnSpMkLst>
            <pc:docMk/>
            <pc:sldMk cId="258519267" sldId="912"/>
            <ac:cxnSpMk id="52" creationId="{4706E67C-F551-4073-85B1-B8E99624240C}"/>
          </ac:cxnSpMkLst>
        </pc:cxnChg>
        <pc:cxnChg chg="add mod">
          <ac:chgData name="Kisliuk, Adrian (ext)" userId="6e619ce3-2643-4cdf-9a13-b4c269650021" providerId="ADAL" clId="{AFCEEFB0-37BC-48D4-B200-D3706B2CD7FE}" dt="2021-04-21T12:31:18.079" v="20441"/>
          <ac:cxnSpMkLst>
            <pc:docMk/>
            <pc:sldMk cId="258519267" sldId="912"/>
            <ac:cxnSpMk id="58" creationId="{974B35D4-167F-4835-B4DE-C051D83D680B}"/>
          </ac:cxnSpMkLst>
        </pc:cxnChg>
        <pc:cxnChg chg="add mod">
          <ac:chgData name="Kisliuk, Adrian (ext)" userId="6e619ce3-2643-4cdf-9a13-b4c269650021" providerId="ADAL" clId="{AFCEEFB0-37BC-48D4-B200-D3706B2CD7FE}" dt="2021-04-21T12:31:18.079" v="20441"/>
          <ac:cxnSpMkLst>
            <pc:docMk/>
            <pc:sldMk cId="258519267" sldId="912"/>
            <ac:cxnSpMk id="59" creationId="{33A11F75-40F6-4F57-B870-007341E8DF89}"/>
          </ac:cxnSpMkLst>
        </pc:cxnChg>
        <pc:cxnChg chg="add mod">
          <ac:chgData name="Kisliuk, Adrian (ext)" userId="6e619ce3-2643-4cdf-9a13-b4c269650021" providerId="ADAL" clId="{AFCEEFB0-37BC-48D4-B200-D3706B2CD7FE}" dt="2021-04-21T12:48:24.943" v="20560" actId="404"/>
          <ac:cxnSpMkLst>
            <pc:docMk/>
            <pc:sldMk cId="258519267" sldId="912"/>
            <ac:cxnSpMk id="62" creationId="{313C0A8F-5250-4157-BEE5-87D6324A7AC8}"/>
          </ac:cxnSpMkLst>
        </pc:cxnChg>
        <pc:cxnChg chg="add mod">
          <ac:chgData name="Kisliuk, Adrian (ext)" userId="6e619ce3-2643-4cdf-9a13-b4c269650021" providerId="ADAL" clId="{AFCEEFB0-37BC-48D4-B200-D3706B2CD7FE}" dt="2021-04-21T12:48:24.943" v="20560" actId="404"/>
          <ac:cxnSpMkLst>
            <pc:docMk/>
            <pc:sldMk cId="258519267" sldId="912"/>
            <ac:cxnSpMk id="69" creationId="{8BEF8AEB-4E49-41DB-BF30-C4784B950AC7}"/>
          </ac:cxnSpMkLst>
        </pc:cxnChg>
      </pc:sldChg>
      <pc:sldChg chg="new del">
        <pc:chgData name="Kisliuk, Adrian (ext)" userId="6e619ce3-2643-4cdf-9a13-b4c269650021" providerId="ADAL" clId="{AFCEEFB0-37BC-48D4-B200-D3706B2CD7FE}" dt="2021-04-21T12:30:54.367" v="20433" actId="680"/>
        <pc:sldMkLst>
          <pc:docMk/>
          <pc:sldMk cId="2974410058" sldId="912"/>
        </pc:sldMkLst>
      </pc:sldChg>
      <pc:sldChg chg="addSp delSp modSp new mod addCm delCm modCm">
        <pc:chgData name="Kisliuk, Adrian (ext)" userId="6e619ce3-2643-4cdf-9a13-b4c269650021" providerId="ADAL" clId="{AFCEEFB0-37BC-48D4-B200-D3706B2CD7FE}" dt="2021-05-11T09:24:27.434" v="26820" actId="20577"/>
        <pc:sldMkLst>
          <pc:docMk/>
          <pc:sldMk cId="1076232009" sldId="913"/>
        </pc:sldMkLst>
        <pc:spChg chg="mod">
          <ac:chgData name="Kisliuk, Adrian (ext)" userId="6e619ce3-2643-4cdf-9a13-b4c269650021" providerId="ADAL" clId="{AFCEEFB0-37BC-48D4-B200-D3706B2CD7FE}" dt="2021-04-28T09:18:31.758" v="26498" actId="1076"/>
          <ac:spMkLst>
            <pc:docMk/>
            <pc:sldMk cId="1076232009" sldId="913"/>
            <ac:spMk id="2" creationId="{261B79A1-4585-4C63-9FD0-1991DD710698}"/>
          </ac:spMkLst>
        </pc:spChg>
        <pc:spChg chg="del">
          <ac:chgData name="Kisliuk, Adrian (ext)" userId="6e619ce3-2643-4cdf-9a13-b4c269650021" providerId="ADAL" clId="{AFCEEFB0-37BC-48D4-B200-D3706B2CD7FE}" dt="2021-04-21T12:31:40.026" v="20446" actId="478"/>
          <ac:spMkLst>
            <pc:docMk/>
            <pc:sldMk cId="1076232009" sldId="913"/>
            <ac:spMk id="3" creationId="{EBBE8230-AD8B-4BA0-8535-13B101B4233A}"/>
          </ac:spMkLst>
        </pc:spChg>
        <pc:spChg chg="add mod">
          <ac:chgData name="Kisliuk, Adrian (ext)" userId="6e619ce3-2643-4cdf-9a13-b4c269650021" providerId="ADAL" clId="{AFCEEFB0-37BC-48D4-B200-D3706B2CD7FE}" dt="2021-04-28T09:18:02.850" v="26394" actId="403"/>
          <ac:spMkLst>
            <pc:docMk/>
            <pc:sldMk cId="1076232009" sldId="913"/>
            <ac:spMk id="4" creationId="{E9758F39-F76A-4B30-8F64-62875B34A7E6}"/>
          </ac:spMkLst>
        </pc:spChg>
        <pc:spChg chg="add mod">
          <ac:chgData name="Kisliuk, Adrian (ext)" userId="6e619ce3-2643-4cdf-9a13-b4c269650021" providerId="ADAL" clId="{AFCEEFB0-37BC-48D4-B200-D3706B2CD7FE}" dt="2021-04-28T09:20:02.639" v="26536" actId="1035"/>
          <ac:spMkLst>
            <pc:docMk/>
            <pc:sldMk cId="1076232009" sldId="913"/>
            <ac:spMk id="5" creationId="{4F844CF9-9C66-46A1-8961-8CF70E10CDC6}"/>
          </ac:spMkLst>
        </pc:spChg>
        <pc:spChg chg="add mod">
          <ac:chgData name="Kisliuk, Adrian (ext)" userId="6e619ce3-2643-4cdf-9a13-b4c269650021" providerId="ADAL" clId="{AFCEEFB0-37BC-48D4-B200-D3706B2CD7FE}" dt="2021-04-28T09:56:41.035" v="26580" actId="403"/>
          <ac:spMkLst>
            <pc:docMk/>
            <pc:sldMk cId="1076232009" sldId="913"/>
            <ac:spMk id="6" creationId="{756D620B-5AC2-49CC-AAC3-60DF9CA75DF5}"/>
          </ac:spMkLst>
        </pc:spChg>
        <pc:spChg chg="add mod">
          <ac:chgData name="Kisliuk, Adrian (ext)" userId="6e619ce3-2643-4cdf-9a13-b4c269650021" providerId="ADAL" clId="{AFCEEFB0-37BC-48D4-B200-D3706B2CD7FE}" dt="2021-04-28T09:20:02.639" v="26536" actId="1035"/>
          <ac:spMkLst>
            <pc:docMk/>
            <pc:sldMk cId="1076232009" sldId="913"/>
            <ac:spMk id="7" creationId="{815457FB-DAC4-46F3-B5C8-3145BAA4C99D}"/>
          </ac:spMkLst>
        </pc:spChg>
        <pc:spChg chg="add mod">
          <ac:chgData name="Kisliuk, Adrian (ext)" userId="6e619ce3-2643-4cdf-9a13-b4c269650021" providerId="ADAL" clId="{AFCEEFB0-37BC-48D4-B200-D3706B2CD7FE}" dt="2021-04-28T09:20:02.639" v="26536" actId="1035"/>
          <ac:spMkLst>
            <pc:docMk/>
            <pc:sldMk cId="1076232009" sldId="913"/>
            <ac:spMk id="8" creationId="{E8B077FF-0AFC-414D-9C27-745D0B3383D7}"/>
          </ac:spMkLst>
        </pc:spChg>
        <pc:spChg chg="add mod">
          <ac:chgData name="Kisliuk, Adrian (ext)" userId="6e619ce3-2643-4cdf-9a13-b4c269650021" providerId="ADAL" clId="{AFCEEFB0-37BC-48D4-B200-D3706B2CD7FE}" dt="2021-04-28T09:20:02.639" v="26536" actId="1035"/>
          <ac:spMkLst>
            <pc:docMk/>
            <pc:sldMk cId="1076232009" sldId="913"/>
            <ac:spMk id="9" creationId="{D047B809-C088-453C-AD2E-D9AE6AF589E5}"/>
          </ac:spMkLst>
        </pc:spChg>
        <pc:spChg chg="add mod">
          <ac:chgData name="Kisliuk, Adrian (ext)" userId="6e619ce3-2643-4cdf-9a13-b4c269650021" providerId="ADAL" clId="{AFCEEFB0-37BC-48D4-B200-D3706B2CD7FE}" dt="2021-04-28T09:20:02.639" v="26536" actId="1035"/>
          <ac:spMkLst>
            <pc:docMk/>
            <pc:sldMk cId="1076232009" sldId="913"/>
            <ac:spMk id="10" creationId="{97DE6419-60F7-406E-B451-8347EA077C22}"/>
          </ac:spMkLst>
        </pc:spChg>
        <pc:spChg chg="add mod">
          <ac:chgData name="Kisliuk, Adrian (ext)" userId="6e619ce3-2643-4cdf-9a13-b4c269650021" providerId="ADAL" clId="{AFCEEFB0-37BC-48D4-B200-D3706B2CD7FE}" dt="2021-04-28T09:20:02.639" v="26536" actId="1035"/>
          <ac:spMkLst>
            <pc:docMk/>
            <pc:sldMk cId="1076232009" sldId="913"/>
            <ac:spMk id="11" creationId="{CEF70DA6-5BD0-4BF7-9156-5EFB09421F34}"/>
          </ac:spMkLst>
        </pc:spChg>
        <pc:spChg chg="add mod">
          <ac:chgData name="Kisliuk, Adrian (ext)" userId="6e619ce3-2643-4cdf-9a13-b4c269650021" providerId="ADAL" clId="{AFCEEFB0-37BC-48D4-B200-D3706B2CD7FE}" dt="2021-04-28T09:19:04.224" v="26513" actId="403"/>
          <ac:spMkLst>
            <pc:docMk/>
            <pc:sldMk cId="1076232009" sldId="913"/>
            <ac:spMk id="15" creationId="{2BCBD105-077E-4EBA-BC9D-6FD472EE80C7}"/>
          </ac:spMkLst>
        </pc:spChg>
        <pc:spChg chg="add mod">
          <ac:chgData name="Kisliuk, Adrian (ext)" userId="6e619ce3-2643-4cdf-9a13-b4c269650021" providerId="ADAL" clId="{AFCEEFB0-37BC-48D4-B200-D3706B2CD7FE}" dt="2021-05-11T09:24:27.434" v="26820" actId="20577"/>
          <ac:spMkLst>
            <pc:docMk/>
            <pc:sldMk cId="1076232009" sldId="913"/>
            <ac:spMk id="16" creationId="{304F80AD-6C69-4194-9BC0-58CC2E9D1B92}"/>
          </ac:spMkLst>
        </pc:spChg>
        <pc:spChg chg="add mod">
          <ac:chgData name="Kisliuk, Adrian (ext)" userId="6e619ce3-2643-4cdf-9a13-b4c269650021" providerId="ADAL" clId="{AFCEEFB0-37BC-48D4-B200-D3706B2CD7FE}" dt="2021-04-28T09:19:04.224" v="26513" actId="403"/>
          <ac:spMkLst>
            <pc:docMk/>
            <pc:sldMk cId="1076232009" sldId="913"/>
            <ac:spMk id="17" creationId="{04A5B744-A4C5-46E5-A00C-C965208CF174}"/>
          </ac:spMkLst>
        </pc:spChg>
        <pc:spChg chg="add del mod">
          <ac:chgData name="Kisliuk, Adrian (ext)" userId="6e619ce3-2643-4cdf-9a13-b4c269650021" providerId="ADAL" clId="{AFCEEFB0-37BC-48D4-B200-D3706B2CD7FE}" dt="2021-04-28T08:19:54.638" v="25767" actId="478"/>
          <ac:spMkLst>
            <pc:docMk/>
            <pc:sldMk cId="1076232009" sldId="913"/>
            <ac:spMk id="18" creationId="{323E5572-3EEF-41EB-AB1A-C559C1F8F6B1}"/>
          </ac:spMkLst>
        </pc:spChg>
        <pc:spChg chg="add del mod">
          <ac:chgData name="Kisliuk, Adrian (ext)" userId="6e619ce3-2643-4cdf-9a13-b4c269650021" providerId="ADAL" clId="{AFCEEFB0-37BC-48D4-B200-D3706B2CD7FE}" dt="2021-04-28T08:19:34.056" v="25766" actId="478"/>
          <ac:spMkLst>
            <pc:docMk/>
            <pc:sldMk cId="1076232009" sldId="913"/>
            <ac:spMk id="19" creationId="{BDAB7CBB-7BDF-4E32-A8F6-57FE8A50243A}"/>
          </ac:spMkLst>
        </pc:spChg>
        <pc:spChg chg="add mod">
          <ac:chgData name="Kisliuk, Adrian (ext)" userId="6e619ce3-2643-4cdf-9a13-b4c269650021" providerId="ADAL" clId="{AFCEEFB0-37BC-48D4-B200-D3706B2CD7FE}" dt="2021-04-28T09:19:04.224" v="26513" actId="403"/>
          <ac:spMkLst>
            <pc:docMk/>
            <pc:sldMk cId="1076232009" sldId="913"/>
            <ac:spMk id="20" creationId="{D1A41447-9FDD-48BD-89C6-399CE8872280}"/>
          </ac:spMkLst>
        </pc:spChg>
        <pc:spChg chg="add del mod modVis">
          <ac:chgData name="Kisliuk, Adrian (ext)" userId="6e619ce3-2643-4cdf-9a13-b4c269650021" providerId="ADAL" clId="{AFCEEFB0-37BC-48D4-B200-D3706B2CD7FE}" dt="2021-04-28T09:18:31.758" v="26496" actId="962"/>
          <ac:spMkLst>
            <pc:docMk/>
            <pc:sldMk cId="1076232009" sldId="913"/>
            <ac:spMk id="28" creationId="{477CB4D0-ED32-46EB-8037-DD6F892811F5}"/>
          </ac:spMkLst>
        </pc:spChg>
        <pc:spChg chg="add mod">
          <ac:chgData name="Kisliuk, Adrian (ext)" userId="6e619ce3-2643-4cdf-9a13-b4c269650021" providerId="ADAL" clId="{AFCEEFB0-37BC-48D4-B200-D3706B2CD7FE}" dt="2021-04-28T09:18:22.297" v="26400" actId="403"/>
          <ac:spMkLst>
            <pc:docMk/>
            <pc:sldMk cId="1076232009" sldId="913"/>
            <ac:spMk id="29" creationId="{5B9B5C23-D9CD-479A-BD4A-55D84B9286A5}"/>
          </ac:spMkLst>
        </pc:spChg>
        <pc:spChg chg="add mod">
          <ac:chgData name="Kisliuk, Adrian (ext)" userId="6e619ce3-2643-4cdf-9a13-b4c269650021" providerId="ADAL" clId="{AFCEEFB0-37BC-48D4-B200-D3706B2CD7FE}" dt="2021-04-28T09:56:56.006" v="26581" actId="14100"/>
          <ac:spMkLst>
            <pc:docMk/>
            <pc:sldMk cId="1076232009" sldId="913"/>
            <ac:spMk id="30" creationId="{75066390-386C-4B6E-876F-F84822F8A27A}"/>
          </ac:spMkLst>
        </pc:spChg>
        <pc:spChg chg="add mod">
          <ac:chgData name="Kisliuk, Adrian (ext)" userId="6e619ce3-2643-4cdf-9a13-b4c269650021" providerId="ADAL" clId="{AFCEEFB0-37BC-48D4-B200-D3706B2CD7FE}" dt="2021-04-28T09:16:53.693" v="26369" actId="1036"/>
          <ac:spMkLst>
            <pc:docMk/>
            <pc:sldMk cId="1076232009" sldId="913"/>
            <ac:spMk id="57" creationId="{CB2EEA5B-3A19-49E9-9D04-EDCC171AF40C}"/>
          </ac:spMkLst>
        </pc:spChg>
        <pc:spChg chg="add mod">
          <ac:chgData name="Kisliuk, Adrian (ext)" userId="6e619ce3-2643-4cdf-9a13-b4c269650021" providerId="ADAL" clId="{AFCEEFB0-37BC-48D4-B200-D3706B2CD7FE}" dt="2021-04-28T09:16:53.693" v="26369" actId="1036"/>
          <ac:spMkLst>
            <pc:docMk/>
            <pc:sldMk cId="1076232009" sldId="913"/>
            <ac:spMk id="58" creationId="{F5AA750D-7761-4175-95AF-DDE25498C725}"/>
          </ac:spMkLst>
        </pc:spChg>
        <pc:spChg chg="del mod">
          <ac:chgData name="Kisliuk, Adrian (ext)" userId="6e619ce3-2643-4cdf-9a13-b4c269650021" providerId="ADAL" clId="{AFCEEFB0-37BC-48D4-B200-D3706B2CD7FE}" dt="2021-04-28T08:21:30.843" v="25778" actId="478"/>
          <ac:spMkLst>
            <pc:docMk/>
            <pc:sldMk cId="1076232009" sldId="913"/>
            <ac:spMk id="59" creationId="{3AA90A09-86AF-4C36-94A7-BF45987A6FE9}"/>
          </ac:spMkLst>
        </pc:spChg>
        <pc:graphicFrameChg chg="add mod ord modVis">
          <ac:chgData name="Kisliuk, Adrian (ext)" userId="6e619ce3-2643-4cdf-9a13-b4c269650021" providerId="ADAL" clId="{AFCEEFB0-37BC-48D4-B200-D3706B2CD7FE}" dt="2021-04-28T09:18:31.738" v="26462" actId="14100"/>
          <ac:graphicFrameMkLst>
            <pc:docMk/>
            <pc:sldMk cId="1076232009" sldId="913"/>
            <ac:graphicFrameMk id="39" creationId="{256E9607-2602-48B0-9C83-AFABB5CFCAD3}"/>
          </ac:graphicFrameMkLst>
        </pc:graphicFrameChg>
        <pc:picChg chg="add del mod">
          <ac:chgData name="Kisliuk, Adrian (ext)" userId="6e619ce3-2643-4cdf-9a13-b4c269650021" providerId="ADAL" clId="{AFCEEFB0-37BC-48D4-B200-D3706B2CD7FE}" dt="2021-04-21T15:41:30.791" v="21768" actId="478"/>
          <ac:picMkLst>
            <pc:docMk/>
            <pc:sldMk cId="1076232009" sldId="913"/>
            <ac:picMk id="22" creationId="{E0DA7390-9083-487F-92D5-56E6216D3000}"/>
          </ac:picMkLst>
        </pc:picChg>
        <pc:picChg chg="add del mod">
          <ac:chgData name="Kisliuk, Adrian (ext)" userId="6e619ce3-2643-4cdf-9a13-b4c269650021" providerId="ADAL" clId="{AFCEEFB0-37BC-48D4-B200-D3706B2CD7FE}" dt="2021-04-21T15:41:30.791" v="21768" actId="478"/>
          <ac:picMkLst>
            <pc:docMk/>
            <pc:sldMk cId="1076232009" sldId="913"/>
            <ac:picMk id="23" creationId="{039DFD2E-3422-4D74-A5DC-EE08AB178E32}"/>
          </ac:picMkLst>
        </pc:picChg>
        <pc:picChg chg="add del mod">
          <ac:chgData name="Kisliuk, Adrian (ext)" userId="6e619ce3-2643-4cdf-9a13-b4c269650021" providerId="ADAL" clId="{AFCEEFB0-37BC-48D4-B200-D3706B2CD7FE}" dt="2021-04-21T15:41:30.791" v="21768" actId="478"/>
          <ac:picMkLst>
            <pc:docMk/>
            <pc:sldMk cId="1076232009" sldId="913"/>
            <ac:picMk id="24" creationId="{A505421D-CF84-4D23-BCED-C43258CD0957}"/>
          </ac:picMkLst>
        </pc:picChg>
        <pc:picChg chg="add del mod">
          <ac:chgData name="Kisliuk, Adrian (ext)" userId="6e619ce3-2643-4cdf-9a13-b4c269650021" providerId="ADAL" clId="{AFCEEFB0-37BC-48D4-B200-D3706B2CD7FE}" dt="2021-04-21T15:41:30.791" v="21768" actId="478"/>
          <ac:picMkLst>
            <pc:docMk/>
            <pc:sldMk cId="1076232009" sldId="913"/>
            <ac:picMk id="25" creationId="{DF4BD112-523B-4E60-BF18-DA38933B1CE7}"/>
          </ac:picMkLst>
        </pc:picChg>
        <pc:picChg chg="add del mod">
          <ac:chgData name="Kisliuk, Adrian (ext)" userId="6e619ce3-2643-4cdf-9a13-b4c269650021" providerId="ADAL" clId="{AFCEEFB0-37BC-48D4-B200-D3706B2CD7FE}" dt="2021-04-21T15:41:30.791" v="21768" actId="478"/>
          <ac:picMkLst>
            <pc:docMk/>
            <pc:sldMk cId="1076232009" sldId="913"/>
            <ac:picMk id="26" creationId="{8C6824FC-D813-41AF-9269-FA146129AF4E}"/>
          </ac:picMkLst>
        </pc:picChg>
        <pc:picChg chg="add del mod">
          <ac:chgData name="Kisliuk, Adrian (ext)" userId="6e619ce3-2643-4cdf-9a13-b4c269650021" providerId="ADAL" clId="{AFCEEFB0-37BC-48D4-B200-D3706B2CD7FE}" dt="2021-04-21T15:41:30.791" v="21768" actId="478"/>
          <ac:picMkLst>
            <pc:docMk/>
            <pc:sldMk cId="1076232009" sldId="913"/>
            <ac:picMk id="27" creationId="{E834C35A-741D-49AD-B5A2-D8A59B27BA60}"/>
          </ac:picMkLst>
        </pc:picChg>
        <pc:picChg chg="add del mod">
          <ac:chgData name="Kisliuk, Adrian (ext)" userId="6e619ce3-2643-4cdf-9a13-b4c269650021" providerId="ADAL" clId="{AFCEEFB0-37BC-48D4-B200-D3706B2CD7FE}" dt="2021-04-21T15:41:30.791" v="21768" actId="478"/>
          <ac:picMkLst>
            <pc:docMk/>
            <pc:sldMk cId="1076232009" sldId="913"/>
            <ac:picMk id="28" creationId="{061D2B47-094D-4C3F-AC47-3C054F83BD0B}"/>
          </ac:picMkLst>
        </pc:picChg>
        <pc:picChg chg="add del mod">
          <ac:chgData name="Kisliuk, Adrian (ext)" userId="6e619ce3-2643-4cdf-9a13-b4c269650021" providerId="ADAL" clId="{AFCEEFB0-37BC-48D4-B200-D3706B2CD7FE}" dt="2021-04-21T15:41:30.791" v="21768" actId="478"/>
          <ac:picMkLst>
            <pc:docMk/>
            <pc:sldMk cId="1076232009" sldId="913"/>
            <ac:picMk id="39" creationId="{C84BB131-CED6-4A9F-981F-00E7D0D90096}"/>
          </ac:picMkLst>
        </pc:picChg>
        <pc:picChg chg="add del mod">
          <ac:chgData name="Kisliuk, Adrian (ext)" userId="6e619ce3-2643-4cdf-9a13-b4c269650021" providerId="ADAL" clId="{AFCEEFB0-37BC-48D4-B200-D3706B2CD7FE}" dt="2021-04-21T15:41:30.791" v="21768" actId="478"/>
          <ac:picMkLst>
            <pc:docMk/>
            <pc:sldMk cId="1076232009" sldId="913"/>
            <ac:picMk id="40" creationId="{8FA87E3F-D7A4-4D98-BB82-B8336681A3A6}"/>
          </ac:picMkLst>
        </pc:picChg>
        <pc:picChg chg="add del mod">
          <ac:chgData name="Kisliuk, Adrian (ext)" userId="6e619ce3-2643-4cdf-9a13-b4c269650021" providerId="ADAL" clId="{AFCEEFB0-37BC-48D4-B200-D3706B2CD7FE}" dt="2021-04-21T15:41:30.791" v="21768" actId="478"/>
          <ac:picMkLst>
            <pc:docMk/>
            <pc:sldMk cId="1076232009" sldId="913"/>
            <ac:picMk id="41" creationId="{EBABEEFF-38C0-465D-B5F2-4F35B8AEA119}"/>
          </ac:picMkLst>
        </pc:picChg>
        <pc:picChg chg="add del mod">
          <ac:chgData name="Kisliuk, Adrian (ext)" userId="6e619ce3-2643-4cdf-9a13-b4c269650021" providerId="ADAL" clId="{AFCEEFB0-37BC-48D4-B200-D3706B2CD7FE}" dt="2021-04-21T15:41:30.791" v="21768" actId="478"/>
          <ac:picMkLst>
            <pc:docMk/>
            <pc:sldMk cId="1076232009" sldId="913"/>
            <ac:picMk id="42" creationId="{F80F824F-9E7D-4D51-8062-DDDD1D356B25}"/>
          </ac:picMkLst>
        </pc:picChg>
        <pc:picChg chg="add del mod">
          <ac:chgData name="Kisliuk, Adrian (ext)" userId="6e619ce3-2643-4cdf-9a13-b4c269650021" providerId="ADAL" clId="{AFCEEFB0-37BC-48D4-B200-D3706B2CD7FE}" dt="2021-04-21T15:41:30.791" v="21768" actId="478"/>
          <ac:picMkLst>
            <pc:docMk/>
            <pc:sldMk cId="1076232009" sldId="913"/>
            <ac:picMk id="43" creationId="{E51F30DD-273E-4ABB-BBC1-2624BB38FB92}"/>
          </ac:picMkLst>
        </pc:picChg>
        <pc:picChg chg="add del mod">
          <ac:chgData name="Kisliuk, Adrian (ext)" userId="6e619ce3-2643-4cdf-9a13-b4c269650021" providerId="ADAL" clId="{AFCEEFB0-37BC-48D4-B200-D3706B2CD7FE}" dt="2021-04-21T15:41:30.791" v="21768" actId="478"/>
          <ac:picMkLst>
            <pc:docMk/>
            <pc:sldMk cId="1076232009" sldId="913"/>
            <ac:picMk id="44" creationId="{F31DBD0A-AC65-4636-A197-4BF38C0B749B}"/>
          </ac:picMkLst>
        </pc:picChg>
        <pc:picChg chg="add del mod">
          <ac:chgData name="Kisliuk, Adrian (ext)" userId="6e619ce3-2643-4cdf-9a13-b4c269650021" providerId="ADAL" clId="{AFCEEFB0-37BC-48D4-B200-D3706B2CD7FE}" dt="2021-04-21T15:41:30.791" v="21768" actId="478"/>
          <ac:picMkLst>
            <pc:docMk/>
            <pc:sldMk cId="1076232009" sldId="913"/>
            <ac:picMk id="45" creationId="{E98FA4B3-5CDA-4BF4-8E97-8A57C7CD9145}"/>
          </ac:picMkLst>
        </pc:picChg>
        <pc:picChg chg="add del mod">
          <ac:chgData name="Kisliuk, Adrian (ext)" userId="6e619ce3-2643-4cdf-9a13-b4c269650021" providerId="ADAL" clId="{AFCEEFB0-37BC-48D4-B200-D3706B2CD7FE}" dt="2021-04-21T15:41:30.791" v="21768" actId="478"/>
          <ac:picMkLst>
            <pc:docMk/>
            <pc:sldMk cId="1076232009" sldId="913"/>
            <ac:picMk id="46" creationId="{9D9096B4-02A2-4C1D-9B17-B422DBEA1FB5}"/>
          </ac:picMkLst>
        </pc:picChg>
        <pc:picChg chg="add del mod">
          <ac:chgData name="Kisliuk, Adrian (ext)" userId="6e619ce3-2643-4cdf-9a13-b4c269650021" providerId="ADAL" clId="{AFCEEFB0-37BC-48D4-B200-D3706B2CD7FE}" dt="2021-04-21T15:41:30.791" v="21768" actId="478"/>
          <ac:picMkLst>
            <pc:docMk/>
            <pc:sldMk cId="1076232009" sldId="913"/>
            <ac:picMk id="47" creationId="{7C420656-E0F9-413D-8940-85A2784DA42F}"/>
          </ac:picMkLst>
        </pc:picChg>
        <pc:picChg chg="add del mod">
          <ac:chgData name="Kisliuk, Adrian (ext)" userId="6e619ce3-2643-4cdf-9a13-b4c269650021" providerId="ADAL" clId="{AFCEEFB0-37BC-48D4-B200-D3706B2CD7FE}" dt="2021-04-21T15:41:30.791" v="21768" actId="478"/>
          <ac:picMkLst>
            <pc:docMk/>
            <pc:sldMk cId="1076232009" sldId="913"/>
            <ac:picMk id="48" creationId="{C23400C3-386E-4A77-A636-C8C20FB24508}"/>
          </ac:picMkLst>
        </pc:picChg>
        <pc:picChg chg="add del mod">
          <ac:chgData name="Kisliuk, Adrian (ext)" userId="6e619ce3-2643-4cdf-9a13-b4c269650021" providerId="ADAL" clId="{AFCEEFB0-37BC-48D4-B200-D3706B2CD7FE}" dt="2021-04-21T15:41:30.791" v="21768" actId="478"/>
          <ac:picMkLst>
            <pc:docMk/>
            <pc:sldMk cId="1076232009" sldId="913"/>
            <ac:picMk id="49" creationId="{6977B71C-1817-439A-8C80-A53385D4DA77}"/>
          </ac:picMkLst>
        </pc:picChg>
        <pc:picChg chg="add del mod">
          <ac:chgData name="Kisliuk, Adrian (ext)" userId="6e619ce3-2643-4cdf-9a13-b4c269650021" providerId="ADAL" clId="{AFCEEFB0-37BC-48D4-B200-D3706B2CD7FE}" dt="2021-04-21T15:41:30.791" v="21768" actId="478"/>
          <ac:picMkLst>
            <pc:docMk/>
            <pc:sldMk cId="1076232009" sldId="913"/>
            <ac:picMk id="50" creationId="{0358C628-374E-4BC5-99AC-004C0E600AB4}"/>
          </ac:picMkLst>
        </pc:picChg>
        <pc:picChg chg="add del mod">
          <ac:chgData name="Kisliuk, Adrian (ext)" userId="6e619ce3-2643-4cdf-9a13-b4c269650021" providerId="ADAL" clId="{AFCEEFB0-37BC-48D4-B200-D3706B2CD7FE}" dt="2021-04-21T15:41:30.791" v="21768" actId="478"/>
          <ac:picMkLst>
            <pc:docMk/>
            <pc:sldMk cId="1076232009" sldId="913"/>
            <ac:picMk id="51" creationId="{1ED2F24B-E5B4-4864-95B4-EC91A339A4F3}"/>
          </ac:picMkLst>
        </pc:picChg>
        <pc:picChg chg="add del mod">
          <ac:chgData name="Kisliuk, Adrian (ext)" userId="6e619ce3-2643-4cdf-9a13-b4c269650021" providerId="ADAL" clId="{AFCEEFB0-37BC-48D4-B200-D3706B2CD7FE}" dt="2021-04-21T15:41:30.791" v="21768" actId="478"/>
          <ac:picMkLst>
            <pc:docMk/>
            <pc:sldMk cId="1076232009" sldId="913"/>
            <ac:picMk id="53" creationId="{F288064E-120A-4A75-838E-CE3DC5C79D9E}"/>
          </ac:picMkLst>
        </pc:picChg>
        <pc:picChg chg="add del mod">
          <ac:chgData name="Kisliuk, Adrian (ext)" userId="6e619ce3-2643-4cdf-9a13-b4c269650021" providerId="ADAL" clId="{AFCEEFB0-37BC-48D4-B200-D3706B2CD7FE}" dt="2021-04-21T15:41:30.791" v="21768" actId="478"/>
          <ac:picMkLst>
            <pc:docMk/>
            <pc:sldMk cId="1076232009" sldId="913"/>
            <ac:picMk id="54" creationId="{3AE8CFD3-4C97-4390-8AD9-0EC5164724E4}"/>
          </ac:picMkLst>
        </pc:picChg>
        <pc:picChg chg="add del mod">
          <ac:chgData name="Kisliuk, Adrian (ext)" userId="6e619ce3-2643-4cdf-9a13-b4c269650021" providerId="ADAL" clId="{AFCEEFB0-37BC-48D4-B200-D3706B2CD7FE}" dt="2021-04-21T15:41:30.791" v="21768" actId="478"/>
          <ac:picMkLst>
            <pc:docMk/>
            <pc:sldMk cId="1076232009" sldId="913"/>
            <ac:picMk id="55" creationId="{FDC0E794-A310-4995-A125-4DCF4F4F1BF2}"/>
          </ac:picMkLst>
        </pc:picChg>
        <pc:picChg chg="add del mod">
          <ac:chgData name="Kisliuk, Adrian (ext)" userId="6e619ce3-2643-4cdf-9a13-b4c269650021" providerId="ADAL" clId="{AFCEEFB0-37BC-48D4-B200-D3706B2CD7FE}" dt="2021-04-21T15:41:30.791" v="21768" actId="478"/>
          <ac:picMkLst>
            <pc:docMk/>
            <pc:sldMk cId="1076232009" sldId="913"/>
            <ac:picMk id="56" creationId="{DE2F5C1A-BCB7-4178-BE94-D7C691FCB412}"/>
          </ac:picMkLst>
        </pc:picChg>
        <pc:picChg chg="add mod">
          <ac:chgData name="Kisliuk, Adrian (ext)" userId="6e619ce3-2643-4cdf-9a13-b4c269650021" providerId="ADAL" clId="{AFCEEFB0-37BC-48D4-B200-D3706B2CD7FE}" dt="2021-04-28T09:16:53.693" v="26369" actId="1036"/>
          <ac:picMkLst>
            <pc:docMk/>
            <pc:sldMk cId="1076232009" sldId="913"/>
            <ac:picMk id="68" creationId="{1DE4BEE4-FC37-4943-9428-B4DE705BA58D}"/>
          </ac:picMkLst>
        </pc:picChg>
        <pc:picChg chg="add del mod">
          <ac:chgData name="Kisliuk, Adrian (ext)" userId="6e619ce3-2643-4cdf-9a13-b4c269650021" providerId="ADAL" clId="{AFCEEFB0-37BC-48D4-B200-D3706B2CD7FE}" dt="2021-04-28T08:21:26.810" v="25777" actId="478"/>
          <ac:picMkLst>
            <pc:docMk/>
            <pc:sldMk cId="1076232009" sldId="913"/>
            <ac:picMk id="69" creationId="{DAF38CAA-65C2-4FC0-AABA-0A419BE52768}"/>
          </ac:picMkLst>
        </pc:picChg>
        <pc:picChg chg="add del mod">
          <ac:chgData name="Kisliuk, Adrian (ext)" userId="6e619ce3-2643-4cdf-9a13-b4c269650021" providerId="ADAL" clId="{AFCEEFB0-37BC-48D4-B200-D3706B2CD7FE}" dt="2021-04-28T08:21:26.063" v="25776" actId="478"/>
          <ac:picMkLst>
            <pc:docMk/>
            <pc:sldMk cId="1076232009" sldId="913"/>
            <ac:picMk id="70" creationId="{1234A9E5-0E36-478D-A71D-E41E54D03497}"/>
          </ac:picMkLst>
        </pc:picChg>
        <pc:picChg chg="add mod">
          <ac:chgData name="Kisliuk, Adrian (ext)" userId="6e619ce3-2643-4cdf-9a13-b4c269650021" providerId="ADAL" clId="{AFCEEFB0-37BC-48D4-B200-D3706B2CD7FE}" dt="2021-04-28T09:16:53.693" v="26369" actId="1036"/>
          <ac:picMkLst>
            <pc:docMk/>
            <pc:sldMk cId="1076232009" sldId="913"/>
            <ac:picMk id="71" creationId="{91F1E3E8-3270-44F9-A8BB-69D23D6D7337}"/>
          </ac:picMkLst>
        </pc:picChg>
        <pc:picChg chg="add mod">
          <ac:chgData name="Kisliuk, Adrian (ext)" userId="6e619ce3-2643-4cdf-9a13-b4c269650021" providerId="ADAL" clId="{AFCEEFB0-37BC-48D4-B200-D3706B2CD7FE}" dt="2021-04-28T09:16:53.693" v="26369" actId="1036"/>
          <ac:picMkLst>
            <pc:docMk/>
            <pc:sldMk cId="1076232009" sldId="913"/>
            <ac:picMk id="72" creationId="{C1FAAE59-E2E8-47D0-9785-BA3020B95D2C}"/>
          </ac:picMkLst>
        </pc:picChg>
        <pc:picChg chg="add mod">
          <ac:chgData name="Kisliuk, Adrian (ext)" userId="6e619ce3-2643-4cdf-9a13-b4c269650021" providerId="ADAL" clId="{AFCEEFB0-37BC-48D4-B200-D3706B2CD7FE}" dt="2021-04-28T09:16:53.693" v="26369" actId="1036"/>
          <ac:picMkLst>
            <pc:docMk/>
            <pc:sldMk cId="1076232009" sldId="913"/>
            <ac:picMk id="73" creationId="{3AD12445-8348-46E8-BA24-8AC4790A91BB}"/>
          </ac:picMkLst>
        </pc:picChg>
        <pc:picChg chg="add mod">
          <ac:chgData name="Kisliuk, Adrian (ext)" userId="6e619ce3-2643-4cdf-9a13-b4c269650021" providerId="ADAL" clId="{AFCEEFB0-37BC-48D4-B200-D3706B2CD7FE}" dt="2021-04-28T09:16:53.693" v="26369" actId="1036"/>
          <ac:picMkLst>
            <pc:docMk/>
            <pc:sldMk cId="1076232009" sldId="913"/>
            <ac:picMk id="74" creationId="{D57B6507-8A4E-48AF-8107-FFDA4995444A}"/>
          </ac:picMkLst>
        </pc:picChg>
        <pc:picChg chg="add mod">
          <ac:chgData name="Kisliuk, Adrian (ext)" userId="6e619ce3-2643-4cdf-9a13-b4c269650021" providerId="ADAL" clId="{AFCEEFB0-37BC-48D4-B200-D3706B2CD7FE}" dt="2021-04-28T09:16:53.693" v="26369" actId="1036"/>
          <ac:picMkLst>
            <pc:docMk/>
            <pc:sldMk cId="1076232009" sldId="913"/>
            <ac:picMk id="75" creationId="{19EB195E-A92E-429C-83BF-A470CCE193D8}"/>
          </ac:picMkLst>
        </pc:picChg>
        <pc:picChg chg="add del mod">
          <ac:chgData name="Kisliuk, Adrian (ext)" userId="6e619ce3-2643-4cdf-9a13-b4c269650021" providerId="ADAL" clId="{AFCEEFB0-37BC-48D4-B200-D3706B2CD7FE}" dt="2021-04-28T08:21:19.319" v="25772" actId="478"/>
          <ac:picMkLst>
            <pc:docMk/>
            <pc:sldMk cId="1076232009" sldId="913"/>
            <ac:picMk id="76" creationId="{F0E8F850-FF7A-4BCB-9A9E-01ED4CE241D7}"/>
          </ac:picMkLst>
        </pc:picChg>
        <pc:picChg chg="add del mod">
          <ac:chgData name="Kisliuk, Adrian (ext)" userId="6e619ce3-2643-4cdf-9a13-b4c269650021" providerId="ADAL" clId="{AFCEEFB0-37BC-48D4-B200-D3706B2CD7FE}" dt="2021-04-28T08:21:20.227" v="25773" actId="478"/>
          <ac:picMkLst>
            <pc:docMk/>
            <pc:sldMk cId="1076232009" sldId="913"/>
            <ac:picMk id="77" creationId="{A99A6607-3C77-4B57-8F38-4563F6AC03A0}"/>
          </ac:picMkLst>
        </pc:picChg>
        <pc:picChg chg="add del mod">
          <ac:chgData name="Kisliuk, Adrian (ext)" userId="6e619ce3-2643-4cdf-9a13-b4c269650021" providerId="ADAL" clId="{AFCEEFB0-37BC-48D4-B200-D3706B2CD7FE}" dt="2021-04-28T08:21:17.946" v="25771" actId="478"/>
          <ac:picMkLst>
            <pc:docMk/>
            <pc:sldMk cId="1076232009" sldId="913"/>
            <ac:picMk id="78" creationId="{3B6CE4B3-AAC8-4A06-AB83-B51701B674EE}"/>
          </ac:picMkLst>
        </pc:picChg>
        <pc:picChg chg="add del mod">
          <ac:chgData name="Kisliuk, Adrian (ext)" userId="6e619ce3-2643-4cdf-9a13-b4c269650021" providerId="ADAL" clId="{AFCEEFB0-37BC-48D4-B200-D3706B2CD7FE}" dt="2021-04-28T08:21:17.066" v="25770" actId="478"/>
          <ac:picMkLst>
            <pc:docMk/>
            <pc:sldMk cId="1076232009" sldId="913"/>
            <ac:picMk id="79" creationId="{AD80800D-EEDA-4C70-A3DB-1EAE3DB8DE13}"/>
          </ac:picMkLst>
        </pc:picChg>
        <pc:picChg chg="add mod">
          <ac:chgData name="Kisliuk, Adrian (ext)" userId="6e619ce3-2643-4cdf-9a13-b4c269650021" providerId="ADAL" clId="{AFCEEFB0-37BC-48D4-B200-D3706B2CD7FE}" dt="2021-04-28T09:16:53.693" v="26369" actId="1036"/>
          <ac:picMkLst>
            <pc:docMk/>
            <pc:sldMk cId="1076232009" sldId="913"/>
            <ac:picMk id="80" creationId="{123E8085-B244-4070-9010-0BEC0A5FD78A}"/>
          </ac:picMkLst>
        </pc:picChg>
        <pc:picChg chg="add mod">
          <ac:chgData name="Kisliuk, Adrian (ext)" userId="6e619ce3-2643-4cdf-9a13-b4c269650021" providerId="ADAL" clId="{AFCEEFB0-37BC-48D4-B200-D3706B2CD7FE}" dt="2021-04-28T09:16:53.693" v="26369" actId="1036"/>
          <ac:picMkLst>
            <pc:docMk/>
            <pc:sldMk cId="1076232009" sldId="913"/>
            <ac:picMk id="81" creationId="{9DB8377A-FC16-4A3D-BBC6-3E586B5F6B86}"/>
          </ac:picMkLst>
        </pc:picChg>
        <pc:picChg chg="add mod">
          <ac:chgData name="Kisliuk, Adrian (ext)" userId="6e619ce3-2643-4cdf-9a13-b4c269650021" providerId="ADAL" clId="{AFCEEFB0-37BC-48D4-B200-D3706B2CD7FE}" dt="2021-04-28T09:16:53.693" v="26369" actId="1036"/>
          <ac:picMkLst>
            <pc:docMk/>
            <pc:sldMk cId="1076232009" sldId="913"/>
            <ac:picMk id="82" creationId="{C55D937B-E6A6-4AFD-A743-D41A9A532BC0}"/>
          </ac:picMkLst>
        </pc:picChg>
        <pc:picChg chg="add mod">
          <ac:chgData name="Kisliuk, Adrian (ext)" userId="6e619ce3-2643-4cdf-9a13-b4c269650021" providerId="ADAL" clId="{AFCEEFB0-37BC-48D4-B200-D3706B2CD7FE}" dt="2021-04-28T09:16:53.693" v="26369" actId="1036"/>
          <ac:picMkLst>
            <pc:docMk/>
            <pc:sldMk cId="1076232009" sldId="913"/>
            <ac:picMk id="83" creationId="{99FDBE7C-D13E-4312-AC1C-44EF96C88E79}"/>
          </ac:picMkLst>
        </pc:picChg>
        <pc:picChg chg="add mod">
          <ac:chgData name="Kisliuk, Adrian (ext)" userId="6e619ce3-2643-4cdf-9a13-b4c269650021" providerId="ADAL" clId="{AFCEEFB0-37BC-48D4-B200-D3706B2CD7FE}" dt="2021-04-28T09:16:53.693" v="26369" actId="1036"/>
          <ac:picMkLst>
            <pc:docMk/>
            <pc:sldMk cId="1076232009" sldId="913"/>
            <ac:picMk id="84" creationId="{36F6AB75-622B-4C83-8FFC-6088FED90CF2}"/>
          </ac:picMkLst>
        </pc:picChg>
        <pc:picChg chg="add mod">
          <ac:chgData name="Kisliuk, Adrian (ext)" userId="6e619ce3-2643-4cdf-9a13-b4c269650021" providerId="ADAL" clId="{AFCEEFB0-37BC-48D4-B200-D3706B2CD7FE}" dt="2021-04-28T09:16:53.693" v="26369" actId="1036"/>
          <ac:picMkLst>
            <pc:docMk/>
            <pc:sldMk cId="1076232009" sldId="913"/>
            <ac:picMk id="85" creationId="{11690299-6CAA-4D9D-BE08-75B5D8F05279}"/>
          </ac:picMkLst>
        </pc:picChg>
        <pc:picChg chg="add mod">
          <ac:chgData name="Kisliuk, Adrian (ext)" userId="6e619ce3-2643-4cdf-9a13-b4c269650021" providerId="ADAL" clId="{AFCEEFB0-37BC-48D4-B200-D3706B2CD7FE}" dt="2021-04-28T09:16:53.693" v="26369" actId="1036"/>
          <ac:picMkLst>
            <pc:docMk/>
            <pc:sldMk cId="1076232009" sldId="913"/>
            <ac:picMk id="86" creationId="{92D2E2E6-575E-4353-A773-140E31A1DE28}"/>
          </ac:picMkLst>
        </pc:picChg>
        <pc:picChg chg="add mod">
          <ac:chgData name="Kisliuk, Adrian (ext)" userId="6e619ce3-2643-4cdf-9a13-b4c269650021" providerId="ADAL" clId="{AFCEEFB0-37BC-48D4-B200-D3706B2CD7FE}" dt="2021-04-28T09:16:53.693" v="26369" actId="1036"/>
          <ac:picMkLst>
            <pc:docMk/>
            <pc:sldMk cId="1076232009" sldId="913"/>
            <ac:picMk id="87" creationId="{C2690799-313D-4836-A805-52AC3CB13250}"/>
          </ac:picMkLst>
        </pc:picChg>
        <pc:picChg chg="add mod">
          <ac:chgData name="Kisliuk, Adrian (ext)" userId="6e619ce3-2643-4cdf-9a13-b4c269650021" providerId="ADAL" clId="{AFCEEFB0-37BC-48D4-B200-D3706B2CD7FE}" dt="2021-04-28T09:16:53.693" v="26369" actId="1036"/>
          <ac:picMkLst>
            <pc:docMk/>
            <pc:sldMk cId="1076232009" sldId="913"/>
            <ac:picMk id="88" creationId="{658F359B-A3B1-4DC0-9E52-CA2FE00ACF72}"/>
          </ac:picMkLst>
        </pc:picChg>
        <pc:picChg chg="add mod">
          <ac:chgData name="Kisliuk, Adrian (ext)" userId="6e619ce3-2643-4cdf-9a13-b4c269650021" providerId="ADAL" clId="{AFCEEFB0-37BC-48D4-B200-D3706B2CD7FE}" dt="2021-04-28T09:16:53.693" v="26369" actId="1036"/>
          <ac:picMkLst>
            <pc:docMk/>
            <pc:sldMk cId="1076232009" sldId="913"/>
            <ac:picMk id="89" creationId="{356D22C9-502E-439D-BEA7-4C4044C0A107}"/>
          </ac:picMkLst>
        </pc:picChg>
        <pc:picChg chg="add del mod">
          <ac:chgData name="Kisliuk, Adrian (ext)" userId="6e619ce3-2643-4cdf-9a13-b4c269650021" providerId="ADAL" clId="{AFCEEFB0-37BC-48D4-B200-D3706B2CD7FE}" dt="2021-04-28T08:21:24.082" v="25774" actId="478"/>
          <ac:picMkLst>
            <pc:docMk/>
            <pc:sldMk cId="1076232009" sldId="913"/>
            <ac:picMk id="90" creationId="{99FDCBED-F396-469E-8BD4-4E4C568E39BF}"/>
          </ac:picMkLst>
        </pc:picChg>
        <pc:picChg chg="add del mod">
          <ac:chgData name="Kisliuk, Adrian (ext)" userId="6e619ce3-2643-4cdf-9a13-b4c269650021" providerId="ADAL" clId="{AFCEEFB0-37BC-48D4-B200-D3706B2CD7FE}" dt="2021-04-28T08:21:25.033" v="25775" actId="478"/>
          <ac:picMkLst>
            <pc:docMk/>
            <pc:sldMk cId="1076232009" sldId="913"/>
            <ac:picMk id="91" creationId="{DBC07DDB-AE54-4B58-82BD-897B13DEB5EA}"/>
          </ac:picMkLst>
        </pc:picChg>
        <pc:cxnChg chg="add mod">
          <ac:chgData name="Kisliuk, Adrian (ext)" userId="6e619ce3-2643-4cdf-9a13-b4c269650021" providerId="ADAL" clId="{AFCEEFB0-37BC-48D4-B200-D3706B2CD7FE}" dt="2021-04-28T09:20:02.639" v="26536" actId="1035"/>
          <ac:cxnSpMkLst>
            <pc:docMk/>
            <pc:sldMk cId="1076232009" sldId="913"/>
            <ac:cxnSpMk id="12" creationId="{F2ABF2E3-27D0-4AFE-8C99-948118881051}"/>
          </ac:cxnSpMkLst>
        </pc:cxnChg>
        <pc:cxnChg chg="add mod">
          <ac:chgData name="Kisliuk, Adrian (ext)" userId="6e619ce3-2643-4cdf-9a13-b4c269650021" providerId="ADAL" clId="{AFCEEFB0-37BC-48D4-B200-D3706B2CD7FE}" dt="2021-04-28T09:20:02.639" v="26536" actId="1035"/>
          <ac:cxnSpMkLst>
            <pc:docMk/>
            <pc:sldMk cId="1076232009" sldId="913"/>
            <ac:cxnSpMk id="13" creationId="{FC31E06E-7B58-4FD1-A5C2-91783F7F40CD}"/>
          </ac:cxnSpMkLst>
        </pc:cxnChg>
        <pc:cxnChg chg="add mod">
          <ac:chgData name="Kisliuk, Adrian (ext)" userId="6e619ce3-2643-4cdf-9a13-b4c269650021" providerId="ADAL" clId="{AFCEEFB0-37BC-48D4-B200-D3706B2CD7FE}" dt="2021-04-28T09:20:02.639" v="26536" actId="1035"/>
          <ac:cxnSpMkLst>
            <pc:docMk/>
            <pc:sldMk cId="1076232009" sldId="913"/>
            <ac:cxnSpMk id="14" creationId="{AD008356-661D-4161-A696-89B303CAF522}"/>
          </ac:cxnSpMkLst>
        </pc:cxnChg>
        <pc:cxnChg chg="add mod">
          <ac:chgData name="Kisliuk, Adrian (ext)" userId="6e619ce3-2643-4cdf-9a13-b4c269650021" providerId="ADAL" clId="{AFCEEFB0-37BC-48D4-B200-D3706B2CD7FE}" dt="2021-04-28T09:57:42.328" v="26588" actId="14100"/>
          <ac:cxnSpMkLst>
            <pc:docMk/>
            <pc:sldMk cId="1076232009" sldId="913"/>
            <ac:cxnSpMk id="21" creationId="{9B7F3BE7-FEC0-4933-95C2-1FDB06A1A3E2}"/>
          </ac:cxnSpMkLst>
        </pc:cxnChg>
        <pc:cxnChg chg="add mod">
          <ac:chgData name="Kisliuk, Adrian (ext)" userId="6e619ce3-2643-4cdf-9a13-b4c269650021" providerId="ADAL" clId="{AFCEEFB0-37BC-48D4-B200-D3706B2CD7FE}" dt="2021-04-28T09:57:53.412" v="26590" actId="14100"/>
          <ac:cxnSpMkLst>
            <pc:docMk/>
            <pc:sldMk cId="1076232009" sldId="913"/>
            <ac:cxnSpMk id="31" creationId="{51826E0D-C41E-4B47-B303-21CEF8DCBE5D}"/>
          </ac:cxnSpMkLst>
        </pc:cxnChg>
        <pc:cxnChg chg="add mod">
          <ac:chgData name="Kisliuk, Adrian (ext)" userId="6e619ce3-2643-4cdf-9a13-b4c269650021" providerId="ADAL" clId="{AFCEEFB0-37BC-48D4-B200-D3706B2CD7FE}" dt="2021-04-28T09:16:53.693" v="26369" actId="1036"/>
          <ac:cxnSpMkLst>
            <pc:docMk/>
            <pc:sldMk cId="1076232009" sldId="913"/>
            <ac:cxnSpMk id="32" creationId="{DFD6B519-A344-4FC6-A2DA-1A53992BDCBE}"/>
          </ac:cxnSpMkLst>
        </pc:cxnChg>
        <pc:cxnChg chg="add del mod">
          <ac:chgData name="Kisliuk, Adrian (ext)" userId="6e619ce3-2643-4cdf-9a13-b4c269650021" providerId="ADAL" clId="{AFCEEFB0-37BC-48D4-B200-D3706B2CD7FE}" dt="2021-04-28T08:21:15.688" v="25769" actId="478"/>
          <ac:cxnSpMkLst>
            <pc:docMk/>
            <pc:sldMk cId="1076232009" sldId="913"/>
            <ac:cxnSpMk id="33" creationId="{832D2220-65B4-4333-BF00-2160C3A47ABA}"/>
          </ac:cxnSpMkLst>
        </pc:cxnChg>
        <pc:cxnChg chg="add del mod">
          <ac:chgData name="Kisliuk, Adrian (ext)" userId="6e619ce3-2643-4cdf-9a13-b4c269650021" providerId="ADAL" clId="{AFCEEFB0-37BC-48D4-B200-D3706B2CD7FE}" dt="2021-04-28T08:21:14.648" v="25768" actId="478"/>
          <ac:cxnSpMkLst>
            <pc:docMk/>
            <pc:sldMk cId="1076232009" sldId="913"/>
            <ac:cxnSpMk id="34" creationId="{6717C6A0-EC5B-4660-A126-F140B4FB8258}"/>
          </ac:cxnSpMkLst>
        </pc:cxnChg>
        <pc:cxnChg chg="add mod">
          <ac:chgData name="Kisliuk, Adrian (ext)" userId="6e619ce3-2643-4cdf-9a13-b4c269650021" providerId="ADAL" clId="{AFCEEFB0-37BC-48D4-B200-D3706B2CD7FE}" dt="2021-04-28T09:16:53.693" v="26369" actId="1036"/>
          <ac:cxnSpMkLst>
            <pc:docMk/>
            <pc:sldMk cId="1076232009" sldId="913"/>
            <ac:cxnSpMk id="35" creationId="{EE8BAB10-8D59-4A44-9CF2-49650B819088}"/>
          </ac:cxnSpMkLst>
        </pc:cxnChg>
        <pc:cxnChg chg="add mod">
          <ac:chgData name="Kisliuk, Adrian (ext)" userId="6e619ce3-2643-4cdf-9a13-b4c269650021" providerId="ADAL" clId="{AFCEEFB0-37BC-48D4-B200-D3706B2CD7FE}" dt="2021-04-28T09:16:53.693" v="26369" actId="1036"/>
          <ac:cxnSpMkLst>
            <pc:docMk/>
            <pc:sldMk cId="1076232009" sldId="913"/>
            <ac:cxnSpMk id="36" creationId="{B5B5AF1D-CF4E-4CCC-B6C8-019402A2DCAF}"/>
          </ac:cxnSpMkLst>
        </pc:cxnChg>
        <pc:cxnChg chg="add mod">
          <ac:chgData name="Kisliuk, Adrian (ext)" userId="6e619ce3-2643-4cdf-9a13-b4c269650021" providerId="ADAL" clId="{AFCEEFB0-37BC-48D4-B200-D3706B2CD7FE}" dt="2021-04-28T09:16:53.693" v="26369" actId="1036"/>
          <ac:cxnSpMkLst>
            <pc:docMk/>
            <pc:sldMk cId="1076232009" sldId="913"/>
            <ac:cxnSpMk id="37" creationId="{0F2B354D-BD9F-447D-835D-4E2842AD2511}"/>
          </ac:cxnSpMkLst>
        </pc:cxnChg>
        <pc:cxnChg chg="add mod">
          <ac:chgData name="Kisliuk, Adrian (ext)" userId="6e619ce3-2643-4cdf-9a13-b4c269650021" providerId="ADAL" clId="{AFCEEFB0-37BC-48D4-B200-D3706B2CD7FE}" dt="2021-04-28T09:16:53.693" v="26369" actId="1036"/>
          <ac:cxnSpMkLst>
            <pc:docMk/>
            <pc:sldMk cId="1076232009" sldId="913"/>
            <ac:cxnSpMk id="38" creationId="{5F8EE828-A05F-48A0-B769-9A2B40619A5E}"/>
          </ac:cxnSpMkLst>
        </pc:cxnChg>
        <pc:cxnChg chg="add mod">
          <ac:chgData name="Kisliuk, Adrian (ext)" userId="6e619ce3-2643-4cdf-9a13-b4c269650021" providerId="ADAL" clId="{AFCEEFB0-37BC-48D4-B200-D3706B2CD7FE}" dt="2021-04-28T09:17:45.085" v="26391" actId="14100"/>
          <ac:cxnSpMkLst>
            <pc:docMk/>
            <pc:sldMk cId="1076232009" sldId="913"/>
            <ac:cxnSpMk id="52" creationId="{2178692B-6AE8-44F9-8A93-104B7F2FB145}"/>
          </ac:cxnSpMkLst>
        </pc:cxnChg>
      </pc:sldChg>
      <pc:sldChg chg="addSp delSp modSp new del mod addCm modCm">
        <pc:chgData name="Kisliuk, Adrian (ext)" userId="6e619ce3-2643-4cdf-9a13-b4c269650021" providerId="ADAL" clId="{AFCEEFB0-37BC-48D4-B200-D3706B2CD7FE}" dt="2021-04-22T16:05:10.337" v="22709" actId="47"/>
        <pc:sldMkLst>
          <pc:docMk/>
          <pc:sldMk cId="93015771" sldId="914"/>
        </pc:sldMkLst>
        <pc:spChg chg="mod">
          <ac:chgData name="Kisliuk, Adrian (ext)" userId="6e619ce3-2643-4cdf-9a13-b4c269650021" providerId="ADAL" clId="{AFCEEFB0-37BC-48D4-B200-D3706B2CD7FE}" dt="2021-04-22T14:08:03.666" v="22629" actId="20577"/>
          <ac:spMkLst>
            <pc:docMk/>
            <pc:sldMk cId="93015771" sldId="914"/>
            <ac:spMk id="2" creationId="{A30CB9C5-1D04-4B1D-9E06-9EECBAD81A55}"/>
          </ac:spMkLst>
        </pc:spChg>
        <pc:spChg chg="del">
          <ac:chgData name="Kisliuk, Adrian (ext)" userId="6e619ce3-2643-4cdf-9a13-b4c269650021" providerId="ADAL" clId="{AFCEEFB0-37BC-48D4-B200-D3706B2CD7FE}" dt="2021-04-21T12:32:20.969" v="20452" actId="478"/>
          <ac:spMkLst>
            <pc:docMk/>
            <pc:sldMk cId="93015771" sldId="914"/>
            <ac:spMk id="3" creationId="{547F1AE6-C274-43CC-9BC8-7CC97BC4A33F}"/>
          </ac:spMkLst>
        </pc:spChg>
        <pc:spChg chg="add mod">
          <ac:chgData name="Kisliuk, Adrian (ext)" userId="6e619ce3-2643-4cdf-9a13-b4c269650021" providerId="ADAL" clId="{AFCEEFB0-37BC-48D4-B200-D3706B2CD7FE}" dt="2021-04-22T14:12:42.089" v="22642" actId="1036"/>
          <ac:spMkLst>
            <pc:docMk/>
            <pc:sldMk cId="93015771" sldId="914"/>
            <ac:spMk id="4" creationId="{6C478F80-31A9-45DC-8571-557F49B50F52}"/>
          </ac:spMkLst>
        </pc:spChg>
        <pc:spChg chg="add mod">
          <ac:chgData name="Kisliuk, Adrian (ext)" userId="6e619ce3-2643-4cdf-9a13-b4c269650021" providerId="ADAL" clId="{AFCEEFB0-37BC-48D4-B200-D3706B2CD7FE}" dt="2021-04-21T12:32:21.373" v="20453"/>
          <ac:spMkLst>
            <pc:docMk/>
            <pc:sldMk cId="93015771" sldId="914"/>
            <ac:spMk id="5" creationId="{19C23119-6B3F-4305-8AB2-66A8BEF24B4B}"/>
          </ac:spMkLst>
        </pc:spChg>
        <pc:spChg chg="add mod">
          <ac:chgData name="Kisliuk, Adrian (ext)" userId="6e619ce3-2643-4cdf-9a13-b4c269650021" providerId="ADAL" clId="{AFCEEFB0-37BC-48D4-B200-D3706B2CD7FE}" dt="2021-04-22T14:11:18.326" v="22634" actId="20577"/>
          <ac:spMkLst>
            <pc:docMk/>
            <pc:sldMk cId="93015771" sldId="914"/>
            <ac:spMk id="7" creationId="{B5DA88EF-E33B-4858-BC9E-EB4585EDB775}"/>
          </ac:spMkLst>
        </pc:spChg>
        <pc:spChg chg="add mod">
          <ac:chgData name="Kisliuk, Adrian (ext)" userId="6e619ce3-2643-4cdf-9a13-b4c269650021" providerId="ADAL" clId="{AFCEEFB0-37BC-48D4-B200-D3706B2CD7FE}" dt="2021-04-22T14:11:18.517" v="22635" actId="20577"/>
          <ac:spMkLst>
            <pc:docMk/>
            <pc:sldMk cId="93015771" sldId="914"/>
            <ac:spMk id="8" creationId="{64A0438E-37C1-4D00-8052-C1252BACE6D9}"/>
          </ac:spMkLst>
        </pc:spChg>
        <pc:spChg chg="add mod">
          <ac:chgData name="Kisliuk, Adrian (ext)" userId="6e619ce3-2643-4cdf-9a13-b4c269650021" providerId="ADAL" clId="{AFCEEFB0-37BC-48D4-B200-D3706B2CD7FE}" dt="2021-04-21T12:32:21.373" v="20453"/>
          <ac:spMkLst>
            <pc:docMk/>
            <pc:sldMk cId="93015771" sldId="914"/>
            <ac:spMk id="9" creationId="{659CCC11-AB1A-4F15-8AC6-54878824FF89}"/>
          </ac:spMkLst>
        </pc:spChg>
        <pc:spChg chg="add mod">
          <ac:chgData name="Kisliuk, Adrian (ext)" userId="6e619ce3-2643-4cdf-9a13-b4c269650021" providerId="ADAL" clId="{AFCEEFB0-37BC-48D4-B200-D3706B2CD7FE}" dt="2021-04-21T12:32:21.373" v="20453"/>
          <ac:spMkLst>
            <pc:docMk/>
            <pc:sldMk cId="93015771" sldId="914"/>
            <ac:spMk id="10" creationId="{4073AA1F-F9E5-40D8-9E97-C0734C1469FA}"/>
          </ac:spMkLst>
        </pc:spChg>
        <pc:spChg chg="add mod">
          <ac:chgData name="Kisliuk, Adrian (ext)" userId="6e619ce3-2643-4cdf-9a13-b4c269650021" providerId="ADAL" clId="{AFCEEFB0-37BC-48D4-B200-D3706B2CD7FE}" dt="2021-04-21T12:32:21.373" v="20453"/>
          <ac:spMkLst>
            <pc:docMk/>
            <pc:sldMk cId="93015771" sldId="914"/>
            <ac:spMk id="11" creationId="{7180B60B-4CF4-4FC2-8E02-82DAAA37F157}"/>
          </ac:spMkLst>
        </pc:spChg>
        <pc:spChg chg="add mod">
          <ac:chgData name="Kisliuk, Adrian (ext)" userId="6e619ce3-2643-4cdf-9a13-b4c269650021" providerId="ADAL" clId="{AFCEEFB0-37BC-48D4-B200-D3706B2CD7FE}" dt="2021-04-21T12:32:21.373" v="20453"/>
          <ac:spMkLst>
            <pc:docMk/>
            <pc:sldMk cId="93015771" sldId="914"/>
            <ac:spMk id="12" creationId="{3A0DF386-41D7-454A-9F38-CAC1CBBA491A}"/>
          </ac:spMkLst>
        </pc:spChg>
        <pc:spChg chg="add mod">
          <ac:chgData name="Kisliuk, Adrian (ext)" userId="6e619ce3-2643-4cdf-9a13-b4c269650021" providerId="ADAL" clId="{AFCEEFB0-37BC-48D4-B200-D3706B2CD7FE}" dt="2021-04-21T12:32:21.373" v="20453"/>
          <ac:spMkLst>
            <pc:docMk/>
            <pc:sldMk cId="93015771" sldId="914"/>
            <ac:spMk id="13" creationId="{E6D7FBB7-27B6-449E-A378-8A388907AE59}"/>
          </ac:spMkLst>
        </pc:spChg>
        <pc:spChg chg="add mod">
          <ac:chgData name="Kisliuk, Adrian (ext)" userId="6e619ce3-2643-4cdf-9a13-b4c269650021" providerId="ADAL" clId="{AFCEEFB0-37BC-48D4-B200-D3706B2CD7FE}" dt="2021-04-22T14:12:42.089" v="22642" actId="1036"/>
          <ac:spMkLst>
            <pc:docMk/>
            <pc:sldMk cId="93015771" sldId="914"/>
            <ac:spMk id="14" creationId="{0D263BEC-1038-4D75-869B-4D85D4C614D0}"/>
          </ac:spMkLst>
        </pc:spChg>
        <pc:spChg chg="add mod">
          <ac:chgData name="Kisliuk, Adrian (ext)" userId="6e619ce3-2643-4cdf-9a13-b4c269650021" providerId="ADAL" clId="{AFCEEFB0-37BC-48D4-B200-D3706B2CD7FE}" dt="2021-04-22T14:12:42.089" v="22642" actId="1036"/>
          <ac:spMkLst>
            <pc:docMk/>
            <pc:sldMk cId="93015771" sldId="914"/>
            <ac:spMk id="15" creationId="{7EE770AC-CD19-467B-B0AD-4F9661326345}"/>
          </ac:spMkLst>
        </pc:spChg>
        <pc:spChg chg="add mod">
          <ac:chgData name="Kisliuk, Adrian (ext)" userId="6e619ce3-2643-4cdf-9a13-b4c269650021" providerId="ADAL" clId="{AFCEEFB0-37BC-48D4-B200-D3706B2CD7FE}" dt="2021-04-22T14:12:42.089" v="22642" actId="1036"/>
          <ac:spMkLst>
            <pc:docMk/>
            <pc:sldMk cId="93015771" sldId="914"/>
            <ac:spMk id="16" creationId="{27FE5210-7723-42B9-AD85-4563B924D294}"/>
          </ac:spMkLst>
        </pc:spChg>
        <pc:spChg chg="add mod">
          <ac:chgData name="Kisliuk, Adrian (ext)" userId="6e619ce3-2643-4cdf-9a13-b4c269650021" providerId="ADAL" clId="{AFCEEFB0-37BC-48D4-B200-D3706B2CD7FE}" dt="2021-04-22T14:12:42.089" v="22642" actId="1036"/>
          <ac:spMkLst>
            <pc:docMk/>
            <pc:sldMk cId="93015771" sldId="914"/>
            <ac:spMk id="17" creationId="{8B78DD78-4CB4-46E3-970B-CF3289FE325D}"/>
          </ac:spMkLst>
        </pc:spChg>
        <pc:spChg chg="add mod">
          <ac:chgData name="Kisliuk, Adrian (ext)" userId="6e619ce3-2643-4cdf-9a13-b4c269650021" providerId="ADAL" clId="{AFCEEFB0-37BC-48D4-B200-D3706B2CD7FE}" dt="2021-04-22T14:12:42.089" v="22642" actId="1036"/>
          <ac:spMkLst>
            <pc:docMk/>
            <pc:sldMk cId="93015771" sldId="914"/>
            <ac:spMk id="18" creationId="{68EB19FE-966D-4176-ADE3-D35C825144E8}"/>
          </ac:spMkLst>
        </pc:spChg>
        <pc:spChg chg="add mod">
          <ac:chgData name="Kisliuk, Adrian (ext)" userId="6e619ce3-2643-4cdf-9a13-b4c269650021" providerId="ADAL" clId="{AFCEEFB0-37BC-48D4-B200-D3706B2CD7FE}" dt="2021-04-22T14:12:42.089" v="22642" actId="1036"/>
          <ac:spMkLst>
            <pc:docMk/>
            <pc:sldMk cId="93015771" sldId="914"/>
            <ac:spMk id="21" creationId="{B9E2C3AB-FAEE-4FBE-AD4C-A265070BB4D1}"/>
          </ac:spMkLst>
        </pc:spChg>
        <pc:spChg chg="add mod">
          <ac:chgData name="Kisliuk, Adrian (ext)" userId="6e619ce3-2643-4cdf-9a13-b4c269650021" providerId="ADAL" clId="{AFCEEFB0-37BC-48D4-B200-D3706B2CD7FE}" dt="2021-04-21T12:32:21.373" v="20453"/>
          <ac:spMkLst>
            <pc:docMk/>
            <pc:sldMk cId="93015771" sldId="914"/>
            <ac:spMk id="27" creationId="{8C5FB3E2-33BB-4DBA-AE70-840F1E9AA934}"/>
          </ac:spMkLst>
        </pc:spChg>
        <pc:spChg chg="add del mod">
          <ac:chgData name="Kisliuk, Adrian (ext)" userId="6e619ce3-2643-4cdf-9a13-b4c269650021" providerId="ADAL" clId="{AFCEEFB0-37BC-48D4-B200-D3706B2CD7FE}" dt="2021-04-22T13:40:06.206" v="22443" actId="478"/>
          <ac:spMkLst>
            <pc:docMk/>
            <pc:sldMk cId="93015771" sldId="914"/>
            <ac:spMk id="28" creationId="{718524E2-6DA4-4643-B21D-447BF6124E01}"/>
          </ac:spMkLst>
        </pc:spChg>
        <pc:spChg chg="add mod">
          <ac:chgData name="Kisliuk, Adrian (ext)" userId="6e619ce3-2643-4cdf-9a13-b4c269650021" providerId="ADAL" clId="{AFCEEFB0-37BC-48D4-B200-D3706B2CD7FE}" dt="2021-04-21T12:32:21.373" v="20453"/>
          <ac:spMkLst>
            <pc:docMk/>
            <pc:sldMk cId="93015771" sldId="914"/>
            <ac:spMk id="29" creationId="{2F99AE01-AF99-46A7-A693-68AF2548D92C}"/>
          </ac:spMkLst>
        </pc:spChg>
        <pc:spChg chg="add mod">
          <ac:chgData name="Kisliuk, Adrian (ext)" userId="6e619ce3-2643-4cdf-9a13-b4c269650021" providerId="ADAL" clId="{AFCEEFB0-37BC-48D4-B200-D3706B2CD7FE}" dt="2021-04-21T15:33:27.011" v="21751" actId="1035"/>
          <ac:spMkLst>
            <pc:docMk/>
            <pc:sldMk cId="93015771" sldId="914"/>
            <ac:spMk id="30" creationId="{B47163EB-EBD0-43BB-9412-BFB0B96B07D4}"/>
          </ac:spMkLst>
        </pc:spChg>
        <pc:spChg chg="add mod">
          <ac:chgData name="Kisliuk, Adrian (ext)" userId="6e619ce3-2643-4cdf-9a13-b4c269650021" providerId="ADAL" clId="{AFCEEFB0-37BC-48D4-B200-D3706B2CD7FE}" dt="2021-04-22T14:12:42.089" v="22642" actId="1036"/>
          <ac:spMkLst>
            <pc:docMk/>
            <pc:sldMk cId="93015771" sldId="914"/>
            <ac:spMk id="32" creationId="{3FDD295E-749F-4363-9B75-96F8B093D275}"/>
          </ac:spMkLst>
        </pc:spChg>
        <pc:spChg chg="add mod">
          <ac:chgData name="Kisliuk, Adrian (ext)" userId="6e619ce3-2643-4cdf-9a13-b4c269650021" providerId="ADAL" clId="{AFCEEFB0-37BC-48D4-B200-D3706B2CD7FE}" dt="2021-04-22T14:07:46.505" v="22618" actId="1076"/>
          <ac:spMkLst>
            <pc:docMk/>
            <pc:sldMk cId="93015771" sldId="914"/>
            <ac:spMk id="34" creationId="{17413579-92EE-436B-B3EA-1B3E54C8E3A6}"/>
          </ac:spMkLst>
        </pc:spChg>
        <pc:spChg chg="add mod">
          <ac:chgData name="Kisliuk, Adrian (ext)" userId="6e619ce3-2643-4cdf-9a13-b4c269650021" providerId="ADAL" clId="{AFCEEFB0-37BC-48D4-B200-D3706B2CD7FE}" dt="2021-04-22T14:12:42.089" v="22642" actId="1036"/>
          <ac:spMkLst>
            <pc:docMk/>
            <pc:sldMk cId="93015771" sldId="914"/>
            <ac:spMk id="35" creationId="{FC56408E-740E-4A3A-8452-FD75FD306484}"/>
          </ac:spMkLst>
        </pc:spChg>
        <pc:spChg chg="add mod">
          <ac:chgData name="Kisliuk, Adrian (ext)" userId="6e619ce3-2643-4cdf-9a13-b4c269650021" providerId="ADAL" clId="{AFCEEFB0-37BC-48D4-B200-D3706B2CD7FE}" dt="2021-04-22T14:00:28.981" v="22592" actId="20577"/>
          <ac:spMkLst>
            <pc:docMk/>
            <pc:sldMk cId="93015771" sldId="914"/>
            <ac:spMk id="60" creationId="{0B67F420-0069-4633-B2E8-511AD5B6FA68}"/>
          </ac:spMkLst>
        </pc:spChg>
        <pc:spChg chg="add mod">
          <ac:chgData name="Kisliuk, Adrian (ext)" userId="6e619ce3-2643-4cdf-9a13-b4c269650021" providerId="ADAL" clId="{AFCEEFB0-37BC-48D4-B200-D3706B2CD7FE}" dt="2021-04-22T13:45:22.218" v="22464" actId="1076"/>
          <ac:spMkLst>
            <pc:docMk/>
            <pc:sldMk cId="93015771" sldId="914"/>
            <ac:spMk id="61" creationId="{2489A030-9C8F-4E7F-815E-85147CD782C0}"/>
          </ac:spMkLst>
        </pc:spChg>
        <pc:spChg chg="add mod">
          <ac:chgData name="Kisliuk, Adrian (ext)" userId="6e619ce3-2643-4cdf-9a13-b4c269650021" providerId="ADAL" clId="{AFCEEFB0-37BC-48D4-B200-D3706B2CD7FE}" dt="2021-04-22T13:46:05.208" v="22496" actId="20577"/>
          <ac:spMkLst>
            <pc:docMk/>
            <pc:sldMk cId="93015771" sldId="914"/>
            <ac:spMk id="62" creationId="{F0E1AD20-CC60-4360-BF96-BD740B61FD77}"/>
          </ac:spMkLst>
        </pc:spChg>
        <pc:picChg chg="add mod">
          <ac:chgData name="Kisliuk, Adrian (ext)" userId="6e619ce3-2643-4cdf-9a13-b4c269650021" providerId="ADAL" clId="{AFCEEFB0-37BC-48D4-B200-D3706B2CD7FE}" dt="2021-04-22T14:12:53.349" v="22651" actId="1036"/>
          <ac:picMkLst>
            <pc:docMk/>
            <pc:sldMk cId="93015771" sldId="914"/>
            <ac:picMk id="20" creationId="{3C17EC33-9747-4789-B3D8-0898CDE1B8A2}"/>
          </ac:picMkLst>
        </pc:picChg>
        <pc:picChg chg="add mod">
          <ac:chgData name="Kisliuk, Adrian (ext)" userId="6e619ce3-2643-4cdf-9a13-b4c269650021" providerId="ADAL" clId="{AFCEEFB0-37BC-48D4-B200-D3706B2CD7FE}" dt="2021-04-22T14:12:53.349" v="22651" actId="1036"/>
          <ac:picMkLst>
            <pc:docMk/>
            <pc:sldMk cId="93015771" sldId="914"/>
            <ac:picMk id="26" creationId="{58813FB7-2948-45F9-A28E-D99B70D235C8}"/>
          </ac:picMkLst>
        </pc:picChg>
        <pc:cxnChg chg="add mod">
          <ac:chgData name="Kisliuk, Adrian (ext)" userId="6e619ce3-2643-4cdf-9a13-b4c269650021" providerId="ADAL" clId="{AFCEEFB0-37BC-48D4-B200-D3706B2CD7FE}" dt="2021-04-22T06:24:26.135" v="22173" actId="692"/>
          <ac:cxnSpMkLst>
            <pc:docMk/>
            <pc:sldMk cId="93015771" sldId="914"/>
            <ac:cxnSpMk id="6" creationId="{F5F09235-9BFD-42B2-9F0D-0673B2C53BA9}"/>
          </ac:cxnSpMkLst>
        </pc:cxnChg>
        <pc:cxnChg chg="add del mod">
          <ac:chgData name="Kisliuk, Adrian (ext)" userId="6e619ce3-2643-4cdf-9a13-b4c269650021" providerId="ADAL" clId="{AFCEEFB0-37BC-48D4-B200-D3706B2CD7FE}" dt="2021-04-22T13:33:26.890" v="22386" actId="478"/>
          <ac:cxnSpMkLst>
            <pc:docMk/>
            <pc:sldMk cId="93015771" sldId="914"/>
            <ac:cxnSpMk id="19" creationId="{B62A7470-E998-4EF0-87AF-F1BC5DCFE8D9}"/>
          </ac:cxnSpMkLst>
        </pc:cxnChg>
        <pc:cxnChg chg="add mod">
          <ac:chgData name="Kisliuk, Adrian (ext)" userId="6e619ce3-2643-4cdf-9a13-b4c269650021" providerId="ADAL" clId="{AFCEEFB0-37BC-48D4-B200-D3706B2CD7FE}" dt="2021-04-22T14:12:42.089" v="22642" actId="1036"/>
          <ac:cxnSpMkLst>
            <pc:docMk/>
            <pc:sldMk cId="93015771" sldId="914"/>
            <ac:cxnSpMk id="22" creationId="{8544B6DE-5F5D-468A-8EC9-80D4BA477067}"/>
          </ac:cxnSpMkLst>
        </pc:cxnChg>
        <pc:cxnChg chg="add mod">
          <ac:chgData name="Kisliuk, Adrian (ext)" userId="6e619ce3-2643-4cdf-9a13-b4c269650021" providerId="ADAL" clId="{AFCEEFB0-37BC-48D4-B200-D3706B2CD7FE}" dt="2021-04-22T14:12:42.089" v="22642" actId="1036"/>
          <ac:cxnSpMkLst>
            <pc:docMk/>
            <pc:sldMk cId="93015771" sldId="914"/>
            <ac:cxnSpMk id="23" creationId="{9D0B7576-9F36-4FF2-9A0E-CEFE72B65BE6}"/>
          </ac:cxnSpMkLst>
        </pc:cxnChg>
        <pc:cxnChg chg="add mod">
          <ac:chgData name="Kisliuk, Adrian (ext)" userId="6e619ce3-2643-4cdf-9a13-b4c269650021" providerId="ADAL" clId="{AFCEEFB0-37BC-48D4-B200-D3706B2CD7FE}" dt="2021-04-22T14:12:42.089" v="22642" actId="1036"/>
          <ac:cxnSpMkLst>
            <pc:docMk/>
            <pc:sldMk cId="93015771" sldId="914"/>
            <ac:cxnSpMk id="24" creationId="{8F7AEA99-66FB-4032-A1E5-522F2CB4220B}"/>
          </ac:cxnSpMkLst>
        </pc:cxnChg>
        <pc:cxnChg chg="add del mod">
          <ac:chgData name="Kisliuk, Adrian (ext)" userId="6e619ce3-2643-4cdf-9a13-b4c269650021" providerId="ADAL" clId="{AFCEEFB0-37BC-48D4-B200-D3706B2CD7FE}" dt="2021-04-22T14:11:40.949" v="22636" actId="478"/>
          <ac:cxnSpMkLst>
            <pc:docMk/>
            <pc:sldMk cId="93015771" sldId="914"/>
            <ac:cxnSpMk id="25" creationId="{8B01A895-5DDC-45BE-AD17-33B9C20D325F}"/>
          </ac:cxnSpMkLst>
        </pc:cxnChg>
        <pc:cxnChg chg="add mod">
          <ac:chgData name="Kisliuk, Adrian (ext)" userId="6e619ce3-2643-4cdf-9a13-b4c269650021" providerId="ADAL" clId="{AFCEEFB0-37BC-48D4-B200-D3706B2CD7FE}" dt="2021-04-22T14:12:42.089" v="22642" actId="1036"/>
          <ac:cxnSpMkLst>
            <pc:docMk/>
            <pc:sldMk cId="93015771" sldId="914"/>
            <ac:cxnSpMk id="31" creationId="{6AB3E61D-A014-497D-AF77-13E47C9A21CB}"/>
          </ac:cxnSpMkLst>
        </pc:cxnChg>
        <pc:cxnChg chg="add mod">
          <ac:chgData name="Kisliuk, Adrian (ext)" userId="6e619ce3-2643-4cdf-9a13-b4c269650021" providerId="ADAL" clId="{AFCEEFB0-37BC-48D4-B200-D3706B2CD7FE}" dt="2021-04-22T14:12:42.089" v="22642" actId="1036"/>
          <ac:cxnSpMkLst>
            <pc:docMk/>
            <pc:sldMk cId="93015771" sldId="914"/>
            <ac:cxnSpMk id="33" creationId="{8E982713-8233-450A-924B-AA855DEB079B}"/>
          </ac:cxnSpMkLst>
        </pc:cxnChg>
        <pc:cxnChg chg="add mod">
          <ac:chgData name="Kisliuk, Adrian (ext)" userId="6e619ce3-2643-4cdf-9a13-b4c269650021" providerId="ADAL" clId="{AFCEEFB0-37BC-48D4-B200-D3706B2CD7FE}" dt="2021-04-22T14:12:42.089" v="22642" actId="1036"/>
          <ac:cxnSpMkLst>
            <pc:docMk/>
            <pc:sldMk cId="93015771" sldId="914"/>
            <ac:cxnSpMk id="36" creationId="{AAEAD611-6A54-4BE2-998A-3636ECF86B3B}"/>
          </ac:cxnSpMkLst>
        </pc:cxnChg>
        <pc:cxnChg chg="add mod">
          <ac:chgData name="Kisliuk, Adrian (ext)" userId="6e619ce3-2643-4cdf-9a13-b4c269650021" providerId="ADAL" clId="{AFCEEFB0-37BC-48D4-B200-D3706B2CD7FE}" dt="2021-04-22T14:12:42.089" v="22642" actId="1036"/>
          <ac:cxnSpMkLst>
            <pc:docMk/>
            <pc:sldMk cId="93015771" sldId="914"/>
            <ac:cxnSpMk id="38" creationId="{0A95B66F-6716-465A-A5D7-E2927C5B36DB}"/>
          </ac:cxnSpMkLst>
        </pc:cxnChg>
        <pc:cxnChg chg="add mod">
          <ac:chgData name="Kisliuk, Adrian (ext)" userId="6e619ce3-2643-4cdf-9a13-b4c269650021" providerId="ADAL" clId="{AFCEEFB0-37BC-48D4-B200-D3706B2CD7FE}" dt="2021-04-22T14:12:42.089" v="22642" actId="1036"/>
          <ac:cxnSpMkLst>
            <pc:docMk/>
            <pc:sldMk cId="93015771" sldId="914"/>
            <ac:cxnSpMk id="41" creationId="{4F7A62BB-4A73-45E5-88BE-9CC9738EDE3C}"/>
          </ac:cxnSpMkLst>
        </pc:cxnChg>
      </pc:sldChg>
      <pc:sldChg chg="addSp delSp modSp new del mod addCm delCm chgLayout">
        <pc:chgData name="Kisliuk, Adrian (ext)" userId="6e619ce3-2643-4cdf-9a13-b4c269650021" providerId="ADAL" clId="{AFCEEFB0-37BC-48D4-B200-D3706B2CD7FE}" dt="2021-04-22T06:08:21.053" v="22110" actId="47"/>
        <pc:sldMkLst>
          <pc:docMk/>
          <pc:sldMk cId="3136537518" sldId="915"/>
        </pc:sldMkLst>
        <pc:spChg chg="add del mod ord">
          <ac:chgData name="Kisliuk, Adrian (ext)" userId="6e619ce3-2643-4cdf-9a13-b4c269650021" providerId="ADAL" clId="{AFCEEFB0-37BC-48D4-B200-D3706B2CD7FE}" dt="2021-04-21T12:45:00.992" v="20551" actId="700"/>
          <ac:spMkLst>
            <pc:docMk/>
            <pc:sldMk cId="3136537518" sldId="915"/>
            <ac:spMk id="2" creationId="{D65150D3-F609-4890-BC1A-C9935566782D}"/>
          </ac:spMkLst>
        </pc:spChg>
        <pc:spChg chg="mod ord">
          <ac:chgData name="Kisliuk, Adrian (ext)" userId="6e619ce3-2643-4cdf-9a13-b4c269650021" providerId="ADAL" clId="{AFCEEFB0-37BC-48D4-B200-D3706B2CD7FE}" dt="2021-04-22T06:01:15.140" v="22076" actId="20577"/>
          <ac:spMkLst>
            <pc:docMk/>
            <pc:sldMk cId="3136537518" sldId="915"/>
            <ac:spMk id="3" creationId="{D2710882-1DA8-468F-8A88-A523683F1827}"/>
          </ac:spMkLst>
        </pc:spChg>
        <pc:spChg chg="add del mod ord">
          <ac:chgData name="Kisliuk, Adrian (ext)" userId="6e619ce3-2643-4cdf-9a13-b4c269650021" providerId="ADAL" clId="{AFCEEFB0-37BC-48D4-B200-D3706B2CD7FE}" dt="2021-04-21T12:45:00.992" v="20551" actId="700"/>
          <ac:spMkLst>
            <pc:docMk/>
            <pc:sldMk cId="3136537518" sldId="915"/>
            <ac:spMk id="4" creationId="{F41AF86F-9E89-49BE-AE4F-539C0FE2D3AE}"/>
          </ac:spMkLst>
        </pc:spChg>
      </pc:sldChg>
      <pc:sldChg chg="addSp delSp modSp new del mod addCm modCm">
        <pc:chgData name="Kisliuk, Adrian (ext)" userId="6e619ce3-2643-4cdf-9a13-b4c269650021" providerId="ADAL" clId="{AFCEEFB0-37BC-48D4-B200-D3706B2CD7FE}" dt="2021-04-28T09:28:40.133" v="26567" actId="47"/>
        <pc:sldMkLst>
          <pc:docMk/>
          <pc:sldMk cId="3055426121" sldId="916"/>
        </pc:sldMkLst>
        <pc:spChg chg="mod">
          <ac:chgData name="Kisliuk, Adrian (ext)" userId="6e619ce3-2643-4cdf-9a13-b4c269650021" providerId="ADAL" clId="{AFCEEFB0-37BC-48D4-B200-D3706B2CD7FE}" dt="2021-04-22T06:03:15.372" v="22081" actId="20577"/>
          <ac:spMkLst>
            <pc:docMk/>
            <pc:sldMk cId="3055426121" sldId="916"/>
            <ac:spMk id="2" creationId="{C94D4F25-CE41-4A75-8631-2502B3DBF4E9}"/>
          </ac:spMkLst>
        </pc:spChg>
        <pc:spChg chg="del">
          <ac:chgData name="Kisliuk, Adrian (ext)" userId="6e619ce3-2643-4cdf-9a13-b4c269650021" providerId="ADAL" clId="{AFCEEFB0-37BC-48D4-B200-D3706B2CD7FE}" dt="2021-04-21T12:33:23.741" v="20465" actId="478"/>
          <ac:spMkLst>
            <pc:docMk/>
            <pc:sldMk cId="3055426121" sldId="916"/>
            <ac:spMk id="3" creationId="{8F97BA48-2A15-4798-B32D-8BEFDC751F18}"/>
          </ac:spMkLst>
        </pc:spChg>
        <pc:spChg chg="add del mod">
          <ac:chgData name="Kisliuk, Adrian (ext)" userId="6e619ce3-2643-4cdf-9a13-b4c269650021" providerId="ADAL" clId="{AFCEEFB0-37BC-48D4-B200-D3706B2CD7FE}" dt="2021-04-28T09:24:52.524" v="26559" actId="478"/>
          <ac:spMkLst>
            <pc:docMk/>
            <pc:sldMk cId="3055426121" sldId="916"/>
            <ac:spMk id="3" creationId="{BEC7CBDE-FD21-4D43-B616-72D227A14DDE}"/>
          </ac:spMkLst>
        </pc:spChg>
        <pc:spChg chg="add del mod">
          <ac:chgData name="Kisliuk, Adrian (ext)" userId="6e619ce3-2643-4cdf-9a13-b4c269650021" providerId="ADAL" clId="{AFCEEFB0-37BC-48D4-B200-D3706B2CD7FE}" dt="2021-04-28T09:21:32.641" v="26545" actId="478"/>
          <ac:spMkLst>
            <pc:docMk/>
            <pc:sldMk cId="3055426121" sldId="916"/>
            <ac:spMk id="38" creationId="{09AA7670-444F-44F6-AFFF-0218AB55A71B}"/>
          </ac:spMkLst>
        </pc:spChg>
        <pc:spChg chg="mod">
          <ac:chgData name="Kisliuk, Adrian (ext)" userId="6e619ce3-2643-4cdf-9a13-b4c269650021" providerId="ADAL" clId="{AFCEEFB0-37BC-48D4-B200-D3706B2CD7FE}" dt="2021-04-23T07:35:01.753" v="23240" actId="20577"/>
          <ac:spMkLst>
            <pc:docMk/>
            <pc:sldMk cId="3055426121" sldId="916"/>
            <ac:spMk id="38" creationId="{679E43BB-0D17-4897-A14B-33EA38C0E461}"/>
          </ac:spMkLst>
        </pc:spChg>
        <pc:grpChg chg="add del mod">
          <ac:chgData name="Kisliuk, Adrian (ext)" userId="6e619ce3-2643-4cdf-9a13-b4c269650021" providerId="ADAL" clId="{AFCEEFB0-37BC-48D4-B200-D3706B2CD7FE}" dt="2021-04-23T07:15:33.193" v="23128" actId="165"/>
          <ac:grpSpMkLst>
            <pc:docMk/>
            <pc:sldMk cId="3055426121" sldId="916"/>
            <ac:grpSpMk id="15" creationId="{1D89E001-8C05-4D8F-82B7-9985DEF66E9F}"/>
          </ac:grpSpMkLst>
        </pc:grpChg>
        <pc:picChg chg="add mod">
          <ac:chgData name="Kisliuk, Adrian (ext)" userId="6e619ce3-2643-4cdf-9a13-b4c269650021" providerId="ADAL" clId="{AFCEEFB0-37BC-48D4-B200-D3706B2CD7FE}" dt="2021-04-21T12:33:29.381" v="20466"/>
          <ac:picMkLst>
            <pc:docMk/>
            <pc:sldMk cId="3055426121" sldId="916"/>
            <ac:picMk id="4" creationId="{49CF8B7C-E54C-48B3-BDF5-38C591DA6DBE}"/>
          </ac:picMkLst>
        </pc:picChg>
        <pc:picChg chg="add mod">
          <ac:chgData name="Kisliuk, Adrian (ext)" userId="6e619ce3-2643-4cdf-9a13-b4c269650021" providerId="ADAL" clId="{AFCEEFB0-37BC-48D4-B200-D3706B2CD7FE}" dt="2021-04-21T12:33:29.381" v="20466"/>
          <ac:picMkLst>
            <pc:docMk/>
            <pc:sldMk cId="3055426121" sldId="916"/>
            <ac:picMk id="5" creationId="{3B6BB256-3867-4348-97C4-B32257E5B809}"/>
          </ac:picMkLst>
        </pc:picChg>
        <pc:picChg chg="add mod">
          <ac:chgData name="Kisliuk, Adrian (ext)" userId="6e619ce3-2643-4cdf-9a13-b4c269650021" providerId="ADAL" clId="{AFCEEFB0-37BC-48D4-B200-D3706B2CD7FE}" dt="2021-04-21T12:33:29.381" v="20466"/>
          <ac:picMkLst>
            <pc:docMk/>
            <pc:sldMk cId="3055426121" sldId="916"/>
            <ac:picMk id="6" creationId="{539B8FEE-A595-4CF5-B5CD-32CB3E3AD61F}"/>
          </ac:picMkLst>
        </pc:picChg>
        <pc:picChg chg="add mod">
          <ac:chgData name="Kisliuk, Adrian (ext)" userId="6e619ce3-2643-4cdf-9a13-b4c269650021" providerId="ADAL" clId="{AFCEEFB0-37BC-48D4-B200-D3706B2CD7FE}" dt="2021-04-21T12:33:29.381" v="20466"/>
          <ac:picMkLst>
            <pc:docMk/>
            <pc:sldMk cId="3055426121" sldId="916"/>
            <ac:picMk id="7" creationId="{EC5C061E-4927-4D84-B822-6847E6A0D98F}"/>
          </ac:picMkLst>
        </pc:picChg>
        <pc:picChg chg="add del mod">
          <ac:chgData name="Kisliuk, Adrian (ext)" userId="6e619ce3-2643-4cdf-9a13-b4c269650021" providerId="ADAL" clId="{AFCEEFB0-37BC-48D4-B200-D3706B2CD7FE}" dt="2021-04-28T08:46:43.308" v="26292" actId="478"/>
          <ac:picMkLst>
            <pc:docMk/>
            <pc:sldMk cId="3055426121" sldId="916"/>
            <ac:picMk id="8" creationId="{52D93AD9-B1CA-4C3B-AEC7-061BE90EDB78}"/>
          </ac:picMkLst>
        </pc:picChg>
        <pc:picChg chg="add mod">
          <ac:chgData name="Kisliuk, Adrian (ext)" userId="6e619ce3-2643-4cdf-9a13-b4c269650021" providerId="ADAL" clId="{AFCEEFB0-37BC-48D4-B200-D3706B2CD7FE}" dt="2021-04-21T12:33:29.381" v="20466"/>
          <ac:picMkLst>
            <pc:docMk/>
            <pc:sldMk cId="3055426121" sldId="916"/>
            <ac:picMk id="9" creationId="{0C3DE045-D820-4A32-B506-3440EB3A0F46}"/>
          </ac:picMkLst>
        </pc:picChg>
        <pc:picChg chg="add mod">
          <ac:chgData name="Kisliuk, Adrian (ext)" userId="6e619ce3-2643-4cdf-9a13-b4c269650021" providerId="ADAL" clId="{AFCEEFB0-37BC-48D4-B200-D3706B2CD7FE}" dt="2021-04-21T12:33:29.381" v="20466"/>
          <ac:picMkLst>
            <pc:docMk/>
            <pc:sldMk cId="3055426121" sldId="916"/>
            <ac:picMk id="10" creationId="{5C276B19-1F23-4D0C-92AD-A926E34512CF}"/>
          </ac:picMkLst>
        </pc:picChg>
        <pc:picChg chg="add mod">
          <ac:chgData name="Kisliuk, Adrian (ext)" userId="6e619ce3-2643-4cdf-9a13-b4c269650021" providerId="ADAL" clId="{AFCEEFB0-37BC-48D4-B200-D3706B2CD7FE}" dt="2021-04-21T12:33:29.381" v="20466"/>
          <ac:picMkLst>
            <pc:docMk/>
            <pc:sldMk cId="3055426121" sldId="916"/>
            <ac:picMk id="11" creationId="{A6716A9E-A547-4DE9-9101-2EAAB821352F}"/>
          </ac:picMkLst>
        </pc:picChg>
        <pc:picChg chg="add mod">
          <ac:chgData name="Kisliuk, Adrian (ext)" userId="6e619ce3-2643-4cdf-9a13-b4c269650021" providerId="ADAL" clId="{AFCEEFB0-37BC-48D4-B200-D3706B2CD7FE}" dt="2021-04-21T12:33:29.381" v="20466"/>
          <ac:picMkLst>
            <pc:docMk/>
            <pc:sldMk cId="3055426121" sldId="916"/>
            <ac:picMk id="12" creationId="{23CAC99D-B3E4-40C3-9374-121B5AC12782}"/>
          </ac:picMkLst>
        </pc:picChg>
        <pc:picChg chg="add mod">
          <ac:chgData name="Kisliuk, Adrian (ext)" userId="6e619ce3-2643-4cdf-9a13-b4c269650021" providerId="ADAL" clId="{AFCEEFB0-37BC-48D4-B200-D3706B2CD7FE}" dt="2021-04-21T12:33:29.381" v="20466"/>
          <ac:picMkLst>
            <pc:docMk/>
            <pc:sldMk cId="3055426121" sldId="916"/>
            <ac:picMk id="13" creationId="{BD147586-B2E5-447A-A249-2D78A3959E72}"/>
          </ac:picMkLst>
        </pc:picChg>
        <pc:picChg chg="add mod">
          <ac:chgData name="Kisliuk, Adrian (ext)" userId="6e619ce3-2643-4cdf-9a13-b4c269650021" providerId="ADAL" clId="{AFCEEFB0-37BC-48D4-B200-D3706B2CD7FE}" dt="2021-04-21T12:33:29.381" v="20466"/>
          <ac:picMkLst>
            <pc:docMk/>
            <pc:sldMk cId="3055426121" sldId="916"/>
            <ac:picMk id="14" creationId="{4CA51781-45DB-4FBE-8255-501EBF410C81}"/>
          </ac:picMkLst>
        </pc:picChg>
        <pc:picChg chg="add mod">
          <ac:chgData name="Kisliuk, Adrian (ext)" userId="6e619ce3-2643-4cdf-9a13-b4c269650021" providerId="ADAL" clId="{AFCEEFB0-37BC-48D4-B200-D3706B2CD7FE}" dt="2021-04-23T07:18:08.893" v="23225" actId="408"/>
          <ac:picMkLst>
            <pc:docMk/>
            <pc:sldMk cId="3055426121" sldId="916"/>
            <ac:picMk id="34" creationId="{5C9BC79D-2729-4012-BA0A-01A460F3C56D}"/>
          </ac:picMkLst>
        </pc:picChg>
        <pc:picChg chg="add del mod">
          <ac:chgData name="Kisliuk, Adrian (ext)" userId="6e619ce3-2643-4cdf-9a13-b4c269650021" providerId="ADAL" clId="{AFCEEFB0-37BC-48D4-B200-D3706B2CD7FE}" dt="2021-04-28T08:45:00.220" v="26291" actId="478"/>
          <ac:picMkLst>
            <pc:docMk/>
            <pc:sldMk cId="3055426121" sldId="916"/>
            <ac:picMk id="35" creationId="{C2C2506E-AADC-4871-981A-60B451E383E1}"/>
          </ac:picMkLst>
        </pc:picChg>
        <pc:picChg chg="add mod">
          <ac:chgData name="Kisliuk, Adrian (ext)" userId="6e619ce3-2643-4cdf-9a13-b4c269650021" providerId="ADAL" clId="{AFCEEFB0-37BC-48D4-B200-D3706B2CD7FE}" dt="2021-04-28T09:22:08.220" v="26551" actId="1076"/>
          <ac:picMkLst>
            <pc:docMk/>
            <pc:sldMk cId="3055426121" sldId="916"/>
            <ac:picMk id="36" creationId="{4DA6A423-87FB-4DA0-805A-D1197A97FA45}"/>
          </ac:picMkLst>
        </pc:picChg>
        <pc:picChg chg="add mod">
          <ac:chgData name="Kisliuk, Adrian (ext)" userId="6e619ce3-2643-4cdf-9a13-b4c269650021" providerId="ADAL" clId="{AFCEEFB0-37BC-48D4-B200-D3706B2CD7FE}" dt="2021-04-21T12:33:29.381" v="20466"/>
          <ac:picMkLst>
            <pc:docMk/>
            <pc:sldMk cId="3055426121" sldId="916"/>
            <ac:picMk id="37" creationId="{E0190BBE-9D18-420E-933A-AA6D5FECBD99}"/>
          </ac:picMkLst>
        </pc:picChg>
        <pc:picChg chg="add mod">
          <ac:chgData name="Kisliuk, Adrian (ext)" userId="6e619ce3-2643-4cdf-9a13-b4c269650021" providerId="ADAL" clId="{AFCEEFB0-37BC-48D4-B200-D3706B2CD7FE}" dt="2021-04-28T09:22:16.393" v="26552" actId="1076"/>
          <ac:picMkLst>
            <pc:docMk/>
            <pc:sldMk cId="3055426121" sldId="916"/>
            <ac:picMk id="39" creationId="{6E7F18EE-C640-446D-B316-3F80EAFE43A1}"/>
          </ac:picMkLst>
        </pc:picChg>
        <pc:picChg chg="add mod">
          <ac:chgData name="Kisliuk, Adrian (ext)" userId="6e619ce3-2643-4cdf-9a13-b4c269650021" providerId="ADAL" clId="{AFCEEFB0-37BC-48D4-B200-D3706B2CD7FE}" dt="2021-04-28T09:22:24.329" v="26555" actId="1076"/>
          <ac:picMkLst>
            <pc:docMk/>
            <pc:sldMk cId="3055426121" sldId="916"/>
            <ac:picMk id="40" creationId="{BEE92A53-0054-4B50-AD92-AC089F26E65A}"/>
          </ac:picMkLst>
        </pc:picChg>
        <pc:picChg chg="add mod">
          <ac:chgData name="Kisliuk, Adrian (ext)" userId="6e619ce3-2643-4cdf-9a13-b4c269650021" providerId="ADAL" clId="{AFCEEFB0-37BC-48D4-B200-D3706B2CD7FE}" dt="2021-04-28T09:25:22.699" v="26566" actId="1076"/>
          <ac:picMkLst>
            <pc:docMk/>
            <pc:sldMk cId="3055426121" sldId="916"/>
            <ac:picMk id="41" creationId="{2593A069-19B8-4A6D-8A28-118E7013D843}"/>
          </ac:picMkLst>
        </pc:picChg>
        <pc:cxnChg chg="mod topLvl">
          <ac:chgData name="Kisliuk, Adrian (ext)" userId="6e619ce3-2643-4cdf-9a13-b4c269650021" providerId="ADAL" clId="{AFCEEFB0-37BC-48D4-B200-D3706B2CD7FE}" dt="2021-04-23T07:15:33.193" v="23128" actId="165"/>
          <ac:cxnSpMkLst>
            <pc:docMk/>
            <pc:sldMk cId="3055426121" sldId="916"/>
            <ac:cxnSpMk id="16" creationId="{B125CA63-9C35-4A51-8970-A124CA8B2D70}"/>
          </ac:cxnSpMkLst>
        </pc:cxnChg>
        <pc:cxnChg chg="mod topLvl">
          <ac:chgData name="Kisliuk, Adrian (ext)" userId="6e619ce3-2643-4cdf-9a13-b4c269650021" providerId="ADAL" clId="{AFCEEFB0-37BC-48D4-B200-D3706B2CD7FE}" dt="2021-04-23T07:15:33.193" v="23128" actId="165"/>
          <ac:cxnSpMkLst>
            <pc:docMk/>
            <pc:sldMk cId="3055426121" sldId="916"/>
            <ac:cxnSpMk id="17" creationId="{6DF711DB-CEB6-4208-869E-9F9151EB4CEA}"/>
          </ac:cxnSpMkLst>
        </pc:cxnChg>
        <pc:cxnChg chg="mod topLvl">
          <ac:chgData name="Kisliuk, Adrian (ext)" userId="6e619ce3-2643-4cdf-9a13-b4c269650021" providerId="ADAL" clId="{AFCEEFB0-37BC-48D4-B200-D3706B2CD7FE}" dt="2021-04-23T07:15:33.193" v="23128" actId="165"/>
          <ac:cxnSpMkLst>
            <pc:docMk/>
            <pc:sldMk cId="3055426121" sldId="916"/>
            <ac:cxnSpMk id="18" creationId="{1C670DE0-3266-4DC2-B1D9-B34EE8075E8D}"/>
          </ac:cxnSpMkLst>
        </pc:cxnChg>
        <pc:cxnChg chg="mod topLvl">
          <ac:chgData name="Kisliuk, Adrian (ext)" userId="6e619ce3-2643-4cdf-9a13-b4c269650021" providerId="ADAL" clId="{AFCEEFB0-37BC-48D4-B200-D3706B2CD7FE}" dt="2021-04-23T07:15:33.193" v="23128" actId="165"/>
          <ac:cxnSpMkLst>
            <pc:docMk/>
            <pc:sldMk cId="3055426121" sldId="916"/>
            <ac:cxnSpMk id="19" creationId="{112EC8BC-625F-4F9C-AC79-7C0C2DCADB02}"/>
          </ac:cxnSpMkLst>
        </pc:cxnChg>
        <pc:cxnChg chg="mod topLvl">
          <ac:chgData name="Kisliuk, Adrian (ext)" userId="6e619ce3-2643-4cdf-9a13-b4c269650021" providerId="ADAL" clId="{AFCEEFB0-37BC-48D4-B200-D3706B2CD7FE}" dt="2021-04-23T07:15:33.193" v="23128" actId="165"/>
          <ac:cxnSpMkLst>
            <pc:docMk/>
            <pc:sldMk cId="3055426121" sldId="916"/>
            <ac:cxnSpMk id="20" creationId="{C95269D5-618F-4364-B570-4584166AE40E}"/>
          </ac:cxnSpMkLst>
        </pc:cxnChg>
        <pc:cxnChg chg="mod topLvl">
          <ac:chgData name="Kisliuk, Adrian (ext)" userId="6e619ce3-2643-4cdf-9a13-b4c269650021" providerId="ADAL" clId="{AFCEEFB0-37BC-48D4-B200-D3706B2CD7FE}" dt="2021-04-23T07:15:33.193" v="23128" actId="165"/>
          <ac:cxnSpMkLst>
            <pc:docMk/>
            <pc:sldMk cId="3055426121" sldId="916"/>
            <ac:cxnSpMk id="21" creationId="{4E745448-C1A6-46A1-BC2C-8CFCBED63B7F}"/>
          </ac:cxnSpMkLst>
        </pc:cxnChg>
        <pc:cxnChg chg="mod topLvl">
          <ac:chgData name="Kisliuk, Adrian (ext)" userId="6e619ce3-2643-4cdf-9a13-b4c269650021" providerId="ADAL" clId="{AFCEEFB0-37BC-48D4-B200-D3706B2CD7FE}" dt="2021-04-23T07:15:33.193" v="23128" actId="165"/>
          <ac:cxnSpMkLst>
            <pc:docMk/>
            <pc:sldMk cId="3055426121" sldId="916"/>
            <ac:cxnSpMk id="22" creationId="{679C8CB0-2242-4A66-A284-0C1D79D5621D}"/>
          </ac:cxnSpMkLst>
        </pc:cxnChg>
        <pc:cxnChg chg="mod topLvl">
          <ac:chgData name="Kisliuk, Adrian (ext)" userId="6e619ce3-2643-4cdf-9a13-b4c269650021" providerId="ADAL" clId="{AFCEEFB0-37BC-48D4-B200-D3706B2CD7FE}" dt="2021-04-23T07:15:33.193" v="23128" actId="165"/>
          <ac:cxnSpMkLst>
            <pc:docMk/>
            <pc:sldMk cId="3055426121" sldId="916"/>
            <ac:cxnSpMk id="23" creationId="{232B4B2B-21B0-4252-A24C-28FA3E766317}"/>
          </ac:cxnSpMkLst>
        </pc:cxnChg>
        <pc:cxnChg chg="mod topLvl">
          <ac:chgData name="Kisliuk, Adrian (ext)" userId="6e619ce3-2643-4cdf-9a13-b4c269650021" providerId="ADAL" clId="{AFCEEFB0-37BC-48D4-B200-D3706B2CD7FE}" dt="2021-04-23T07:15:33.193" v="23128" actId="165"/>
          <ac:cxnSpMkLst>
            <pc:docMk/>
            <pc:sldMk cId="3055426121" sldId="916"/>
            <ac:cxnSpMk id="24" creationId="{087D8399-D926-4098-92B3-089BEB057760}"/>
          </ac:cxnSpMkLst>
        </pc:cxnChg>
        <pc:cxnChg chg="mod topLvl">
          <ac:chgData name="Kisliuk, Adrian (ext)" userId="6e619ce3-2643-4cdf-9a13-b4c269650021" providerId="ADAL" clId="{AFCEEFB0-37BC-48D4-B200-D3706B2CD7FE}" dt="2021-04-23T07:15:33.193" v="23128" actId="165"/>
          <ac:cxnSpMkLst>
            <pc:docMk/>
            <pc:sldMk cId="3055426121" sldId="916"/>
            <ac:cxnSpMk id="25" creationId="{FD49E7C4-1DC5-4734-8513-BAAC411E26B0}"/>
          </ac:cxnSpMkLst>
        </pc:cxnChg>
        <pc:cxnChg chg="mod topLvl">
          <ac:chgData name="Kisliuk, Adrian (ext)" userId="6e619ce3-2643-4cdf-9a13-b4c269650021" providerId="ADAL" clId="{AFCEEFB0-37BC-48D4-B200-D3706B2CD7FE}" dt="2021-04-23T07:15:33.193" v="23128" actId="165"/>
          <ac:cxnSpMkLst>
            <pc:docMk/>
            <pc:sldMk cId="3055426121" sldId="916"/>
            <ac:cxnSpMk id="26" creationId="{3BFA7B82-D9B0-4BB5-B8C4-AF96A2CCAC10}"/>
          </ac:cxnSpMkLst>
        </pc:cxnChg>
        <pc:cxnChg chg="mod topLvl">
          <ac:chgData name="Kisliuk, Adrian (ext)" userId="6e619ce3-2643-4cdf-9a13-b4c269650021" providerId="ADAL" clId="{AFCEEFB0-37BC-48D4-B200-D3706B2CD7FE}" dt="2021-04-23T07:15:33.193" v="23128" actId="165"/>
          <ac:cxnSpMkLst>
            <pc:docMk/>
            <pc:sldMk cId="3055426121" sldId="916"/>
            <ac:cxnSpMk id="27" creationId="{4630B37D-F484-4718-9890-377B62F7B0C4}"/>
          </ac:cxnSpMkLst>
        </pc:cxnChg>
        <pc:cxnChg chg="mod topLvl">
          <ac:chgData name="Kisliuk, Adrian (ext)" userId="6e619ce3-2643-4cdf-9a13-b4c269650021" providerId="ADAL" clId="{AFCEEFB0-37BC-48D4-B200-D3706B2CD7FE}" dt="2021-04-23T07:15:33.193" v="23128" actId="165"/>
          <ac:cxnSpMkLst>
            <pc:docMk/>
            <pc:sldMk cId="3055426121" sldId="916"/>
            <ac:cxnSpMk id="28" creationId="{2C357A41-83C9-4091-ABA3-020AD2B0B9E9}"/>
          </ac:cxnSpMkLst>
        </pc:cxnChg>
        <pc:cxnChg chg="mod topLvl">
          <ac:chgData name="Kisliuk, Adrian (ext)" userId="6e619ce3-2643-4cdf-9a13-b4c269650021" providerId="ADAL" clId="{AFCEEFB0-37BC-48D4-B200-D3706B2CD7FE}" dt="2021-04-23T07:15:33.193" v="23128" actId="165"/>
          <ac:cxnSpMkLst>
            <pc:docMk/>
            <pc:sldMk cId="3055426121" sldId="916"/>
            <ac:cxnSpMk id="29" creationId="{16DF8319-71F3-4640-B3F1-67D2139E6E2F}"/>
          </ac:cxnSpMkLst>
        </pc:cxnChg>
        <pc:cxnChg chg="mod topLvl">
          <ac:chgData name="Kisliuk, Adrian (ext)" userId="6e619ce3-2643-4cdf-9a13-b4c269650021" providerId="ADAL" clId="{AFCEEFB0-37BC-48D4-B200-D3706B2CD7FE}" dt="2021-04-23T07:15:33.193" v="23128" actId="165"/>
          <ac:cxnSpMkLst>
            <pc:docMk/>
            <pc:sldMk cId="3055426121" sldId="916"/>
            <ac:cxnSpMk id="30" creationId="{9D0623EC-7413-461F-9C15-926DF065CAC1}"/>
          </ac:cxnSpMkLst>
        </pc:cxnChg>
        <pc:cxnChg chg="mod topLvl">
          <ac:chgData name="Kisliuk, Adrian (ext)" userId="6e619ce3-2643-4cdf-9a13-b4c269650021" providerId="ADAL" clId="{AFCEEFB0-37BC-48D4-B200-D3706B2CD7FE}" dt="2021-04-23T07:18:08.893" v="23225" actId="408"/>
          <ac:cxnSpMkLst>
            <pc:docMk/>
            <pc:sldMk cId="3055426121" sldId="916"/>
            <ac:cxnSpMk id="31" creationId="{6AC5C872-4BC2-4CD7-B1DF-5D5336BCF519}"/>
          </ac:cxnSpMkLst>
        </pc:cxnChg>
        <pc:cxnChg chg="mod topLvl">
          <ac:chgData name="Kisliuk, Adrian (ext)" userId="6e619ce3-2643-4cdf-9a13-b4c269650021" providerId="ADAL" clId="{AFCEEFB0-37BC-48D4-B200-D3706B2CD7FE}" dt="2021-04-23T07:18:08.893" v="23225" actId="408"/>
          <ac:cxnSpMkLst>
            <pc:docMk/>
            <pc:sldMk cId="3055426121" sldId="916"/>
            <ac:cxnSpMk id="32" creationId="{EFC8744E-F44E-4102-A589-8918883B1B93}"/>
          </ac:cxnSpMkLst>
        </pc:cxnChg>
        <pc:cxnChg chg="mod topLvl">
          <ac:chgData name="Kisliuk, Adrian (ext)" userId="6e619ce3-2643-4cdf-9a13-b4c269650021" providerId="ADAL" clId="{AFCEEFB0-37BC-48D4-B200-D3706B2CD7FE}" dt="2021-04-23T07:18:08.893" v="23225" actId="408"/>
          <ac:cxnSpMkLst>
            <pc:docMk/>
            <pc:sldMk cId="3055426121" sldId="916"/>
            <ac:cxnSpMk id="33" creationId="{FF6930D5-CCA4-4B29-9757-A1D015C140CB}"/>
          </ac:cxnSpMkLst>
        </pc:cxnChg>
      </pc:sldChg>
      <pc:sldChg chg="new">
        <pc:chgData name="Kisliuk, Adrian (ext)" userId="6e619ce3-2643-4cdf-9a13-b4c269650021" providerId="ADAL" clId="{AFCEEFB0-37BC-48D4-B200-D3706B2CD7FE}" dt="2021-04-21T12:34:15.404" v="20471" actId="680"/>
        <pc:sldMkLst>
          <pc:docMk/>
          <pc:sldMk cId="3672252919" sldId="917"/>
        </pc:sldMkLst>
      </pc:sldChg>
      <pc:sldChg chg="addSp modSp add del mod">
        <pc:chgData name="Kisliuk, Adrian (ext)" userId="6e619ce3-2643-4cdf-9a13-b4c269650021" providerId="ADAL" clId="{AFCEEFB0-37BC-48D4-B200-D3706B2CD7FE}" dt="2021-04-28T08:44:32.503" v="26290" actId="47"/>
        <pc:sldMkLst>
          <pc:docMk/>
          <pc:sldMk cId="2853309516" sldId="918"/>
        </pc:sldMkLst>
        <pc:spChg chg="mod">
          <ac:chgData name="Kisliuk, Adrian (ext)" userId="6e619ce3-2643-4cdf-9a13-b4c269650021" providerId="ADAL" clId="{AFCEEFB0-37BC-48D4-B200-D3706B2CD7FE}" dt="2021-04-23T05:54:51.764" v="23072" actId="207"/>
          <ac:spMkLst>
            <pc:docMk/>
            <pc:sldMk cId="2853309516" sldId="918"/>
            <ac:spMk id="7" creationId="{AA14EC2D-9CFA-45CA-9145-80AC6670CFEB}"/>
          </ac:spMkLst>
        </pc:spChg>
        <pc:spChg chg="mod">
          <ac:chgData name="Kisliuk, Adrian (ext)" userId="6e619ce3-2643-4cdf-9a13-b4c269650021" providerId="ADAL" clId="{AFCEEFB0-37BC-48D4-B200-D3706B2CD7FE}" dt="2021-04-23T05:54:51.764" v="23072" actId="207"/>
          <ac:spMkLst>
            <pc:docMk/>
            <pc:sldMk cId="2853309516" sldId="918"/>
            <ac:spMk id="8" creationId="{31775514-DCD1-49DB-AE3D-22396854241C}"/>
          </ac:spMkLst>
        </pc:spChg>
        <pc:spChg chg="mod">
          <ac:chgData name="Kisliuk, Adrian (ext)" userId="6e619ce3-2643-4cdf-9a13-b4c269650021" providerId="ADAL" clId="{AFCEEFB0-37BC-48D4-B200-D3706B2CD7FE}" dt="2021-04-23T05:54:51.764" v="23072" actId="207"/>
          <ac:spMkLst>
            <pc:docMk/>
            <pc:sldMk cId="2853309516" sldId="918"/>
            <ac:spMk id="9" creationId="{176F6CEE-79CB-4943-B4E8-E670DB6B9AA8}"/>
          </ac:spMkLst>
        </pc:spChg>
        <pc:spChg chg="mod">
          <ac:chgData name="Kisliuk, Adrian (ext)" userId="6e619ce3-2643-4cdf-9a13-b4c269650021" providerId="ADAL" clId="{AFCEEFB0-37BC-48D4-B200-D3706B2CD7FE}" dt="2021-04-23T05:54:51.764" v="23072" actId="207"/>
          <ac:spMkLst>
            <pc:docMk/>
            <pc:sldMk cId="2853309516" sldId="918"/>
            <ac:spMk id="10" creationId="{45120841-0765-48A3-A796-07DC304220A8}"/>
          </ac:spMkLst>
        </pc:spChg>
        <pc:spChg chg="mod">
          <ac:chgData name="Kisliuk, Adrian (ext)" userId="6e619ce3-2643-4cdf-9a13-b4c269650021" providerId="ADAL" clId="{AFCEEFB0-37BC-48D4-B200-D3706B2CD7FE}" dt="2021-04-23T05:54:51.764" v="23072" actId="207"/>
          <ac:spMkLst>
            <pc:docMk/>
            <pc:sldMk cId="2853309516" sldId="918"/>
            <ac:spMk id="11" creationId="{138EAB97-45FB-47DA-8D3C-FD7D85AB933E}"/>
          </ac:spMkLst>
        </pc:spChg>
        <pc:spChg chg="mod">
          <ac:chgData name="Kisliuk, Adrian (ext)" userId="6e619ce3-2643-4cdf-9a13-b4c269650021" providerId="ADAL" clId="{AFCEEFB0-37BC-48D4-B200-D3706B2CD7FE}" dt="2021-04-23T05:54:51.764" v="23072" actId="207"/>
          <ac:spMkLst>
            <pc:docMk/>
            <pc:sldMk cId="2853309516" sldId="918"/>
            <ac:spMk id="14" creationId="{31DD9616-91F2-4E06-9F8E-4CE455111413}"/>
          </ac:spMkLst>
        </pc:spChg>
        <pc:spChg chg="mod">
          <ac:chgData name="Kisliuk, Adrian (ext)" userId="6e619ce3-2643-4cdf-9a13-b4c269650021" providerId="ADAL" clId="{AFCEEFB0-37BC-48D4-B200-D3706B2CD7FE}" dt="2021-04-23T05:54:51.764" v="23072" actId="207"/>
          <ac:spMkLst>
            <pc:docMk/>
            <pc:sldMk cId="2853309516" sldId="918"/>
            <ac:spMk id="15" creationId="{5777F9A0-14B5-43A1-BCF0-286E0EB0FA21}"/>
          </ac:spMkLst>
        </pc:spChg>
        <pc:spChg chg="mod">
          <ac:chgData name="Kisliuk, Adrian (ext)" userId="6e619ce3-2643-4cdf-9a13-b4c269650021" providerId="ADAL" clId="{AFCEEFB0-37BC-48D4-B200-D3706B2CD7FE}" dt="2021-04-23T05:55:06.328" v="23074" actId="207"/>
          <ac:spMkLst>
            <pc:docMk/>
            <pc:sldMk cId="2853309516" sldId="918"/>
            <ac:spMk id="16" creationId="{AA8F3460-39C7-4224-92F7-47ED1C2F32EA}"/>
          </ac:spMkLst>
        </pc:spChg>
        <pc:spChg chg="mod">
          <ac:chgData name="Kisliuk, Adrian (ext)" userId="6e619ce3-2643-4cdf-9a13-b4c269650021" providerId="ADAL" clId="{AFCEEFB0-37BC-48D4-B200-D3706B2CD7FE}" dt="2021-04-23T05:54:51.764" v="23072" actId="207"/>
          <ac:spMkLst>
            <pc:docMk/>
            <pc:sldMk cId="2853309516" sldId="918"/>
            <ac:spMk id="17" creationId="{AB984E7F-0EAB-41CE-AE01-A6F6F7BA65D5}"/>
          </ac:spMkLst>
        </pc:spChg>
        <pc:spChg chg="mod">
          <ac:chgData name="Kisliuk, Adrian (ext)" userId="6e619ce3-2643-4cdf-9a13-b4c269650021" providerId="ADAL" clId="{AFCEEFB0-37BC-48D4-B200-D3706B2CD7FE}" dt="2021-04-23T05:54:51.764" v="23072" actId="207"/>
          <ac:spMkLst>
            <pc:docMk/>
            <pc:sldMk cId="2853309516" sldId="918"/>
            <ac:spMk id="18" creationId="{04BFCC48-F6EA-4602-9771-F09CF341109D}"/>
          </ac:spMkLst>
        </pc:spChg>
        <pc:spChg chg="mod">
          <ac:chgData name="Kisliuk, Adrian (ext)" userId="6e619ce3-2643-4cdf-9a13-b4c269650021" providerId="ADAL" clId="{AFCEEFB0-37BC-48D4-B200-D3706B2CD7FE}" dt="2021-04-23T05:54:38.134" v="23071" actId="207"/>
          <ac:spMkLst>
            <pc:docMk/>
            <pc:sldMk cId="2853309516" sldId="918"/>
            <ac:spMk id="19" creationId="{D5080E73-58BA-45F3-A133-666EE5C15A75}"/>
          </ac:spMkLst>
        </pc:spChg>
        <pc:spChg chg="mod">
          <ac:chgData name="Kisliuk, Adrian (ext)" userId="6e619ce3-2643-4cdf-9a13-b4c269650021" providerId="ADAL" clId="{AFCEEFB0-37BC-48D4-B200-D3706B2CD7FE}" dt="2021-04-23T05:54:51.764" v="23072" actId="207"/>
          <ac:spMkLst>
            <pc:docMk/>
            <pc:sldMk cId="2853309516" sldId="918"/>
            <ac:spMk id="20" creationId="{2385981D-2464-4BAE-B08F-0BFC8DE6EF44}"/>
          </ac:spMkLst>
        </pc:spChg>
        <pc:spChg chg="mod">
          <ac:chgData name="Kisliuk, Adrian (ext)" userId="6e619ce3-2643-4cdf-9a13-b4c269650021" providerId="ADAL" clId="{AFCEEFB0-37BC-48D4-B200-D3706B2CD7FE}" dt="2021-04-23T05:54:51.764" v="23072" actId="207"/>
          <ac:spMkLst>
            <pc:docMk/>
            <pc:sldMk cId="2853309516" sldId="918"/>
            <ac:spMk id="25" creationId="{87B717A7-992E-47F4-8674-D386EB504022}"/>
          </ac:spMkLst>
        </pc:spChg>
        <pc:spChg chg="mod">
          <ac:chgData name="Kisliuk, Adrian (ext)" userId="6e619ce3-2643-4cdf-9a13-b4c269650021" providerId="ADAL" clId="{AFCEEFB0-37BC-48D4-B200-D3706B2CD7FE}" dt="2021-04-23T05:54:51.764" v="23072" actId="207"/>
          <ac:spMkLst>
            <pc:docMk/>
            <pc:sldMk cId="2853309516" sldId="918"/>
            <ac:spMk id="26" creationId="{A1088F2E-CA7A-4ABC-9B9A-F4AA4CA872BE}"/>
          </ac:spMkLst>
        </pc:spChg>
        <pc:spChg chg="mod">
          <ac:chgData name="Kisliuk, Adrian (ext)" userId="6e619ce3-2643-4cdf-9a13-b4c269650021" providerId="ADAL" clId="{AFCEEFB0-37BC-48D4-B200-D3706B2CD7FE}" dt="2021-04-23T05:54:51.764" v="23072" actId="207"/>
          <ac:spMkLst>
            <pc:docMk/>
            <pc:sldMk cId="2853309516" sldId="918"/>
            <ac:spMk id="27" creationId="{74A92D2C-51A3-4E39-AE8D-322C85734819}"/>
          </ac:spMkLst>
        </pc:spChg>
        <pc:spChg chg="mod">
          <ac:chgData name="Kisliuk, Adrian (ext)" userId="6e619ce3-2643-4cdf-9a13-b4c269650021" providerId="ADAL" clId="{AFCEEFB0-37BC-48D4-B200-D3706B2CD7FE}" dt="2021-04-23T05:51:14.386" v="23040" actId="255"/>
          <ac:spMkLst>
            <pc:docMk/>
            <pc:sldMk cId="2853309516" sldId="918"/>
            <ac:spMk id="28" creationId="{37C3BFFE-FDCC-465D-A725-F4A8EBD7CB42}"/>
          </ac:spMkLst>
        </pc:spChg>
        <pc:spChg chg="mod">
          <ac:chgData name="Kisliuk, Adrian (ext)" userId="6e619ce3-2643-4cdf-9a13-b4c269650021" providerId="ADAL" clId="{AFCEEFB0-37BC-48D4-B200-D3706B2CD7FE}" dt="2021-04-23T05:50:45.939" v="23037" actId="207"/>
          <ac:spMkLst>
            <pc:docMk/>
            <pc:sldMk cId="2853309516" sldId="918"/>
            <ac:spMk id="29" creationId="{470BC2C3-779B-455E-AACA-A55065566610}"/>
          </ac:spMkLst>
        </pc:spChg>
        <pc:spChg chg="mod">
          <ac:chgData name="Kisliuk, Adrian (ext)" userId="6e619ce3-2643-4cdf-9a13-b4c269650021" providerId="ADAL" clId="{AFCEEFB0-37BC-48D4-B200-D3706B2CD7FE}" dt="2021-04-23T05:51:14.386" v="23040" actId="255"/>
          <ac:spMkLst>
            <pc:docMk/>
            <pc:sldMk cId="2853309516" sldId="918"/>
            <ac:spMk id="30" creationId="{F68A0F33-B4D2-499D-B9E3-DCF89E449C74}"/>
          </ac:spMkLst>
        </pc:spChg>
        <pc:spChg chg="mod">
          <ac:chgData name="Kisliuk, Adrian (ext)" userId="6e619ce3-2643-4cdf-9a13-b4c269650021" providerId="ADAL" clId="{AFCEEFB0-37BC-48D4-B200-D3706B2CD7FE}" dt="2021-04-23T05:54:51.764" v="23072" actId="207"/>
          <ac:spMkLst>
            <pc:docMk/>
            <pc:sldMk cId="2853309516" sldId="918"/>
            <ac:spMk id="32" creationId="{11EC086C-B9D5-4EEE-AAA4-0E59EAEE7B6C}"/>
          </ac:spMkLst>
        </pc:spChg>
        <pc:spChg chg="mod">
          <ac:chgData name="Kisliuk, Adrian (ext)" userId="6e619ce3-2643-4cdf-9a13-b4c269650021" providerId="ADAL" clId="{AFCEEFB0-37BC-48D4-B200-D3706B2CD7FE}" dt="2021-04-23T05:54:51.764" v="23072" actId="207"/>
          <ac:spMkLst>
            <pc:docMk/>
            <pc:sldMk cId="2853309516" sldId="918"/>
            <ac:spMk id="33" creationId="{4A72ACD7-26F5-413E-B4F5-9A3C0091E1F0}"/>
          </ac:spMkLst>
        </pc:spChg>
        <pc:spChg chg="mod">
          <ac:chgData name="Kisliuk, Adrian (ext)" userId="6e619ce3-2643-4cdf-9a13-b4c269650021" providerId="ADAL" clId="{AFCEEFB0-37BC-48D4-B200-D3706B2CD7FE}" dt="2021-04-23T05:54:51.764" v="23072" actId="207"/>
          <ac:spMkLst>
            <pc:docMk/>
            <pc:sldMk cId="2853309516" sldId="918"/>
            <ac:spMk id="35" creationId="{19586ECC-FE38-4284-BB8C-D29E0C8980C9}"/>
          </ac:spMkLst>
        </pc:spChg>
        <pc:spChg chg="mod">
          <ac:chgData name="Kisliuk, Adrian (ext)" userId="6e619ce3-2643-4cdf-9a13-b4c269650021" providerId="ADAL" clId="{AFCEEFB0-37BC-48D4-B200-D3706B2CD7FE}" dt="2021-04-23T05:54:51.764" v="23072" actId="207"/>
          <ac:spMkLst>
            <pc:docMk/>
            <pc:sldMk cId="2853309516" sldId="918"/>
            <ac:spMk id="36" creationId="{A588D323-616A-4ECE-A56D-406C0C223B04}"/>
          </ac:spMkLst>
        </pc:spChg>
        <pc:spChg chg="mod">
          <ac:chgData name="Kisliuk, Adrian (ext)" userId="6e619ce3-2643-4cdf-9a13-b4c269650021" providerId="ADAL" clId="{AFCEEFB0-37BC-48D4-B200-D3706B2CD7FE}" dt="2021-04-23T05:54:51.764" v="23072" actId="207"/>
          <ac:spMkLst>
            <pc:docMk/>
            <pc:sldMk cId="2853309516" sldId="918"/>
            <ac:spMk id="37" creationId="{C94B0839-56DF-4E84-B51F-DC687495CB9B}"/>
          </ac:spMkLst>
        </pc:spChg>
        <pc:spChg chg="mod">
          <ac:chgData name="Kisliuk, Adrian (ext)" userId="6e619ce3-2643-4cdf-9a13-b4c269650021" providerId="ADAL" clId="{AFCEEFB0-37BC-48D4-B200-D3706B2CD7FE}" dt="2021-04-23T05:54:51.764" v="23072" actId="207"/>
          <ac:spMkLst>
            <pc:docMk/>
            <pc:sldMk cId="2853309516" sldId="918"/>
            <ac:spMk id="38" creationId="{EA594352-32AB-406E-A3E1-2458781D4DD5}"/>
          </ac:spMkLst>
        </pc:spChg>
        <pc:spChg chg="mod">
          <ac:chgData name="Kisliuk, Adrian (ext)" userId="6e619ce3-2643-4cdf-9a13-b4c269650021" providerId="ADAL" clId="{AFCEEFB0-37BC-48D4-B200-D3706B2CD7FE}" dt="2021-04-23T05:54:51.764" v="23072" actId="207"/>
          <ac:spMkLst>
            <pc:docMk/>
            <pc:sldMk cId="2853309516" sldId="918"/>
            <ac:spMk id="39" creationId="{482CD05A-0D6A-428D-8116-01F2C776EC4E}"/>
          </ac:spMkLst>
        </pc:spChg>
        <pc:spChg chg="mod">
          <ac:chgData name="Kisliuk, Adrian (ext)" userId="6e619ce3-2643-4cdf-9a13-b4c269650021" providerId="ADAL" clId="{AFCEEFB0-37BC-48D4-B200-D3706B2CD7FE}" dt="2021-04-23T05:54:51.764" v="23072" actId="207"/>
          <ac:spMkLst>
            <pc:docMk/>
            <pc:sldMk cId="2853309516" sldId="918"/>
            <ac:spMk id="42" creationId="{BE6558E5-A057-44E4-922D-0223EE1F71A6}"/>
          </ac:spMkLst>
        </pc:spChg>
        <pc:spChg chg="mod">
          <ac:chgData name="Kisliuk, Adrian (ext)" userId="6e619ce3-2643-4cdf-9a13-b4c269650021" providerId="ADAL" clId="{AFCEEFB0-37BC-48D4-B200-D3706B2CD7FE}" dt="2021-04-23T05:54:51.764" v="23072" actId="207"/>
          <ac:spMkLst>
            <pc:docMk/>
            <pc:sldMk cId="2853309516" sldId="918"/>
            <ac:spMk id="43" creationId="{493DE65C-1633-4E87-8910-1F2F3B7FC7D6}"/>
          </ac:spMkLst>
        </pc:spChg>
        <pc:spChg chg="mod">
          <ac:chgData name="Kisliuk, Adrian (ext)" userId="6e619ce3-2643-4cdf-9a13-b4c269650021" providerId="ADAL" clId="{AFCEEFB0-37BC-48D4-B200-D3706B2CD7FE}" dt="2021-04-23T05:55:06.328" v="23074" actId="207"/>
          <ac:spMkLst>
            <pc:docMk/>
            <pc:sldMk cId="2853309516" sldId="918"/>
            <ac:spMk id="44" creationId="{960FFFBE-69FC-4C6E-B176-DDF63738DA62}"/>
          </ac:spMkLst>
        </pc:spChg>
        <pc:spChg chg="mod">
          <ac:chgData name="Kisliuk, Adrian (ext)" userId="6e619ce3-2643-4cdf-9a13-b4c269650021" providerId="ADAL" clId="{AFCEEFB0-37BC-48D4-B200-D3706B2CD7FE}" dt="2021-04-23T05:54:51.764" v="23072" actId="207"/>
          <ac:spMkLst>
            <pc:docMk/>
            <pc:sldMk cId="2853309516" sldId="918"/>
            <ac:spMk id="45" creationId="{710D111A-9120-4F8C-81FD-1EFE75312E5F}"/>
          </ac:spMkLst>
        </pc:spChg>
        <pc:spChg chg="mod">
          <ac:chgData name="Kisliuk, Adrian (ext)" userId="6e619ce3-2643-4cdf-9a13-b4c269650021" providerId="ADAL" clId="{AFCEEFB0-37BC-48D4-B200-D3706B2CD7FE}" dt="2021-04-23T05:54:51.764" v="23072" actId="207"/>
          <ac:spMkLst>
            <pc:docMk/>
            <pc:sldMk cId="2853309516" sldId="918"/>
            <ac:spMk id="46" creationId="{4A0E1D43-F9F4-4D15-8EBF-5B452606E71C}"/>
          </ac:spMkLst>
        </pc:spChg>
        <pc:spChg chg="mod">
          <ac:chgData name="Kisliuk, Adrian (ext)" userId="6e619ce3-2643-4cdf-9a13-b4c269650021" providerId="ADAL" clId="{AFCEEFB0-37BC-48D4-B200-D3706B2CD7FE}" dt="2021-04-23T05:54:38.134" v="23071" actId="207"/>
          <ac:spMkLst>
            <pc:docMk/>
            <pc:sldMk cId="2853309516" sldId="918"/>
            <ac:spMk id="47" creationId="{58F696FB-73FE-46CE-BBC0-861BF97721B2}"/>
          </ac:spMkLst>
        </pc:spChg>
        <pc:spChg chg="mod">
          <ac:chgData name="Kisliuk, Adrian (ext)" userId="6e619ce3-2643-4cdf-9a13-b4c269650021" providerId="ADAL" clId="{AFCEEFB0-37BC-48D4-B200-D3706B2CD7FE}" dt="2021-04-23T05:54:51.764" v="23072" actId="207"/>
          <ac:spMkLst>
            <pc:docMk/>
            <pc:sldMk cId="2853309516" sldId="918"/>
            <ac:spMk id="48" creationId="{95A4877B-2B04-4A34-AB74-DCCADFB9C701}"/>
          </ac:spMkLst>
        </pc:spChg>
        <pc:spChg chg="mod">
          <ac:chgData name="Kisliuk, Adrian (ext)" userId="6e619ce3-2643-4cdf-9a13-b4c269650021" providerId="ADAL" clId="{AFCEEFB0-37BC-48D4-B200-D3706B2CD7FE}" dt="2021-04-23T05:54:51.764" v="23072" actId="207"/>
          <ac:spMkLst>
            <pc:docMk/>
            <pc:sldMk cId="2853309516" sldId="918"/>
            <ac:spMk id="53" creationId="{0BC0E3F9-C611-4756-8F53-33B375C17F06}"/>
          </ac:spMkLst>
        </pc:spChg>
        <pc:spChg chg="mod">
          <ac:chgData name="Kisliuk, Adrian (ext)" userId="6e619ce3-2643-4cdf-9a13-b4c269650021" providerId="ADAL" clId="{AFCEEFB0-37BC-48D4-B200-D3706B2CD7FE}" dt="2021-04-23T05:54:51.764" v="23072" actId="207"/>
          <ac:spMkLst>
            <pc:docMk/>
            <pc:sldMk cId="2853309516" sldId="918"/>
            <ac:spMk id="54" creationId="{405CA7B9-00E2-4E53-B8B2-9A8AA95ED48C}"/>
          </ac:spMkLst>
        </pc:spChg>
        <pc:spChg chg="mod">
          <ac:chgData name="Kisliuk, Adrian (ext)" userId="6e619ce3-2643-4cdf-9a13-b4c269650021" providerId="ADAL" clId="{AFCEEFB0-37BC-48D4-B200-D3706B2CD7FE}" dt="2021-04-23T05:54:51.764" v="23072" actId="207"/>
          <ac:spMkLst>
            <pc:docMk/>
            <pc:sldMk cId="2853309516" sldId="918"/>
            <ac:spMk id="55" creationId="{F0C26FA0-757D-48B3-922E-6BEB8F09ED95}"/>
          </ac:spMkLst>
        </pc:spChg>
        <pc:spChg chg="mod">
          <ac:chgData name="Kisliuk, Adrian (ext)" userId="6e619ce3-2643-4cdf-9a13-b4c269650021" providerId="ADAL" clId="{AFCEEFB0-37BC-48D4-B200-D3706B2CD7FE}" dt="2021-04-23T05:54:51.764" v="23072" actId="207"/>
          <ac:spMkLst>
            <pc:docMk/>
            <pc:sldMk cId="2853309516" sldId="918"/>
            <ac:spMk id="56" creationId="{75C13DF5-3E5B-4C23-8A09-30E3A3667442}"/>
          </ac:spMkLst>
        </pc:spChg>
        <pc:spChg chg="mod">
          <ac:chgData name="Kisliuk, Adrian (ext)" userId="6e619ce3-2643-4cdf-9a13-b4c269650021" providerId="ADAL" clId="{AFCEEFB0-37BC-48D4-B200-D3706B2CD7FE}" dt="2021-04-23T05:54:51.764" v="23072" actId="207"/>
          <ac:spMkLst>
            <pc:docMk/>
            <pc:sldMk cId="2853309516" sldId="918"/>
            <ac:spMk id="57" creationId="{87679BC9-3FD6-469B-9247-77714755514B}"/>
          </ac:spMkLst>
        </pc:spChg>
        <pc:spChg chg="mod">
          <ac:chgData name="Kisliuk, Adrian (ext)" userId="6e619ce3-2643-4cdf-9a13-b4c269650021" providerId="ADAL" clId="{AFCEEFB0-37BC-48D4-B200-D3706B2CD7FE}" dt="2021-04-23T05:54:51.764" v="23072" actId="207"/>
          <ac:spMkLst>
            <pc:docMk/>
            <pc:sldMk cId="2853309516" sldId="918"/>
            <ac:spMk id="60" creationId="{886B4BE0-6EF6-4B5D-ADA6-D7734D0910F8}"/>
          </ac:spMkLst>
        </pc:spChg>
        <pc:spChg chg="mod">
          <ac:chgData name="Kisliuk, Adrian (ext)" userId="6e619ce3-2643-4cdf-9a13-b4c269650021" providerId="ADAL" clId="{AFCEEFB0-37BC-48D4-B200-D3706B2CD7FE}" dt="2021-04-23T05:54:51.764" v="23072" actId="207"/>
          <ac:spMkLst>
            <pc:docMk/>
            <pc:sldMk cId="2853309516" sldId="918"/>
            <ac:spMk id="61" creationId="{167097EA-05CC-4C0D-A091-9E4D9D02DAF3}"/>
          </ac:spMkLst>
        </pc:spChg>
        <pc:spChg chg="mod">
          <ac:chgData name="Kisliuk, Adrian (ext)" userId="6e619ce3-2643-4cdf-9a13-b4c269650021" providerId="ADAL" clId="{AFCEEFB0-37BC-48D4-B200-D3706B2CD7FE}" dt="2021-04-23T05:54:51.764" v="23072" actId="207"/>
          <ac:spMkLst>
            <pc:docMk/>
            <pc:sldMk cId="2853309516" sldId="918"/>
            <ac:spMk id="64" creationId="{9F5D403C-0C45-4DE0-B66C-83A6FE460AB2}"/>
          </ac:spMkLst>
        </pc:spChg>
        <pc:spChg chg="mod">
          <ac:chgData name="Kisliuk, Adrian (ext)" userId="6e619ce3-2643-4cdf-9a13-b4c269650021" providerId="ADAL" clId="{AFCEEFB0-37BC-48D4-B200-D3706B2CD7FE}" dt="2021-04-23T05:54:38.134" v="23071" actId="207"/>
          <ac:spMkLst>
            <pc:docMk/>
            <pc:sldMk cId="2853309516" sldId="918"/>
            <ac:spMk id="65" creationId="{05567C78-2019-45C7-9A1E-01609CAFEAD8}"/>
          </ac:spMkLst>
        </pc:spChg>
        <pc:spChg chg="mod">
          <ac:chgData name="Kisliuk, Adrian (ext)" userId="6e619ce3-2643-4cdf-9a13-b4c269650021" providerId="ADAL" clId="{AFCEEFB0-37BC-48D4-B200-D3706B2CD7FE}" dt="2021-04-23T05:54:38.134" v="23071" actId="207"/>
          <ac:spMkLst>
            <pc:docMk/>
            <pc:sldMk cId="2853309516" sldId="918"/>
            <ac:spMk id="66" creationId="{CFCCE3A8-C5B0-45A7-959C-222546A90D63}"/>
          </ac:spMkLst>
        </pc:spChg>
        <pc:spChg chg="mod">
          <ac:chgData name="Kisliuk, Adrian (ext)" userId="6e619ce3-2643-4cdf-9a13-b4c269650021" providerId="ADAL" clId="{AFCEEFB0-37BC-48D4-B200-D3706B2CD7FE}" dt="2021-04-23T05:54:59.526" v="23073" actId="207"/>
          <ac:spMkLst>
            <pc:docMk/>
            <pc:sldMk cId="2853309516" sldId="918"/>
            <ac:spMk id="67" creationId="{E46452FB-F9E1-4A7B-A02A-073330589355}"/>
          </ac:spMkLst>
        </pc:spChg>
        <pc:spChg chg="mod">
          <ac:chgData name="Kisliuk, Adrian (ext)" userId="6e619ce3-2643-4cdf-9a13-b4c269650021" providerId="ADAL" clId="{AFCEEFB0-37BC-48D4-B200-D3706B2CD7FE}" dt="2021-04-23T05:54:51.764" v="23072" actId="207"/>
          <ac:spMkLst>
            <pc:docMk/>
            <pc:sldMk cId="2853309516" sldId="918"/>
            <ac:spMk id="68" creationId="{A8007179-9EE4-4353-B6A6-B9F66E9E7FD7}"/>
          </ac:spMkLst>
        </pc:spChg>
        <pc:grpChg chg="add mod">
          <ac:chgData name="Kisliuk, Adrian (ext)" userId="6e619ce3-2643-4cdf-9a13-b4c269650021" providerId="ADAL" clId="{AFCEEFB0-37BC-48D4-B200-D3706B2CD7FE}" dt="2021-04-23T05:52:46.994" v="23046" actId="164"/>
          <ac:grpSpMkLst>
            <pc:docMk/>
            <pc:sldMk cId="2853309516" sldId="918"/>
            <ac:grpSpMk id="3" creationId="{CA9C198A-8DA9-4456-8A8E-B0F4F2B4C673}"/>
          </ac:grpSpMkLst>
        </pc:grpChg>
        <pc:grpChg chg="mod">
          <ac:chgData name="Kisliuk, Adrian (ext)" userId="6e619ce3-2643-4cdf-9a13-b4c269650021" providerId="ADAL" clId="{AFCEEFB0-37BC-48D4-B200-D3706B2CD7FE}" dt="2021-04-23T05:52:46.994" v="23046" actId="164"/>
          <ac:grpSpMkLst>
            <pc:docMk/>
            <pc:sldMk cId="2853309516" sldId="918"/>
            <ac:grpSpMk id="21" creationId="{E79DD6BF-1999-4691-B943-D0436BA38C4D}"/>
          </ac:grpSpMkLst>
        </pc:grpChg>
        <pc:grpChg chg="mod">
          <ac:chgData name="Kisliuk, Adrian (ext)" userId="6e619ce3-2643-4cdf-9a13-b4c269650021" providerId="ADAL" clId="{AFCEEFB0-37BC-48D4-B200-D3706B2CD7FE}" dt="2021-04-23T05:52:46.994" v="23046" actId="164"/>
          <ac:grpSpMkLst>
            <pc:docMk/>
            <pc:sldMk cId="2853309516" sldId="918"/>
            <ac:grpSpMk id="49" creationId="{95B3AB2C-2FD8-42A4-A342-B4A032CA294C}"/>
          </ac:grpSpMkLst>
        </pc:grpChg>
        <pc:cxnChg chg="mod">
          <ac:chgData name="Kisliuk, Adrian (ext)" userId="6e619ce3-2643-4cdf-9a13-b4c269650021" providerId="ADAL" clId="{AFCEEFB0-37BC-48D4-B200-D3706B2CD7FE}" dt="2021-04-23T05:52:46.994" v="23046" actId="164"/>
          <ac:cxnSpMkLst>
            <pc:docMk/>
            <pc:sldMk cId="2853309516" sldId="918"/>
            <ac:cxnSpMk id="12" creationId="{5EDD69B0-B1E6-4BA8-B1BF-DCE1A876C86F}"/>
          </ac:cxnSpMkLst>
        </pc:cxnChg>
        <pc:cxnChg chg="mod">
          <ac:chgData name="Kisliuk, Adrian (ext)" userId="6e619ce3-2643-4cdf-9a13-b4c269650021" providerId="ADAL" clId="{AFCEEFB0-37BC-48D4-B200-D3706B2CD7FE}" dt="2021-04-23T05:52:46.994" v="23046" actId="164"/>
          <ac:cxnSpMkLst>
            <pc:docMk/>
            <pc:sldMk cId="2853309516" sldId="918"/>
            <ac:cxnSpMk id="13" creationId="{36F12CD6-4A80-45D4-992B-2BFF95F593D6}"/>
          </ac:cxnSpMkLst>
        </pc:cxnChg>
        <pc:cxnChg chg="mod">
          <ac:chgData name="Kisliuk, Adrian (ext)" userId="6e619ce3-2643-4cdf-9a13-b4c269650021" providerId="ADAL" clId="{AFCEEFB0-37BC-48D4-B200-D3706B2CD7FE}" dt="2021-04-23T05:52:46.994" v="23046" actId="164"/>
          <ac:cxnSpMkLst>
            <pc:docMk/>
            <pc:sldMk cId="2853309516" sldId="918"/>
            <ac:cxnSpMk id="31" creationId="{67090742-4436-4766-AF74-B9D3DC68D06B}"/>
          </ac:cxnSpMkLst>
        </pc:cxnChg>
        <pc:cxnChg chg="mod">
          <ac:chgData name="Kisliuk, Adrian (ext)" userId="6e619ce3-2643-4cdf-9a13-b4c269650021" providerId="ADAL" clId="{AFCEEFB0-37BC-48D4-B200-D3706B2CD7FE}" dt="2021-04-23T05:52:46.994" v="23046" actId="164"/>
          <ac:cxnSpMkLst>
            <pc:docMk/>
            <pc:sldMk cId="2853309516" sldId="918"/>
            <ac:cxnSpMk id="40" creationId="{24341C7E-EFC6-4C83-9708-CA155B8F2C24}"/>
          </ac:cxnSpMkLst>
        </pc:cxnChg>
        <pc:cxnChg chg="mod">
          <ac:chgData name="Kisliuk, Adrian (ext)" userId="6e619ce3-2643-4cdf-9a13-b4c269650021" providerId="ADAL" clId="{AFCEEFB0-37BC-48D4-B200-D3706B2CD7FE}" dt="2021-04-23T05:52:46.994" v="23046" actId="164"/>
          <ac:cxnSpMkLst>
            <pc:docMk/>
            <pc:sldMk cId="2853309516" sldId="918"/>
            <ac:cxnSpMk id="41" creationId="{4B06AB27-E8CB-4353-BEFC-9A0034019A1E}"/>
          </ac:cxnSpMkLst>
        </pc:cxnChg>
        <pc:cxnChg chg="mod">
          <ac:chgData name="Kisliuk, Adrian (ext)" userId="6e619ce3-2643-4cdf-9a13-b4c269650021" providerId="ADAL" clId="{AFCEEFB0-37BC-48D4-B200-D3706B2CD7FE}" dt="2021-04-23T05:52:46.994" v="23046" actId="164"/>
          <ac:cxnSpMkLst>
            <pc:docMk/>
            <pc:sldMk cId="2853309516" sldId="918"/>
            <ac:cxnSpMk id="58" creationId="{974B35D4-167F-4835-B4DE-C051D83D680B}"/>
          </ac:cxnSpMkLst>
        </pc:cxnChg>
        <pc:cxnChg chg="mod">
          <ac:chgData name="Kisliuk, Adrian (ext)" userId="6e619ce3-2643-4cdf-9a13-b4c269650021" providerId="ADAL" clId="{AFCEEFB0-37BC-48D4-B200-D3706B2CD7FE}" dt="2021-04-23T05:52:46.994" v="23046" actId="164"/>
          <ac:cxnSpMkLst>
            <pc:docMk/>
            <pc:sldMk cId="2853309516" sldId="918"/>
            <ac:cxnSpMk id="59" creationId="{33A11F75-40F6-4F57-B870-007341E8DF89}"/>
          </ac:cxnSpMkLst>
        </pc:cxnChg>
        <pc:cxnChg chg="mod">
          <ac:chgData name="Kisliuk, Adrian (ext)" userId="6e619ce3-2643-4cdf-9a13-b4c269650021" providerId="ADAL" clId="{AFCEEFB0-37BC-48D4-B200-D3706B2CD7FE}" dt="2021-04-23T05:52:46.994" v="23046" actId="164"/>
          <ac:cxnSpMkLst>
            <pc:docMk/>
            <pc:sldMk cId="2853309516" sldId="918"/>
            <ac:cxnSpMk id="62" creationId="{313C0A8F-5250-4157-BEE5-87D6324A7AC8}"/>
          </ac:cxnSpMkLst>
        </pc:cxnChg>
        <pc:cxnChg chg="mod">
          <ac:chgData name="Kisliuk, Adrian (ext)" userId="6e619ce3-2643-4cdf-9a13-b4c269650021" providerId="ADAL" clId="{AFCEEFB0-37BC-48D4-B200-D3706B2CD7FE}" dt="2021-04-23T05:52:46.994" v="23046" actId="164"/>
          <ac:cxnSpMkLst>
            <pc:docMk/>
            <pc:sldMk cId="2853309516" sldId="918"/>
            <ac:cxnSpMk id="69" creationId="{8BEF8AEB-4E49-41DB-BF30-C4784B950AC7}"/>
          </ac:cxnSpMkLst>
        </pc:cxnChg>
      </pc:sldChg>
      <pc:sldChg chg="addSp delSp modSp add del mod ord addCm delCm modCm">
        <pc:chgData name="Kisliuk, Adrian (ext)" userId="6e619ce3-2643-4cdf-9a13-b4c269650021" providerId="ADAL" clId="{AFCEEFB0-37BC-48D4-B200-D3706B2CD7FE}" dt="2021-04-28T09:41:55.130" v="26569" actId="47"/>
        <pc:sldMkLst>
          <pc:docMk/>
          <pc:sldMk cId="2545986200" sldId="919"/>
        </pc:sldMkLst>
        <pc:spChg chg="mod">
          <ac:chgData name="Kisliuk, Adrian (ext)" userId="6e619ce3-2643-4cdf-9a13-b4c269650021" providerId="ADAL" clId="{AFCEEFB0-37BC-48D4-B200-D3706B2CD7FE}" dt="2021-04-28T08:16:40.392" v="25722" actId="948"/>
          <ac:spMkLst>
            <pc:docMk/>
            <pc:sldMk cId="2545986200" sldId="919"/>
            <ac:spMk id="2" creationId="{69A07231-9C27-4042-A176-76F50926ECA4}"/>
          </ac:spMkLst>
        </pc:spChg>
        <pc:spChg chg="del mod">
          <ac:chgData name="Kisliuk, Adrian (ext)" userId="6e619ce3-2643-4cdf-9a13-b4c269650021" providerId="ADAL" clId="{AFCEEFB0-37BC-48D4-B200-D3706B2CD7FE}" dt="2021-04-28T08:16:58.032" v="25763" actId="478"/>
          <ac:spMkLst>
            <pc:docMk/>
            <pc:sldMk cId="2545986200" sldId="919"/>
            <ac:spMk id="3" creationId="{1EE9539B-EC67-43B0-A350-9DCF1A53E928}"/>
          </ac:spMkLst>
        </pc:spChg>
        <pc:spChg chg="mod">
          <ac:chgData name="Kisliuk, Adrian (ext)" userId="6e619ce3-2643-4cdf-9a13-b4c269650021" providerId="ADAL" clId="{AFCEEFB0-37BC-48D4-B200-D3706B2CD7FE}" dt="2021-04-28T08:15:26.224" v="25440" actId="1076"/>
          <ac:spMkLst>
            <pc:docMk/>
            <pc:sldMk cId="2545986200" sldId="919"/>
            <ac:spMk id="4" creationId="{6854494A-9B61-4119-832A-FD344B839FE8}"/>
          </ac:spMkLst>
        </pc:spChg>
        <pc:spChg chg="mod">
          <ac:chgData name="Kisliuk, Adrian (ext)" userId="6e619ce3-2643-4cdf-9a13-b4c269650021" providerId="ADAL" clId="{AFCEEFB0-37BC-48D4-B200-D3706B2CD7FE}" dt="2021-04-28T08:15:26.224" v="25440" actId="1076"/>
          <ac:spMkLst>
            <pc:docMk/>
            <pc:sldMk cId="2545986200" sldId="919"/>
            <ac:spMk id="5" creationId="{D5365CAD-8EA1-44E4-99C2-D4CDAF080CB2}"/>
          </ac:spMkLst>
        </pc:spChg>
        <pc:spChg chg="mod">
          <ac:chgData name="Kisliuk, Adrian (ext)" userId="6e619ce3-2643-4cdf-9a13-b4c269650021" providerId="ADAL" clId="{AFCEEFB0-37BC-48D4-B200-D3706B2CD7FE}" dt="2021-04-28T08:15:26.224" v="25440" actId="1076"/>
          <ac:spMkLst>
            <pc:docMk/>
            <pc:sldMk cId="2545986200" sldId="919"/>
            <ac:spMk id="6" creationId="{9C097A11-B5F1-4C73-A808-D496E64B9BBD}"/>
          </ac:spMkLst>
        </pc:spChg>
        <pc:spChg chg="add del mod modVis">
          <ac:chgData name="Kisliuk, Adrian (ext)" userId="6e619ce3-2643-4cdf-9a13-b4c269650021" providerId="ADAL" clId="{AFCEEFB0-37BC-48D4-B200-D3706B2CD7FE}" dt="2021-04-24T20:06:53.710" v="23305"/>
          <ac:spMkLst>
            <pc:docMk/>
            <pc:sldMk cId="2545986200" sldId="919"/>
            <ac:spMk id="7" creationId="{218EDC26-1EEE-4EE9-BBCE-051BE0AE57F7}"/>
          </ac:spMkLst>
        </pc:spChg>
        <pc:spChg chg="add del mod modVis">
          <ac:chgData name="Kisliuk, Adrian (ext)" userId="6e619ce3-2643-4cdf-9a13-b4c269650021" providerId="ADAL" clId="{AFCEEFB0-37BC-48D4-B200-D3706B2CD7FE}" dt="2021-04-25T07:50:12.424" v="25012" actId="962"/>
          <ac:spMkLst>
            <pc:docMk/>
            <pc:sldMk cId="2545986200" sldId="919"/>
            <ac:spMk id="7" creationId="{4B0F5B48-30CB-41B3-ACA2-4B11043F41DA}"/>
          </ac:spMkLst>
        </pc:spChg>
        <pc:spChg chg="add del mod modVis">
          <ac:chgData name="Kisliuk, Adrian (ext)" userId="6e619ce3-2643-4cdf-9a13-b4c269650021" providerId="ADAL" clId="{AFCEEFB0-37BC-48D4-B200-D3706B2CD7FE}" dt="2021-04-25T07:40:28.820" v="24912"/>
          <ac:spMkLst>
            <pc:docMk/>
            <pc:sldMk cId="2545986200" sldId="919"/>
            <ac:spMk id="7" creationId="{60DB6F15-5177-43C5-B442-F21923243FA2}"/>
          </ac:spMkLst>
        </pc:spChg>
        <pc:spChg chg="add del mod modVis">
          <ac:chgData name="Kisliuk, Adrian (ext)" userId="6e619ce3-2643-4cdf-9a13-b4c269650021" providerId="ADAL" clId="{AFCEEFB0-37BC-48D4-B200-D3706B2CD7FE}" dt="2021-04-28T08:07:50.717" v="25336"/>
          <ac:spMkLst>
            <pc:docMk/>
            <pc:sldMk cId="2545986200" sldId="919"/>
            <ac:spMk id="7" creationId="{6E209D42-AD26-46E6-8F5D-B6D8154ED215}"/>
          </ac:spMkLst>
        </pc:spChg>
        <pc:spChg chg="del">
          <ac:chgData name="Kisliuk, Adrian (ext)" userId="6e619ce3-2643-4cdf-9a13-b4c269650021" providerId="ADAL" clId="{AFCEEFB0-37BC-48D4-B200-D3706B2CD7FE}" dt="2021-04-21T12:53:38.583" v="20719" actId="478"/>
          <ac:spMkLst>
            <pc:docMk/>
            <pc:sldMk cId="2545986200" sldId="919"/>
            <ac:spMk id="7" creationId="{AA14EC2D-9CFA-45CA-9145-80AC6670CFEB}"/>
          </ac:spMkLst>
        </pc:spChg>
        <pc:spChg chg="del">
          <ac:chgData name="Kisliuk, Adrian (ext)" userId="6e619ce3-2643-4cdf-9a13-b4c269650021" providerId="ADAL" clId="{AFCEEFB0-37BC-48D4-B200-D3706B2CD7FE}" dt="2021-04-21T12:53:38.583" v="20719" actId="478"/>
          <ac:spMkLst>
            <pc:docMk/>
            <pc:sldMk cId="2545986200" sldId="919"/>
            <ac:spMk id="8" creationId="{31775514-DCD1-49DB-AE3D-22396854241C}"/>
          </ac:spMkLst>
        </pc:spChg>
        <pc:spChg chg="del">
          <ac:chgData name="Kisliuk, Adrian (ext)" userId="6e619ce3-2643-4cdf-9a13-b4c269650021" providerId="ADAL" clId="{AFCEEFB0-37BC-48D4-B200-D3706B2CD7FE}" dt="2021-04-21T12:53:38.583" v="20719" actId="478"/>
          <ac:spMkLst>
            <pc:docMk/>
            <pc:sldMk cId="2545986200" sldId="919"/>
            <ac:spMk id="9" creationId="{176F6CEE-79CB-4943-B4E8-E670DB6B9AA8}"/>
          </ac:spMkLst>
        </pc:spChg>
        <pc:spChg chg="add del mod modVis">
          <ac:chgData name="Kisliuk, Adrian (ext)" userId="6e619ce3-2643-4cdf-9a13-b4c269650021" providerId="ADAL" clId="{AFCEEFB0-37BC-48D4-B200-D3706B2CD7FE}" dt="2021-04-25T09:06:18.804" v="25055"/>
          <ac:spMkLst>
            <pc:docMk/>
            <pc:sldMk cId="2545986200" sldId="919"/>
            <ac:spMk id="9" creationId="{1BA8A173-6AE5-4004-BE7C-DDDCA6E2F860}"/>
          </ac:spMkLst>
        </pc:spChg>
        <pc:spChg chg="add del mod modVis">
          <ac:chgData name="Kisliuk, Adrian (ext)" userId="6e619ce3-2643-4cdf-9a13-b4c269650021" providerId="ADAL" clId="{AFCEEFB0-37BC-48D4-B200-D3706B2CD7FE}" dt="2021-04-28T08:16:12.211" v="25487"/>
          <ac:spMkLst>
            <pc:docMk/>
            <pc:sldMk cId="2545986200" sldId="919"/>
            <ac:spMk id="9" creationId="{E4243363-D92E-4DE6-A52D-28EE3D2381E4}"/>
          </ac:spMkLst>
        </pc:spChg>
        <pc:spChg chg="add del mod modVis">
          <ac:chgData name="Kisliuk, Adrian (ext)" userId="6e619ce3-2643-4cdf-9a13-b4c269650021" providerId="ADAL" clId="{AFCEEFB0-37BC-48D4-B200-D3706B2CD7FE}" dt="2021-04-24T20:06:56.476" v="23359"/>
          <ac:spMkLst>
            <pc:docMk/>
            <pc:sldMk cId="2545986200" sldId="919"/>
            <ac:spMk id="9" creationId="{ED57ECCF-A0A9-4D02-B28C-B9706CF3F587}"/>
          </ac:spMkLst>
        </pc:spChg>
        <pc:spChg chg="add del mod modVis">
          <ac:chgData name="Kisliuk, Adrian (ext)" userId="6e619ce3-2643-4cdf-9a13-b4c269650021" providerId="ADAL" clId="{AFCEEFB0-37BC-48D4-B200-D3706B2CD7FE}" dt="2021-04-25T09:06:20.574" v="25099"/>
          <ac:spMkLst>
            <pc:docMk/>
            <pc:sldMk cId="2545986200" sldId="919"/>
            <ac:spMk id="10" creationId="{354EB827-F007-4D9A-9E45-C6C1178B9A78}"/>
          </ac:spMkLst>
        </pc:spChg>
        <pc:spChg chg="del">
          <ac:chgData name="Kisliuk, Adrian (ext)" userId="6e619ce3-2643-4cdf-9a13-b4c269650021" providerId="ADAL" clId="{AFCEEFB0-37BC-48D4-B200-D3706B2CD7FE}" dt="2021-04-21T12:53:38.583" v="20719" actId="478"/>
          <ac:spMkLst>
            <pc:docMk/>
            <pc:sldMk cId="2545986200" sldId="919"/>
            <ac:spMk id="10" creationId="{45120841-0765-48A3-A796-07DC304220A8}"/>
          </ac:spMkLst>
        </pc:spChg>
        <pc:spChg chg="add del mod modVis">
          <ac:chgData name="Kisliuk, Adrian (ext)" userId="6e619ce3-2643-4cdf-9a13-b4c269650021" providerId="ADAL" clId="{AFCEEFB0-37BC-48D4-B200-D3706B2CD7FE}" dt="2021-04-28T08:16:15.349" v="25530"/>
          <ac:spMkLst>
            <pc:docMk/>
            <pc:sldMk cId="2545986200" sldId="919"/>
            <ac:spMk id="10" creationId="{53923F48-B1A1-4D11-B6F9-CBB4F604B9C3}"/>
          </ac:spMkLst>
        </pc:spChg>
        <pc:spChg chg="add del mod modVis">
          <ac:chgData name="Kisliuk, Adrian (ext)" userId="6e619ce3-2643-4cdf-9a13-b4c269650021" providerId="ADAL" clId="{AFCEEFB0-37BC-48D4-B200-D3706B2CD7FE}" dt="2021-04-24T20:06:57.359" v="23400"/>
          <ac:spMkLst>
            <pc:docMk/>
            <pc:sldMk cId="2545986200" sldId="919"/>
            <ac:spMk id="10" creationId="{C31CDDD6-1CFE-442D-A931-D8595B9E8FD6}"/>
          </ac:spMkLst>
        </pc:spChg>
        <pc:spChg chg="del">
          <ac:chgData name="Kisliuk, Adrian (ext)" userId="6e619ce3-2643-4cdf-9a13-b4c269650021" providerId="ADAL" clId="{AFCEEFB0-37BC-48D4-B200-D3706B2CD7FE}" dt="2021-04-21T12:53:38.583" v="20719" actId="478"/>
          <ac:spMkLst>
            <pc:docMk/>
            <pc:sldMk cId="2545986200" sldId="919"/>
            <ac:spMk id="11" creationId="{138EAB97-45FB-47DA-8D3C-FD7D85AB933E}"/>
          </ac:spMkLst>
        </pc:spChg>
        <pc:spChg chg="add del mod modVis">
          <ac:chgData name="Kisliuk, Adrian (ext)" userId="6e619ce3-2643-4cdf-9a13-b4c269650021" providerId="ADAL" clId="{AFCEEFB0-37BC-48D4-B200-D3706B2CD7FE}" dt="2021-04-28T08:16:33.854" v="25573"/>
          <ac:spMkLst>
            <pc:docMk/>
            <pc:sldMk cId="2545986200" sldId="919"/>
            <ac:spMk id="11" creationId="{7765EFBE-6835-497C-9042-9D235C8BE8B7}"/>
          </ac:spMkLst>
        </pc:spChg>
        <pc:spChg chg="add del mod modVis">
          <ac:chgData name="Kisliuk, Adrian (ext)" userId="6e619ce3-2643-4cdf-9a13-b4c269650021" providerId="ADAL" clId="{AFCEEFB0-37BC-48D4-B200-D3706B2CD7FE}" dt="2021-04-25T19:02:05.541" v="25140"/>
          <ac:spMkLst>
            <pc:docMk/>
            <pc:sldMk cId="2545986200" sldId="919"/>
            <ac:spMk id="11" creationId="{779BCA09-8E54-46B6-8100-3AB3CE22951F}"/>
          </ac:spMkLst>
        </pc:spChg>
        <pc:spChg chg="add del mod modVis">
          <ac:chgData name="Kisliuk, Adrian (ext)" userId="6e619ce3-2643-4cdf-9a13-b4c269650021" providerId="ADAL" clId="{AFCEEFB0-37BC-48D4-B200-D3706B2CD7FE}" dt="2021-04-24T20:07:07.562" v="23444"/>
          <ac:spMkLst>
            <pc:docMk/>
            <pc:sldMk cId="2545986200" sldId="919"/>
            <ac:spMk id="11" creationId="{BF72BD07-0322-4BE9-9EFC-B25D3EF2FDB3}"/>
          </ac:spMkLst>
        </pc:spChg>
        <pc:spChg chg="add del mod modVis">
          <ac:chgData name="Kisliuk, Adrian (ext)" userId="6e619ce3-2643-4cdf-9a13-b4c269650021" providerId="ADAL" clId="{AFCEEFB0-37BC-48D4-B200-D3706B2CD7FE}" dt="2021-04-28T08:16:35.374" v="25620"/>
          <ac:spMkLst>
            <pc:docMk/>
            <pc:sldMk cId="2545986200" sldId="919"/>
            <ac:spMk id="12" creationId="{31A1C85B-7140-4691-9104-FB10FF5DF7BB}"/>
          </ac:spMkLst>
        </pc:spChg>
        <pc:spChg chg="add del mod modVis">
          <ac:chgData name="Kisliuk, Adrian (ext)" userId="6e619ce3-2643-4cdf-9a13-b4c269650021" providerId="ADAL" clId="{AFCEEFB0-37BC-48D4-B200-D3706B2CD7FE}" dt="2021-04-24T20:11:20.662" v="23485"/>
          <ac:spMkLst>
            <pc:docMk/>
            <pc:sldMk cId="2545986200" sldId="919"/>
            <ac:spMk id="12" creationId="{EC27EB3F-A59F-44E8-B033-2CF13401FCFC}"/>
          </ac:spMkLst>
        </pc:spChg>
        <pc:spChg chg="add del mod modVis">
          <ac:chgData name="Kisliuk, Adrian (ext)" userId="6e619ce3-2643-4cdf-9a13-b4c269650021" providerId="ADAL" clId="{AFCEEFB0-37BC-48D4-B200-D3706B2CD7FE}" dt="2021-04-24T20:11:24.103" v="23526"/>
          <ac:spMkLst>
            <pc:docMk/>
            <pc:sldMk cId="2545986200" sldId="919"/>
            <ac:spMk id="13" creationId="{1EEB912A-7F1C-43D4-9351-6BDA1AF5A918}"/>
          </ac:spMkLst>
        </pc:spChg>
        <pc:spChg chg="add del mod modVis">
          <ac:chgData name="Kisliuk, Adrian (ext)" userId="6e619ce3-2643-4cdf-9a13-b4c269650021" providerId="ADAL" clId="{AFCEEFB0-37BC-48D4-B200-D3706B2CD7FE}" dt="2021-04-28T08:16:37.558" v="25668"/>
          <ac:spMkLst>
            <pc:docMk/>
            <pc:sldMk cId="2545986200" sldId="919"/>
            <ac:spMk id="13" creationId="{26FA36C6-7BF5-4BC1-9AD2-A1C1B5C5C302}"/>
          </ac:spMkLst>
        </pc:spChg>
        <pc:spChg chg="del">
          <ac:chgData name="Kisliuk, Adrian (ext)" userId="6e619ce3-2643-4cdf-9a13-b4c269650021" providerId="ADAL" clId="{AFCEEFB0-37BC-48D4-B200-D3706B2CD7FE}" dt="2021-04-21T12:53:38.583" v="20719" actId="478"/>
          <ac:spMkLst>
            <pc:docMk/>
            <pc:sldMk cId="2545986200" sldId="919"/>
            <ac:spMk id="14" creationId="{31DD9616-91F2-4E06-9F8E-4CE455111413}"/>
          </ac:spMkLst>
        </pc:spChg>
        <pc:spChg chg="add del mod modVis">
          <ac:chgData name="Kisliuk, Adrian (ext)" userId="6e619ce3-2643-4cdf-9a13-b4c269650021" providerId="ADAL" clId="{AFCEEFB0-37BC-48D4-B200-D3706B2CD7FE}" dt="2021-04-28T08:16:39.772" v="25718"/>
          <ac:spMkLst>
            <pc:docMk/>
            <pc:sldMk cId="2545986200" sldId="919"/>
            <ac:spMk id="14" creationId="{809ACA8E-E51D-4FBC-928F-35480677F36A}"/>
          </ac:spMkLst>
        </pc:spChg>
        <pc:spChg chg="add del mod modVis">
          <ac:chgData name="Kisliuk, Adrian (ext)" userId="6e619ce3-2643-4cdf-9a13-b4c269650021" providerId="ADAL" clId="{AFCEEFB0-37BC-48D4-B200-D3706B2CD7FE}" dt="2021-04-24T20:11:25.669" v="23567"/>
          <ac:spMkLst>
            <pc:docMk/>
            <pc:sldMk cId="2545986200" sldId="919"/>
            <ac:spMk id="14" creationId="{D33ED509-44E2-496C-BF22-F2E6EF30966C}"/>
          </ac:spMkLst>
        </pc:spChg>
        <pc:spChg chg="del">
          <ac:chgData name="Kisliuk, Adrian (ext)" userId="6e619ce3-2643-4cdf-9a13-b4c269650021" providerId="ADAL" clId="{AFCEEFB0-37BC-48D4-B200-D3706B2CD7FE}" dt="2021-04-21T12:53:38.583" v="20719" actId="478"/>
          <ac:spMkLst>
            <pc:docMk/>
            <pc:sldMk cId="2545986200" sldId="919"/>
            <ac:spMk id="15" creationId="{5777F9A0-14B5-43A1-BCF0-286E0EB0FA21}"/>
          </ac:spMkLst>
        </pc:spChg>
        <pc:spChg chg="add mod">
          <ac:chgData name="Kisliuk, Adrian (ext)" userId="6e619ce3-2643-4cdf-9a13-b4c269650021" providerId="ADAL" clId="{AFCEEFB0-37BC-48D4-B200-D3706B2CD7FE}" dt="2021-04-28T08:15:26.224" v="25440" actId="1076"/>
          <ac:spMkLst>
            <pc:docMk/>
            <pc:sldMk cId="2545986200" sldId="919"/>
            <ac:spMk id="16" creationId="{01957E54-01E3-44AE-8E0C-F989C2F678C3}"/>
          </ac:spMkLst>
        </pc:spChg>
        <pc:spChg chg="add del mod modVis">
          <ac:chgData name="Kisliuk, Adrian (ext)" userId="6e619ce3-2643-4cdf-9a13-b4c269650021" providerId="ADAL" clId="{AFCEEFB0-37BC-48D4-B200-D3706B2CD7FE}" dt="2021-04-24T20:15:17.209" v="23618"/>
          <ac:spMkLst>
            <pc:docMk/>
            <pc:sldMk cId="2545986200" sldId="919"/>
            <ac:spMk id="16" creationId="{8BCA6D20-BA34-41FB-BB03-1B2A8BC50F2B}"/>
          </ac:spMkLst>
        </pc:spChg>
        <pc:spChg chg="del">
          <ac:chgData name="Kisliuk, Adrian (ext)" userId="6e619ce3-2643-4cdf-9a13-b4c269650021" providerId="ADAL" clId="{AFCEEFB0-37BC-48D4-B200-D3706B2CD7FE}" dt="2021-04-21T12:53:38.583" v="20719" actId="478"/>
          <ac:spMkLst>
            <pc:docMk/>
            <pc:sldMk cId="2545986200" sldId="919"/>
            <ac:spMk id="16" creationId="{AA8F3460-39C7-4224-92F7-47ED1C2F32EA}"/>
          </ac:spMkLst>
        </pc:spChg>
        <pc:spChg chg="add del mod modVis">
          <ac:chgData name="Kisliuk, Adrian (ext)" userId="6e619ce3-2643-4cdf-9a13-b4c269650021" providerId="ADAL" clId="{AFCEEFB0-37BC-48D4-B200-D3706B2CD7FE}" dt="2021-04-24T20:15:19.115" v="23659"/>
          <ac:spMkLst>
            <pc:docMk/>
            <pc:sldMk cId="2545986200" sldId="919"/>
            <ac:spMk id="17" creationId="{191C83BA-FA9D-4E3D-B4D3-76B65E39DADA}"/>
          </ac:spMkLst>
        </pc:spChg>
        <pc:spChg chg="add mod">
          <ac:chgData name="Kisliuk, Adrian (ext)" userId="6e619ce3-2643-4cdf-9a13-b4c269650021" providerId="ADAL" clId="{AFCEEFB0-37BC-48D4-B200-D3706B2CD7FE}" dt="2021-04-28T08:15:26.224" v="25440" actId="1076"/>
          <ac:spMkLst>
            <pc:docMk/>
            <pc:sldMk cId="2545986200" sldId="919"/>
            <ac:spMk id="17" creationId="{2E5361D1-CFF7-4063-8BE9-D88D1842D6F1}"/>
          </ac:spMkLst>
        </pc:spChg>
        <pc:spChg chg="del">
          <ac:chgData name="Kisliuk, Adrian (ext)" userId="6e619ce3-2643-4cdf-9a13-b4c269650021" providerId="ADAL" clId="{AFCEEFB0-37BC-48D4-B200-D3706B2CD7FE}" dt="2021-04-21T12:53:38.583" v="20719" actId="478"/>
          <ac:spMkLst>
            <pc:docMk/>
            <pc:sldMk cId="2545986200" sldId="919"/>
            <ac:spMk id="17" creationId="{AB984E7F-0EAB-41CE-AE01-A6F6F7BA65D5}"/>
          </ac:spMkLst>
        </pc:spChg>
        <pc:spChg chg="del">
          <ac:chgData name="Kisliuk, Adrian (ext)" userId="6e619ce3-2643-4cdf-9a13-b4c269650021" providerId="ADAL" clId="{AFCEEFB0-37BC-48D4-B200-D3706B2CD7FE}" dt="2021-04-21T12:53:38.583" v="20719" actId="478"/>
          <ac:spMkLst>
            <pc:docMk/>
            <pc:sldMk cId="2545986200" sldId="919"/>
            <ac:spMk id="18" creationId="{04BFCC48-F6EA-4602-9771-F09CF341109D}"/>
          </ac:spMkLst>
        </pc:spChg>
        <pc:spChg chg="add del mod modVis">
          <ac:chgData name="Kisliuk, Adrian (ext)" userId="6e619ce3-2643-4cdf-9a13-b4c269650021" providerId="ADAL" clId="{AFCEEFB0-37BC-48D4-B200-D3706B2CD7FE}" dt="2021-04-24T20:15:20.499" v="23706"/>
          <ac:spMkLst>
            <pc:docMk/>
            <pc:sldMk cId="2545986200" sldId="919"/>
            <ac:spMk id="18" creationId="{1508328D-2C60-479B-A211-BC54E83D0D21}"/>
          </ac:spMkLst>
        </pc:spChg>
        <pc:spChg chg="add mod">
          <ac:chgData name="Kisliuk, Adrian (ext)" userId="6e619ce3-2643-4cdf-9a13-b4c269650021" providerId="ADAL" clId="{AFCEEFB0-37BC-48D4-B200-D3706B2CD7FE}" dt="2021-04-28T08:14:52.162" v="25435" actId="1076"/>
          <ac:spMkLst>
            <pc:docMk/>
            <pc:sldMk cId="2545986200" sldId="919"/>
            <ac:spMk id="18" creationId="{69F08BAD-1AB9-43AD-9C73-8073CB96254A}"/>
          </ac:spMkLst>
        </pc:spChg>
        <pc:spChg chg="add del mod modVis">
          <ac:chgData name="Kisliuk, Adrian (ext)" userId="6e619ce3-2643-4cdf-9a13-b4c269650021" providerId="ADAL" clId="{AFCEEFB0-37BC-48D4-B200-D3706B2CD7FE}" dt="2021-04-28T08:16:40.432" v="25759"/>
          <ac:spMkLst>
            <pc:docMk/>
            <pc:sldMk cId="2545986200" sldId="919"/>
            <ac:spMk id="19" creationId="{2894F43A-40E4-45DB-BA59-1A8EEAD4BF17}"/>
          </ac:spMkLst>
        </pc:spChg>
        <pc:spChg chg="add del mod modVis">
          <ac:chgData name="Kisliuk, Adrian (ext)" userId="6e619ce3-2643-4cdf-9a13-b4c269650021" providerId="ADAL" clId="{AFCEEFB0-37BC-48D4-B200-D3706B2CD7FE}" dt="2021-04-24T20:18:11.856" v="23750"/>
          <ac:spMkLst>
            <pc:docMk/>
            <pc:sldMk cId="2545986200" sldId="919"/>
            <ac:spMk id="19" creationId="{5C4976AE-78FD-4698-9982-8D9D061F9E4B}"/>
          </ac:spMkLst>
        </pc:spChg>
        <pc:spChg chg="del">
          <ac:chgData name="Kisliuk, Adrian (ext)" userId="6e619ce3-2643-4cdf-9a13-b4c269650021" providerId="ADAL" clId="{AFCEEFB0-37BC-48D4-B200-D3706B2CD7FE}" dt="2021-04-21T12:53:38.583" v="20719" actId="478"/>
          <ac:spMkLst>
            <pc:docMk/>
            <pc:sldMk cId="2545986200" sldId="919"/>
            <ac:spMk id="19" creationId="{D5080E73-58BA-45F3-A133-666EE5C15A75}"/>
          </ac:spMkLst>
        </pc:spChg>
        <pc:spChg chg="del">
          <ac:chgData name="Kisliuk, Adrian (ext)" userId="6e619ce3-2643-4cdf-9a13-b4c269650021" providerId="ADAL" clId="{AFCEEFB0-37BC-48D4-B200-D3706B2CD7FE}" dt="2021-04-21T12:53:38.583" v="20719" actId="478"/>
          <ac:spMkLst>
            <pc:docMk/>
            <pc:sldMk cId="2545986200" sldId="919"/>
            <ac:spMk id="20" creationId="{2385981D-2464-4BAE-B08F-0BFC8DE6EF44}"/>
          </ac:spMkLst>
        </pc:spChg>
        <pc:spChg chg="add del mod modVis">
          <ac:chgData name="Kisliuk, Adrian (ext)" userId="6e619ce3-2643-4cdf-9a13-b4c269650021" providerId="ADAL" clId="{AFCEEFB0-37BC-48D4-B200-D3706B2CD7FE}" dt="2021-04-24T20:18:12.689" v="23792"/>
          <ac:spMkLst>
            <pc:docMk/>
            <pc:sldMk cId="2545986200" sldId="919"/>
            <ac:spMk id="20" creationId="{653DB5B1-565A-48E3-B999-C62FE95C655E}"/>
          </ac:spMkLst>
        </pc:spChg>
        <pc:spChg chg="add del mod modVis">
          <ac:chgData name="Kisliuk, Adrian (ext)" userId="6e619ce3-2643-4cdf-9a13-b4c269650021" providerId="ADAL" clId="{AFCEEFB0-37BC-48D4-B200-D3706B2CD7FE}" dt="2021-04-24T20:18:16.794" v="23849"/>
          <ac:spMkLst>
            <pc:docMk/>
            <pc:sldMk cId="2545986200" sldId="919"/>
            <ac:spMk id="21" creationId="{B9069F9D-54CF-4301-BF0C-0F0D26E35474}"/>
          </ac:spMkLst>
        </pc:spChg>
        <pc:spChg chg="add del mod modVis">
          <ac:chgData name="Kisliuk, Adrian (ext)" userId="6e619ce3-2643-4cdf-9a13-b4c269650021" providerId="ADAL" clId="{AFCEEFB0-37BC-48D4-B200-D3706B2CD7FE}" dt="2021-04-24T20:18:17.580" v="23890"/>
          <ac:spMkLst>
            <pc:docMk/>
            <pc:sldMk cId="2545986200" sldId="919"/>
            <ac:spMk id="22" creationId="{B59AAB98-14C7-46EF-B2DD-B6109EEB0ADC}"/>
          </ac:spMkLst>
        </pc:spChg>
        <pc:spChg chg="add del mod modVis">
          <ac:chgData name="Kisliuk, Adrian (ext)" userId="6e619ce3-2643-4cdf-9a13-b4c269650021" providerId="ADAL" clId="{AFCEEFB0-37BC-48D4-B200-D3706B2CD7FE}" dt="2021-04-24T20:18:18.243" v="23932"/>
          <ac:spMkLst>
            <pc:docMk/>
            <pc:sldMk cId="2545986200" sldId="919"/>
            <ac:spMk id="23" creationId="{136AA1CE-382F-4E85-969B-DC9CFB69B718}"/>
          </ac:spMkLst>
        </pc:spChg>
        <pc:spChg chg="add del mod modVis">
          <ac:chgData name="Kisliuk, Adrian (ext)" userId="6e619ce3-2643-4cdf-9a13-b4c269650021" providerId="ADAL" clId="{AFCEEFB0-37BC-48D4-B200-D3706B2CD7FE}" dt="2021-04-24T20:23:11.060" v="23975"/>
          <ac:spMkLst>
            <pc:docMk/>
            <pc:sldMk cId="2545986200" sldId="919"/>
            <ac:spMk id="24" creationId="{B88A676B-B3AE-4033-A6A5-C507DF65D5A8}"/>
          </ac:spMkLst>
        </pc:spChg>
        <pc:spChg chg="add del mod modVis">
          <ac:chgData name="Kisliuk, Adrian (ext)" userId="6e619ce3-2643-4cdf-9a13-b4c269650021" providerId="ADAL" clId="{AFCEEFB0-37BC-48D4-B200-D3706B2CD7FE}" dt="2021-04-24T20:26:44.885" v="24024"/>
          <ac:spMkLst>
            <pc:docMk/>
            <pc:sldMk cId="2545986200" sldId="919"/>
            <ac:spMk id="25" creationId="{160BE62F-BB34-4988-97CB-259C9D5A5868}"/>
          </ac:spMkLst>
        </pc:spChg>
        <pc:spChg chg="del">
          <ac:chgData name="Kisliuk, Adrian (ext)" userId="6e619ce3-2643-4cdf-9a13-b4c269650021" providerId="ADAL" clId="{AFCEEFB0-37BC-48D4-B200-D3706B2CD7FE}" dt="2021-04-21T12:53:38.583" v="20719" actId="478"/>
          <ac:spMkLst>
            <pc:docMk/>
            <pc:sldMk cId="2545986200" sldId="919"/>
            <ac:spMk id="25" creationId="{87B717A7-992E-47F4-8674-D386EB504022}"/>
          </ac:spMkLst>
        </pc:spChg>
        <pc:spChg chg="add del mod modVis">
          <ac:chgData name="Kisliuk, Adrian (ext)" userId="6e619ce3-2643-4cdf-9a13-b4c269650021" providerId="ADAL" clId="{AFCEEFB0-37BC-48D4-B200-D3706B2CD7FE}" dt="2021-04-24T20:26:47.632" v="24065"/>
          <ac:spMkLst>
            <pc:docMk/>
            <pc:sldMk cId="2545986200" sldId="919"/>
            <ac:spMk id="26" creationId="{4B41CD0F-8C12-4F4C-A35A-369ED49BCD22}"/>
          </ac:spMkLst>
        </pc:spChg>
        <pc:spChg chg="del">
          <ac:chgData name="Kisliuk, Adrian (ext)" userId="6e619ce3-2643-4cdf-9a13-b4c269650021" providerId="ADAL" clId="{AFCEEFB0-37BC-48D4-B200-D3706B2CD7FE}" dt="2021-04-21T12:53:38.583" v="20719" actId="478"/>
          <ac:spMkLst>
            <pc:docMk/>
            <pc:sldMk cId="2545986200" sldId="919"/>
            <ac:spMk id="26" creationId="{A1088F2E-CA7A-4ABC-9B9A-F4AA4CA872BE}"/>
          </ac:spMkLst>
        </pc:spChg>
        <pc:spChg chg="del">
          <ac:chgData name="Kisliuk, Adrian (ext)" userId="6e619ce3-2643-4cdf-9a13-b4c269650021" providerId="ADAL" clId="{AFCEEFB0-37BC-48D4-B200-D3706B2CD7FE}" dt="2021-04-21T12:53:38.583" v="20719" actId="478"/>
          <ac:spMkLst>
            <pc:docMk/>
            <pc:sldMk cId="2545986200" sldId="919"/>
            <ac:spMk id="27" creationId="{74A92D2C-51A3-4E39-AE8D-322C85734819}"/>
          </ac:spMkLst>
        </pc:spChg>
        <pc:spChg chg="add del mod modVis">
          <ac:chgData name="Kisliuk, Adrian (ext)" userId="6e619ce3-2643-4cdf-9a13-b4c269650021" providerId="ADAL" clId="{AFCEEFB0-37BC-48D4-B200-D3706B2CD7FE}" dt="2021-04-24T20:26:50.678" v="24106"/>
          <ac:spMkLst>
            <pc:docMk/>
            <pc:sldMk cId="2545986200" sldId="919"/>
            <ac:spMk id="27" creationId="{9E6842B4-DA70-45DA-A5A5-37C5835F8EDE}"/>
          </ac:spMkLst>
        </pc:spChg>
        <pc:spChg chg="mod">
          <ac:chgData name="Kisliuk, Adrian (ext)" userId="6e619ce3-2643-4cdf-9a13-b4c269650021" providerId="ADAL" clId="{AFCEEFB0-37BC-48D4-B200-D3706B2CD7FE}" dt="2021-04-28T08:15:26.224" v="25440" actId="1076"/>
          <ac:spMkLst>
            <pc:docMk/>
            <pc:sldMk cId="2545986200" sldId="919"/>
            <ac:spMk id="28" creationId="{37C3BFFE-FDCC-465D-A725-F4A8EBD7CB42}"/>
          </ac:spMkLst>
        </pc:spChg>
        <pc:spChg chg="mod">
          <ac:chgData name="Kisliuk, Adrian (ext)" userId="6e619ce3-2643-4cdf-9a13-b4c269650021" providerId="ADAL" clId="{AFCEEFB0-37BC-48D4-B200-D3706B2CD7FE}" dt="2021-04-28T08:15:26.224" v="25440" actId="1076"/>
          <ac:spMkLst>
            <pc:docMk/>
            <pc:sldMk cId="2545986200" sldId="919"/>
            <ac:spMk id="29" creationId="{470BC2C3-779B-455E-AACA-A55065566610}"/>
          </ac:spMkLst>
        </pc:spChg>
        <pc:spChg chg="mod">
          <ac:chgData name="Kisliuk, Adrian (ext)" userId="6e619ce3-2643-4cdf-9a13-b4c269650021" providerId="ADAL" clId="{AFCEEFB0-37BC-48D4-B200-D3706B2CD7FE}" dt="2021-04-28T08:15:26.224" v="25440" actId="1076"/>
          <ac:spMkLst>
            <pc:docMk/>
            <pc:sldMk cId="2545986200" sldId="919"/>
            <ac:spMk id="30" creationId="{F68A0F33-B4D2-499D-B9E3-DCF89E449C74}"/>
          </ac:spMkLst>
        </pc:spChg>
        <pc:spChg chg="add del mod modVis">
          <ac:chgData name="Kisliuk, Adrian (ext)" userId="6e619ce3-2643-4cdf-9a13-b4c269650021" providerId="ADAL" clId="{AFCEEFB0-37BC-48D4-B200-D3706B2CD7FE}" dt="2021-04-24T20:26:52.169" v="24147"/>
          <ac:spMkLst>
            <pc:docMk/>
            <pc:sldMk cId="2545986200" sldId="919"/>
            <ac:spMk id="31" creationId="{D422F5C4-D42D-48A9-99A5-2BF05BB6F7B1}"/>
          </ac:spMkLst>
        </pc:spChg>
        <pc:spChg chg="add del mod modVis">
          <ac:chgData name="Kisliuk, Adrian (ext)" userId="6e619ce3-2643-4cdf-9a13-b4c269650021" providerId="ADAL" clId="{AFCEEFB0-37BC-48D4-B200-D3706B2CD7FE}" dt="2021-04-24T20:26:53.702" v="24191"/>
          <ac:spMkLst>
            <pc:docMk/>
            <pc:sldMk cId="2545986200" sldId="919"/>
            <ac:spMk id="32" creationId="{0AD543C0-506F-4328-9C3C-185A7549D20C}"/>
          </ac:spMkLst>
        </pc:spChg>
        <pc:spChg chg="del">
          <ac:chgData name="Kisliuk, Adrian (ext)" userId="6e619ce3-2643-4cdf-9a13-b4c269650021" providerId="ADAL" clId="{AFCEEFB0-37BC-48D4-B200-D3706B2CD7FE}" dt="2021-04-21T12:53:38.583" v="20719" actId="478"/>
          <ac:spMkLst>
            <pc:docMk/>
            <pc:sldMk cId="2545986200" sldId="919"/>
            <ac:spMk id="32" creationId="{11EC086C-B9D5-4EEE-AAA4-0E59EAEE7B6C}"/>
          </ac:spMkLst>
        </pc:spChg>
        <pc:spChg chg="del">
          <ac:chgData name="Kisliuk, Adrian (ext)" userId="6e619ce3-2643-4cdf-9a13-b4c269650021" providerId="ADAL" clId="{AFCEEFB0-37BC-48D4-B200-D3706B2CD7FE}" dt="2021-04-21T12:53:38.583" v="20719" actId="478"/>
          <ac:spMkLst>
            <pc:docMk/>
            <pc:sldMk cId="2545986200" sldId="919"/>
            <ac:spMk id="33" creationId="{4A72ACD7-26F5-413E-B4F5-9A3C0091E1F0}"/>
          </ac:spMkLst>
        </pc:spChg>
        <pc:spChg chg="add del mod modVis">
          <ac:chgData name="Kisliuk, Adrian (ext)" userId="6e619ce3-2643-4cdf-9a13-b4c269650021" providerId="ADAL" clId="{AFCEEFB0-37BC-48D4-B200-D3706B2CD7FE}" dt="2021-04-24T20:28:27.251" v="24234"/>
          <ac:spMkLst>
            <pc:docMk/>
            <pc:sldMk cId="2545986200" sldId="919"/>
            <ac:spMk id="33" creationId="{5E04AA80-4551-4B1D-9F0D-C9E122D32DC6}"/>
          </ac:spMkLst>
        </pc:spChg>
        <pc:spChg chg="add del mod modVis">
          <ac:chgData name="Kisliuk, Adrian (ext)" userId="6e619ce3-2643-4cdf-9a13-b4c269650021" providerId="ADAL" clId="{AFCEEFB0-37BC-48D4-B200-D3706B2CD7FE}" dt="2021-04-24T20:28:28.054" v="24276"/>
          <ac:spMkLst>
            <pc:docMk/>
            <pc:sldMk cId="2545986200" sldId="919"/>
            <ac:spMk id="34" creationId="{72D2B516-F305-4D47-AE7B-3E7C1C503617}"/>
          </ac:spMkLst>
        </pc:spChg>
        <pc:spChg chg="mod">
          <ac:chgData name="Kisliuk, Adrian (ext)" userId="6e619ce3-2643-4cdf-9a13-b4c269650021" providerId="ADAL" clId="{AFCEEFB0-37BC-48D4-B200-D3706B2CD7FE}" dt="2021-04-21T12:57:15.130" v="20785" actId="1076"/>
          <ac:spMkLst>
            <pc:docMk/>
            <pc:sldMk cId="2545986200" sldId="919"/>
            <ac:spMk id="34" creationId="{E8F1B9E9-4571-4AF7-BFE7-7AACECE242C5}"/>
          </ac:spMkLst>
        </pc:spChg>
        <pc:spChg chg="del">
          <ac:chgData name="Kisliuk, Adrian (ext)" userId="6e619ce3-2643-4cdf-9a13-b4c269650021" providerId="ADAL" clId="{AFCEEFB0-37BC-48D4-B200-D3706B2CD7FE}" dt="2021-04-21T12:53:38.583" v="20719" actId="478"/>
          <ac:spMkLst>
            <pc:docMk/>
            <pc:sldMk cId="2545986200" sldId="919"/>
            <ac:spMk id="35" creationId="{19586ECC-FE38-4284-BB8C-D29E0C8980C9}"/>
          </ac:spMkLst>
        </pc:spChg>
        <pc:spChg chg="add del mod modVis">
          <ac:chgData name="Kisliuk, Adrian (ext)" userId="6e619ce3-2643-4cdf-9a13-b4c269650021" providerId="ADAL" clId="{AFCEEFB0-37BC-48D4-B200-D3706B2CD7FE}" dt="2021-04-24T20:28:31.957" v="24321"/>
          <ac:spMkLst>
            <pc:docMk/>
            <pc:sldMk cId="2545986200" sldId="919"/>
            <ac:spMk id="35" creationId="{BD33AB00-7498-4606-ABCC-981E39F49CD3}"/>
          </ac:spMkLst>
        </pc:spChg>
        <pc:spChg chg="add del mod modVis">
          <ac:chgData name="Kisliuk, Adrian (ext)" userId="6e619ce3-2643-4cdf-9a13-b4c269650021" providerId="ADAL" clId="{AFCEEFB0-37BC-48D4-B200-D3706B2CD7FE}" dt="2021-04-24T20:28:33.654" v="24368"/>
          <ac:spMkLst>
            <pc:docMk/>
            <pc:sldMk cId="2545986200" sldId="919"/>
            <ac:spMk id="36" creationId="{8411ECE6-95BB-45CE-B6A8-747F33129FD8}"/>
          </ac:spMkLst>
        </pc:spChg>
        <pc:spChg chg="del">
          <ac:chgData name="Kisliuk, Adrian (ext)" userId="6e619ce3-2643-4cdf-9a13-b4c269650021" providerId="ADAL" clId="{AFCEEFB0-37BC-48D4-B200-D3706B2CD7FE}" dt="2021-04-21T12:53:38.583" v="20719" actId="478"/>
          <ac:spMkLst>
            <pc:docMk/>
            <pc:sldMk cId="2545986200" sldId="919"/>
            <ac:spMk id="36" creationId="{A588D323-616A-4ECE-A56D-406C0C223B04}"/>
          </ac:spMkLst>
        </pc:spChg>
        <pc:spChg chg="del">
          <ac:chgData name="Kisliuk, Adrian (ext)" userId="6e619ce3-2643-4cdf-9a13-b4c269650021" providerId="ADAL" clId="{AFCEEFB0-37BC-48D4-B200-D3706B2CD7FE}" dt="2021-04-21T12:53:38.583" v="20719" actId="478"/>
          <ac:spMkLst>
            <pc:docMk/>
            <pc:sldMk cId="2545986200" sldId="919"/>
            <ac:spMk id="37" creationId="{C94B0839-56DF-4E84-B51F-DC687495CB9B}"/>
          </ac:spMkLst>
        </pc:spChg>
        <pc:spChg chg="del">
          <ac:chgData name="Kisliuk, Adrian (ext)" userId="6e619ce3-2643-4cdf-9a13-b4c269650021" providerId="ADAL" clId="{AFCEEFB0-37BC-48D4-B200-D3706B2CD7FE}" dt="2021-04-21T12:53:38.583" v="20719" actId="478"/>
          <ac:spMkLst>
            <pc:docMk/>
            <pc:sldMk cId="2545986200" sldId="919"/>
            <ac:spMk id="38" creationId="{EA594352-32AB-406E-A3E1-2458781D4DD5}"/>
          </ac:spMkLst>
        </pc:spChg>
        <pc:spChg chg="del">
          <ac:chgData name="Kisliuk, Adrian (ext)" userId="6e619ce3-2643-4cdf-9a13-b4c269650021" providerId="ADAL" clId="{AFCEEFB0-37BC-48D4-B200-D3706B2CD7FE}" dt="2021-04-21T12:53:38.583" v="20719" actId="478"/>
          <ac:spMkLst>
            <pc:docMk/>
            <pc:sldMk cId="2545986200" sldId="919"/>
            <ac:spMk id="39" creationId="{482CD05A-0D6A-428D-8116-01F2C776EC4E}"/>
          </ac:spMkLst>
        </pc:spChg>
        <pc:spChg chg="del">
          <ac:chgData name="Kisliuk, Adrian (ext)" userId="6e619ce3-2643-4cdf-9a13-b4c269650021" providerId="ADAL" clId="{AFCEEFB0-37BC-48D4-B200-D3706B2CD7FE}" dt="2021-04-21T12:53:38.583" v="20719" actId="478"/>
          <ac:spMkLst>
            <pc:docMk/>
            <pc:sldMk cId="2545986200" sldId="919"/>
            <ac:spMk id="42" creationId="{BE6558E5-A057-44E4-922D-0223EE1F71A6}"/>
          </ac:spMkLst>
        </pc:spChg>
        <pc:spChg chg="del">
          <ac:chgData name="Kisliuk, Adrian (ext)" userId="6e619ce3-2643-4cdf-9a13-b4c269650021" providerId="ADAL" clId="{AFCEEFB0-37BC-48D4-B200-D3706B2CD7FE}" dt="2021-04-21T12:53:38.583" v="20719" actId="478"/>
          <ac:spMkLst>
            <pc:docMk/>
            <pc:sldMk cId="2545986200" sldId="919"/>
            <ac:spMk id="43" creationId="{493DE65C-1633-4E87-8910-1F2F3B7FC7D6}"/>
          </ac:spMkLst>
        </pc:spChg>
        <pc:spChg chg="del">
          <ac:chgData name="Kisliuk, Adrian (ext)" userId="6e619ce3-2643-4cdf-9a13-b4c269650021" providerId="ADAL" clId="{AFCEEFB0-37BC-48D4-B200-D3706B2CD7FE}" dt="2021-04-21T12:53:38.583" v="20719" actId="478"/>
          <ac:spMkLst>
            <pc:docMk/>
            <pc:sldMk cId="2545986200" sldId="919"/>
            <ac:spMk id="44" creationId="{960FFFBE-69FC-4C6E-B176-DDF63738DA62}"/>
          </ac:spMkLst>
        </pc:spChg>
        <pc:spChg chg="del">
          <ac:chgData name="Kisliuk, Adrian (ext)" userId="6e619ce3-2643-4cdf-9a13-b4c269650021" providerId="ADAL" clId="{AFCEEFB0-37BC-48D4-B200-D3706B2CD7FE}" dt="2021-04-21T12:53:38.583" v="20719" actId="478"/>
          <ac:spMkLst>
            <pc:docMk/>
            <pc:sldMk cId="2545986200" sldId="919"/>
            <ac:spMk id="45" creationId="{710D111A-9120-4F8C-81FD-1EFE75312E5F}"/>
          </ac:spMkLst>
        </pc:spChg>
        <pc:spChg chg="del">
          <ac:chgData name="Kisliuk, Adrian (ext)" userId="6e619ce3-2643-4cdf-9a13-b4c269650021" providerId="ADAL" clId="{AFCEEFB0-37BC-48D4-B200-D3706B2CD7FE}" dt="2021-04-21T12:53:38.583" v="20719" actId="478"/>
          <ac:spMkLst>
            <pc:docMk/>
            <pc:sldMk cId="2545986200" sldId="919"/>
            <ac:spMk id="46" creationId="{4A0E1D43-F9F4-4D15-8EBF-5B452606E71C}"/>
          </ac:spMkLst>
        </pc:spChg>
        <pc:spChg chg="del">
          <ac:chgData name="Kisliuk, Adrian (ext)" userId="6e619ce3-2643-4cdf-9a13-b4c269650021" providerId="ADAL" clId="{AFCEEFB0-37BC-48D4-B200-D3706B2CD7FE}" dt="2021-04-21T12:53:38.583" v="20719" actId="478"/>
          <ac:spMkLst>
            <pc:docMk/>
            <pc:sldMk cId="2545986200" sldId="919"/>
            <ac:spMk id="47" creationId="{58F696FB-73FE-46CE-BBC0-861BF97721B2}"/>
          </ac:spMkLst>
        </pc:spChg>
        <pc:spChg chg="del">
          <ac:chgData name="Kisliuk, Adrian (ext)" userId="6e619ce3-2643-4cdf-9a13-b4c269650021" providerId="ADAL" clId="{AFCEEFB0-37BC-48D4-B200-D3706B2CD7FE}" dt="2021-04-21T12:53:38.583" v="20719" actId="478"/>
          <ac:spMkLst>
            <pc:docMk/>
            <pc:sldMk cId="2545986200" sldId="919"/>
            <ac:spMk id="48" creationId="{95A4877B-2B04-4A34-AB74-DCCADFB9C701}"/>
          </ac:spMkLst>
        </pc:spChg>
        <pc:spChg chg="del">
          <ac:chgData name="Kisliuk, Adrian (ext)" userId="6e619ce3-2643-4cdf-9a13-b4c269650021" providerId="ADAL" clId="{AFCEEFB0-37BC-48D4-B200-D3706B2CD7FE}" dt="2021-04-21T12:53:38.583" v="20719" actId="478"/>
          <ac:spMkLst>
            <pc:docMk/>
            <pc:sldMk cId="2545986200" sldId="919"/>
            <ac:spMk id="53" creationId="{0BC0E3F9-C611-4756-8F53-33B375C17F06}"/>
          </ac:spMkLst>
        </pc:spChg>
        <pc:spChg chg="del">
          <ac:chgData name="Kisliuk, Adrian (ext)" userId="6e619ce3-2643-4cdf-9a13-b4c269650021" providerId="ADAL" clId="{AFCEEFB0-37BC-48D4-B200-D3706B2CD7FE}" dt="2021-04-21T12:53:38.583" v="20719" actId="478"/>
          <ac:spMkLst>
            <pc:docMk/>
            <pc:sldMk cId="2545986200" sldId="919"/>
            <ac:spMk id="54" creationId="{405CA7B9-00E2-4E53-B8B2-9A8AA95ED48C}"/>
          </ac:spMkLst>
        </pc:spChg>
        <pc:spChg chg="del">
          <ac:chgData name="Kisliuk, Adrian (ext)" userId="6e619ce3-2643-4cdf-9a13-b4c269650021" providerId="ADAL" clId="{AFCEEFB0-37BC-48D4-B200-D3706B2CD7FE}" dt="2021-04-21T12:53:38.583" v="20719" actId="478"/>
          <ac:spMkLst>
            <pc:docMk/>
            <pc:sldMk cId="2545986200" sldId="919"/>
            <ac:spMk id="55" creationId="{F0C26FA0-757D-48B3-922E-6BEB8F09ED95}"/>
          </ac:spMkLst>
        </pc:spChg>
        <pc:spChg chg="del">
          <ac:chgData name="Kisliuk, Adrian (ext)" userId="6e619ce3-2643-4cdf-9a13-b4c269650021" providerId="ADAL" clId="{AFCEEFB0-37BC-48D4-B200-D3706B2CD7FE}" dt="2021-04-21T12:53:38.583" v="20719" actId="478"/>
          <ac:spMkLst>
            <pc:docMk/>
            <pc:sldMk cId="2545986200" sldId="919"/>
            <ac:spMk id="56" creationId="{75C13DF5-3E5B-4C23-8A09-30E3A3667442}"/>
          </ac:spMkLst>
        </pc:spChg>
        <pc:spChg chg="del">
          <ac:chgData name="Kisliuk, Adrian (ext)" userId="6e619ce3-2643-4cdf-9a13-b4c269650021" providerId="ADAL" clId="{AFCEEFB0-37BC-48D4-B200-D3706B2CD7FE}" dt="2021-04-21T12:53:38.583" v="20719" actId="478"/>
          <ac:spMkLst>
            <pc:docMk/>
            <pc:sldMk cId="2545986200" sldId="919"/>
            <ac:spMk id="57" creationId="{87679BC9-3FD6-469B-9247-77714755514B}"/>
          </ac:spMkLst>
        </pc:spChg>
        <pc:spChg chg="del">
          <ac:chgData name="Kisliuk, Adrian (ext)" userId="6e619ce3-2643-4cdf-9a13-b4c269650021" providerId="ADAL" clId="{AFCEEFB0-37BC-48D4-B200-D3706B2CD7FE}" dt="2021-04-21T12:53:38.583" v="20719" actId="478"/>
          <ac:spMkLst>
            <pc:docMk/>
            <pc:sldMk cId="2545986200" sldId="919"/>
            <ac:spMk id="60" creationId="{886B4BE0-6EF6-4B5D-ADA6-D7734D0910F8}"/>
          </ac:spMkLst>
        </pc:spChg>
        <pc:spChg chg="del">
          <ac:chgData name="Kisliuk, Adrian (ext)" userId="6e619ce3-2643-4cdf-9a13-b4c269650021" providerId="ADAL" clId="{AFCEEFB0-37BC-48D4-B200-D3706B2CD7FE}" dt="2021-04-21T12:53:38.583" v="20719" actId="478"/>
          <ac:spMkLst>
            <pc:docMk/>
            <pc:sldMk cId="2545986200" sldId="919"/>
            <ac:spMk id="61" creationId="{167097EA-05CC-4C0D-A091-9E4D9D02DAF3}"/>
          </ac:spMkLst>
        </pc:spChg>
        <pc:spChg chg="mod">
          <ac:chgData name="Kisliuk, Adrian (ext)" userId="6e619ce3-2643-4cdf-9a13-b4c269650021" providerId="ADAL" clId="{AFCEEFB0-37BC-48D4-B200-D3706B2CD7FE}" dt="2021-04-28T08:15:26.224" v="25440" actId="1076"/>
          <ac:spMkLst>
            <pc:docMk/>
            <pc:sldMk cId="2545986200" sldId="919"/>
            <ac:spMk id="63" creationId="{6E83B5FE-7B78-4A5E-9B14-C74D15A4B7AC}"/>
          </ac:spMkLst>
        </pc:spChg>
        <pc:spChg chg="del">
          <ac:chgData name="Kisliuk, Adrian (ext)" userId="6e619ce3-2643-4cdf-9a13-b4c269650021" providerId="ADAL" clId="{AFCEEFB0-37BC-48D4-B200-D3706B2CD7FE}" dt="2021-04-21T12:53:38.583" v="20719" actId="478"/>
          <ac:spMkLst>
            <pc:docMk/>
            <pc:sldMk cId="2545986200" sldId="919"/>
            <ac:spMk id="64" creationId="{9F5D403C-0C45-4DE0-B66C-83A6FE460AB2}"/>
          </ac:spMkLst>
        </pc:spChg>
        <pc:spChg chg="del">
          <ac:chgData name="Kisliuk, Adrian (ext)" userId="6e619ce3-2643-4cdf-9a13-b4c269650021" providerId="ADAL" clId="{AFCEEFB0-37BC-48D4-B200-D3706B2CD7FE}" dt="2021-04-21T12:53:38.583" v="20719" actId="478"/>
          <ac:spMkLst>
            <pc:docMk/>
            <pc:sldMk cId="2545986200" sldId="919"/>
            <ac:spMk id="65" creationId="{05567C78-2019-45C7-9A1E-01609CAFEAD8}"/>
          </ac:spMkLst>
        </pc:spChg>
        <pc:spChg chg="del">
          <ac:chgData name="Kisliuk, Adrian (ext)" userId="6e619ce3-2643-4cdf-9a13-b4c269650021" providerId="ADAL" clId="{AFCEEFB0-37BC-48D4-B200-D3706B2CD7FE}" dt="2021-04-21T12:53:38.583" v="20719" actId="478"/>
          <ac:spMkLst>
            <pc:docMk/>
            <pc:sldMk cId="2545986200" sldId="919"/>
            <ac:spMk id="66" creationId="{CFCCE3A8-C5B0-45A7-959C-222546A90D63}"/>
          </ac:spMkLst>
        </pc:spChg>
        <pc:spChg chg="mod">
          <ac:chgData name="Kisliuk, Adrian (ext)" userId="6e619ce3-2643-4cdf-9a13-b4c269650021" providerId="ADAL" clId="{AFCEEFB0-37BC-48D4-B200-D3706B2CD7FE}" dt="2021-04-28T08:15:26.224" v="25440" actId="1076"/>
          <ac:spMkLst>
            <pc:docMk/>
            <pc:sldMk cId="2545986200" sldId="919"/>
            <ac:spMk id="67" creationId="{E46452FB-F9E1-4A7B-A02A-073330589355}"/>
          </ac:spMkLst>
        </pc:spChg>
        <pc:spChg chg="del">
          <ac:chgData name="Kisliuk, Adrian (ext)" userId="6e619ce3-2643-4cdf-9a13-b4c269650021" providerId="ADAL" clId="{AFCEEFB0-37BC-48D4-B200-D3706B2CD7FE}" dt="2021-04-21T12:53:38.583" v="20719" actId="478"/>
          <ac:spMkLst>
            <pc:docMk/>
            <pc:sldMk cId="2545986200" sldId="919"/>
            <ac:spMk id="68" creationId="{A8007179-9EE4-4353-B6A6-B9F66E9E7FD7}"/>
          </ac:spMkLst>
        </pc:spChg>
        <pc:grpChg chg="del">
          <ac:chgData name="Kisliuk, Adrian (ext)" userId="6e619ce3-2643-4cdf-9a13-b4c269650021" providerId="ADAL" clId="{AFCEEFB0-37BC-48D4-B200-D3706B2CD7FE}" dt="2021-04-21T12:53:38.583" v="20719" actId="478"/>
          <ac:grpSpMkLst>
            <pc:docMk/>
            <pc:sldMk cId="2545986200" sldId="919"/>
            <ac:grpSpMk id="21" creationId="{E79DD6BF-1999-4691-B943-D0436BA38C4D}"/>
          </ac:grpSpMkLst>
        </pc:grpChg>
        <pc:grpChg chg="del">
          <ac:chgData name="Kisliuk, Adrian (ext)" userId="6e619ce3-2643-4cdf-9a13-b4c269650021" providerId="ADAL" clId="{AFCEEFB0-37BC-48D4-B200-D3706B2CD7FE}" dt="2021-04-21T12:53:38.583" v="20719" actId="478"/>
          <ac:grpSpMkLst>
            <pc:docMk/>
            <pc:sldMk cId="2545986200" sldId="919"/>
            <ac:grpSpMk id="49" creationId="{95B3AB2C-2FD8-42A4-A342-B4A032CA294C}"/>
          </ac:grpSpMkLst>
        </pc:grpChg>
        <pc:graphicFrameChg chg="add mod ord modVis">
          <ac:chgData name="Kisliuk, Adrian (ext)" userId="6e619ce3-2643-4cdf-9a13-b4c269650021" providerId="ADAL" clId="{AFCEEFB0-37BC-48D4-B200-D3706B2CD7FE}" dt="2021-04-28T08:16:40.434" v="25761"/>
          <ac:graphicFrameMkLst>
            <pc:docMk/>
            <pc:sldMk cId="2545986200" sldId="919"/>
            <ac:graphicFrameMk id="8" creationId="{F54078EF-B1A1-4500-9DCF-A0B30F9E49EA}"/>
          </ac:graphicFrameMkLst>
        </pc:graphicFrameChg>
        <pc:picChg chg="add del mod">
          <ac:chgData name="Kisliuk, Adrian (ext)" userId="6e619ce3-2643-4cdf-9a13-b4c269650021" providerId="ADAL" clId="{AFCEEFB0-37BC-48D4-B200-D3706B2CD7FE}" dt="2021-04-23T05:53:59.532" v="23055" actId="478"/>
          <ac:picMkLst>
            <pc:docMk/>
            <pc:sldMk cId="2545986200" sldId="919"/>
            <ac:picMk id="3" creationId="{CBC9C423-875C-4F71-A904-6A1FA4C511B9}"/>
          </ac:picMkLst>
        </pc:picChg>
        <pc:picChg chg="add del mod">
          <ac:chgData name="Kisliuk, Adrian (ext)" userId="6e619ce3-2643-4cdf-9a13-b4c269650021" providerId="ADAL" clId="{AFCEEFB0-37BC-48D4-B200-D3706B2CD7FE}" dt="2021-04-23T05:53:58.019" v="23054" actId="21"/>
          <ac:picMkLst>
            <pc:docMk/>
            <pc:sldMk cId="2545986200" sldId="919"/>
            <ac:picMk id="7" creationId="{D1324960-E14D-4B8D-A763-ABD4EFA73F09}"/>
          </ac:picMkLst>
        </pc:picChg>
        <pc:picChg chg="add del mod">
          <ac:chgData name="Kisliuk, Adrian (ext)" userId="6e619ce3-2643-4cdf-9a13-b4c269650021" providerId="ADAL" clId="{AFCEEFB0-37BC-48D4-B200-D3706B2CD7FE}" dt="2021-04-23T05:55:31.229" v="23079" actId="21"/>
          <ac:picMkLst>
            <pc:docMk/>
            <pc:sldMk cId="2545986200" sldId="919"/>
            <ac:picMk id="8" creationId="{753D6F2B-B0CF-4E98-BCF8-1254B7F177B3}"/>
          </ac:picMkLst>
        </pc:picChg>
        <pc:picChg chg="add del mod">
          <ac:chgData name="Kisliuk, Adrian (ext)" userId="6e619ce3-2643-4cdf-9a13-b4c269650021" providerId="ADAL" clId="{AFCEEFB0-37BC-48D4-B200-D3706B2CD7FE}" dt="2021-04-23T05:55:32.644" v="23080" actId="478"/>
          <ac:picMkLst>
            <pc:docMk/>
            <pc:sldMk cId="2545986200" sldId="919"/>
            <ac:picMk id="13" creationId="{513A1DEF-5DB8-4787-BE64-F0727B0A0069}"/>
          </ac:picMkLst>
        </pc:picChg>
        <pc:picChg chg="add mod">
          <ac:chgData name="Kisliuk, Adrian (ext)" userId="6e619ce3-2643-4cdf-9a13-b4c269650021" providerId="ADAL" clId="{AFCEEFB0-37BC-48D4-B200-D3706B2CD7FE}" dt="2021-04-28T08:43:32.764" v="26289" actId="14100"/>
          <ac:picMkLst>
            <pc:docMk/>
            <pc:sldMk cId="2545986200" sldId="919"/>
            <ac:picMk id="15" creationId="{8CDB89BF-9A9B-4821-B1AD-46221F739CD7}"/>
          </ac:picMkLst>
        </pc:picChg>
        <pc:cxnChg chg="del">
          <ac:chgData name="Kisliuk, Adrian (ext)" userId="6e619ce3-2643-4cdf-9a13-b4c269650021" providerId="ADAL" clId="{AFCEEFB0-37BC-48D4-B200-D3706B2CD7FE}" dt="2021-04-21T12:53:38.583" v="20719" actId="478"/>
          <ac:cxnSpMkLst>
            <pc:docMk/>
            <pc:sldMk cId="2545986200" sldId="919"/>
            <ac:cxnSpMk id="12" creationId="{5EDD69B0-B1E6-4BA8-B1BF-DCE1A876C86F}"/>
          </ac:cxnSpMkLst>
        </pc:cxnChg>
        <pc:cxnChg chg="del">
          <ac:chgData name="Kisliuk, Adrian (ext)" userId="6e619ce3-2643-4cdf-9a13-b4c269650021" providerId="ADAL" clId="{AFCEEFB0-37BC-48D4-B200-D3706B2CD7FE}" dt="2021-04-21T12:53:38.583" v="20719" actId="478"/>
          <ac:cxnSpMkLst>
            <pc:docMk/>
            <pc:sldMk cId="2545986200" sldId="919"/>
            <ac:cxnSpMk id="13" creationId="{36F12CD6-4A80-45D4-992B-2BFF95F593D6}"/>
          </ac:cxnSpMkLst>
        </pc:cxnChg>
        <pc:cxnChg chg="del">
          <ac:chgData name="Kisliuk, Adrian (ext)" userId="6e619ce3-2643-4cdf-9a13-b4c269650021" providerId="ADAL" clId="{AFCEEFB0-37BC-48D4-B200-D3706B2CD7FE}" dt="2021-04-21T12:53:38.583" v="20719" actId="478"/>
          <ac:cxnSpMkLst>
            <pc:docMk/>
            <pc:sldMk cId="2545986200" sldId="919"/>
            <ac:cxnSpMk id="31" creationId="{67090742-4436-4766-AF74-B9D3DC68D06B}"/>
          </ac:cxnSpMkLst>
        </pc:cxnChg>
        <pc:cxnChg chg="del">
          <ac:chgData name="Kisliuk, Adrian (ext)" userId="6e619ce3-2643-4cdf-9a13-b4c269650021" providerId="ADAL" clId="{AFCEEFB0-37BC-48D4-B200-D3706B2CD7FE}" dt="2021-04-21T12:53:38.583" v="20719" actId="478"/>
          <ac:cxnSpMkLst>
            <pc:docMk/>
            <pc:sldMk cId="2545986200" sldId="919"/>
            <ac:cxnSpMk id="40" creationId="{24341C7E-EFC6-4C83-9708-CA155B8F2C24}"/>
          </ac:cxnSpMkLst>
        </pc:cxnChg>
        <pc:cxnChg chg="del">
          <ac:chgData name="Kisliuk, Adrian (ext)" userId="6e619ce3-2643-4cdf-9a13-b4c269650021" providerId="ADAL" clId="{AFCEEFB0-37BC-48D4-B200-D3706B2CD7FE}" dt="2021-04-21T12:53:38.583" v="20719" actId="478"/>
          <ac:cxnSpMkLst>
            <pc:docMk/>
            <pc:sldMk cId="2545986200" sldId="919"/>
            <ac:cxnSpMk id="41" creationId="{4B06AB27-E8CB-4353-BEFC-9A0034019A1E}"/>
          </ac:cxnSpMkLst>
        </pc:cxnChg>
        <pc:cxnChg chg="del">
          <ac:chgData name="Kisliuk, Adrian (ext)" userId="6e619ce3-2643-4cdf-9a13-b4c269650021" providerId="ADAL" clId="{AFCEEFB0-37BC-48D4-B200-D3706B2CD7FE}" dt="2021-04-21T12:53:38.583" v="20719" actId="478"/>
          <ac:cxnSpMkLst>
            <pc:docMk/>
            <pc:sldMk cId="2545986200" sldId="919"/>
            <ac:cxnSpMk id="58" creationId="{974B35D4-167F-4835-B4DE-C051D83D680B}"/>
          </ac:cxnSpMkLst>
        </pc:cxnChg>
        <pc:cxnChg chg="del">
          <ac:chgData name="Kisliuk, Adrian (ext)" userId="6e619ce3-2643-4cdf-9a13-b4c269650021" providerId="ADAL" clId="{AFCEEFB0-37BC-48D4-B200-D3706B2CD7FE}" dt="2021-04-21T12:53:38.583" v="20719" actId="478"/>
          <ac:cxnSpMkLst>
            <pc:docMk/>
            <pc:sldMk cId="2545986200" sldId="919"/>
            <ac:cxnSpMk id="59" creationId="{33A11F75-40F6-4F57-B870-007341E8DF89}"/>
          </ac:cxnSpMkLst>
        </pc:cxnChg>
        <pc:cxnChg chg="del mod">
          <ac:chgData name="Kisliuk, Adrian (ext)" userId="6e619ce3-2643-4cdf-9a13-b4c269650021" providerId="ADAL" clId="{AFCEEFB0-37BC-48D4-B200-D3706B2CD7FE}" dt="2021-04-21T12:53:38.583" v="20719" actId="478"/>
          <ac:cxnSpMkLst>
            <pc:docMk/>
            <pc:sldMk cId="2545986200" sldId="919"/>
            <ac:cxnSpMk id="62" creationId="{313C0A8F-5250-4157-BEE5-87D6324A7AC8}"/>
          </ac:cxnSpMkLst>
        </pc:cxnChg>
        <pc:cxnChg chg="del mod">
          <ac:chgData name="Kisliuk, Adrian (ext)" userId="6e619ce3-2643-4cdf-9a13-b4c269650021" providerId="ADAL" clId="{AFCEEFB0-37BC-48D4-B200-D3706B2CD7FE}" dt="2021-04-21T12:53:38.583" v="20719" actId="478"/>
          <ac:cxnSpMkLst>
            <pc:docMk/>
            <pc:sldMk cId="2545986200" sldId="919"/>
            <ac:cxnSpMk id="69" creationId="{8BEF8AEB-4E49-41DB-BF30-C4784B950AC7}"/>
          </ac:cxnSpMkLst>
        </pc:cxnChg>
      </pc:sldChg>
      <pc:sldChg chg="new del">
        <pc:chgData name="Kisliuk, Adrian (ext)" userId="6e619ce3-2643-4cdf-9a13-b4c269650021" providerId="ADAL" clId="{AFCEEFB0-37BC-48D4-B200-D3706B2CD7FE}" dt="2021-04-21T12:45:16.662" v="20553" actId="47"/>
        <pc:sldMkLst>
          <pc:docMk/>
          <pc:sldMk cId="4015362375" sldId="919"/>
        </pc:sldMkLst>
      </pc:sldChg>
      <pc:sldChg chg="addSp delSp modSp add mod">
        <pc:chgData name="Kisliuk, Adrian (ext)" userId="6e619ce3-2643-4cdf-9a13-b4c269650021" providerId="ADAL" clId="{AFCEEFB0-37BC-48D4-B200-D3706B2CD7FE}" dt="2021-06-02T09:19:44.107" v="30671" actId="478"/>
        <pc:sldMkLst>
          <pc:docMk/>
          <pc:sldMk cId="3100841740" sldId="920"/>
        </pc:sldMkLst>
        <pc:spChg chg="del">
          <ac:chgData name="Kisliuk, Adrian (ext)" userId="6e619ce3-2643-4cdf-9a13-b4c269650021" providerId="ADAL" clId="{AFCEEFB0-37BC-48D4-B200-D3706B2CD7FE}" dt="2021-04-22T06:07:45.829" v="22104" actId="478"/>
          <ac:spMkLst>
            <pc:docMk/>
            <pc:sldMk cId="3100841740" sldId="920"/>
            <ac:spMk id="2" creationId="{D65150D3-F609-4890-BC1A-C9935566782D}"/>
          </ac:spMkLst>
        </pc:spChg>
        <pc:spChg chg="mod">
          <ac:chgData name="Kisliuk, Adrian (ext)" userId="6e619ce3-2643-4cdf-9a13-b4c269650021" providerId="ADAL" clId="{AFCEEFB0-37BC-48D4-B200-D3706B2CD7FE}" dt="2021-05-19T09:06:49.653" v="27805" actId="20577"/>
          <ac:spMkLst>
            <pc:docMk/>
            <pc:sldMk cId="3100841740" sldId="920"/>
            <ac:spMk id="3" creationId="{D2710882-1DA8-468F-8A88-A523683F1827}"/>
          </ac:spMkLst>
        </pc:spChg>
        <pc:spChg chg="add mod">
          <ac:chgData name="Kisliuk, Adrian (ext)" userId="6e619ce3-2643-4cdf-9a13-b4c269650021" providerId="ADAL" clId="{AFCEEFB0-37BC-48D4-B200-D3706B2CD7FE}" dt="2021-04-28T09:42:42.761" v="26578" actId="1076"/>
          <ac:spMkLst>
            <pc:docMk/>
            <pc:sldMk cId="3100841740" sldId="920"/>
            <ac:spMk id="4" creationId="{715F7621-7F2C-4E80-AE35-45AB9E46CFD6}"/>
          </ac:spMkLst>
        </pc:spChg>
        <pc:spChg chg="add mod">
          <ac:chgData name="Kisliuk, Adrian (ext)" userId="6e619ce3-2643-4cdf-9a13-b4c269650021" providerId="ADAL" clId="{AFCEEFB0-37BC-48D4-B200-D3706B2CD7FE}" dt="2021-04-28T09:42:12.505" v="26571" actId="571"/>
          <ac:spMkLst>
            <pc:docMk/>
            <pc:sldMk cId="3100841740" sldId="920"/>
            <ac:spMk id="6" creationId="{175171C5-8A85-4530-97A6-80BE781BC3CB}"/>
          </ac:spMkLst>
        </pc:spChg>
        <pc:spChg chg="del">
          <ac:chgData name="Kisliuk, Adrian (ext)" userId="6e619ce3-2643-4cdf-9a13-b4c269650021" providerId="ADAL" clId="{AFCEEFB0-37BC-48D4-B200-D3706B2CD7FE}" dt="2021-06-02T09:19:44.107" v="30671" actId="478"/>
          <ac:spMkLst>
            <pc:docMk/>
            <pc:sldMk cId="3100841740" sldId="920"/>
            <ac:spMk id="6" creationId="{1CF74FA8-66EF-4087-90C5-E91A4C58EBAD}"/>
          </ac:spMkLst>
        </pc:spChg>
        <pc:spChg chg="add del mod">
          <ac:chgData name="Kisliuk, Adrian (ext)" userId="6e619ce3-2643-4cdf-9a13-b4c269650021" providerId="ADAL" clId="{AFCEEFB0-37BC-48D4-B200-D3706B2CD7FE}" dt="2021-04-22T16:23:57.276" v="22773" actId="478"/>
          <ac:spMkLst>
            <pc:docMk/>
            <pc:sldMk cId="3100841740" sldId="920"/>
            <ac:spMk id="6" creationId="{264FE975-E88C-4473-829F-24740397CD5D}"/>
          </ac:spMkLst>
        </pc:spChg>
        <pc:spChg chg="add del mod">
          <ac:chgData name="Kisliuk, Adrian (ext)" userId="6e619ce3-2643-4cdf-9a13-b4c269650021" providerId="ADAL" clId="{AFCEEFB0-37BC-48D4-B200-D3706B2CD7FE}" dt="2021-04-22T06:07:47.451" v="22105" actId="478"/>
          <ac:spMkLst>
            <pc:docMk/>
            <pc:sldMk cId="3100841740" sldId="920"/>
            <ac:spMk id="7" creationId="{50530121-B67A-40C5-AAF3-10870E6F67B3}"/>
          </ac:spMkLst>
        </pc:spChg>
        <pc:cxnChg chg="add mod">
          <ac:chgData name="Kisliuk, Adrian (ext)" userId="6e619ce3-2643-4cdf-9a13-b4c269650021" providerId="ADAL" clId="{AFCEEFB0-37BC-48D4-B200-D3706B2CD7FE}" dt="2021-04-28T09:42:42.761" v="26578" actId="1076"/>
          <ac:cxnSpMkLst>
            <pc:docMk/>
            <pc:sldMk cId="3100841740" sldId="920"/>
            <ac:cxnSpMk id="5" creationId="{A917E9BA-10B2-4874-9986-4DED666A4BB1}"/>
          </ac:cxnSpMkLst>
        </pc:cxnChg>
      </pc:sldChg>
      <pc:sldChg chg="addSp delSp modSp add del mod ord modShow addCm delCm modCm">
        <pc:chgData name="Kisliuk, Adrian (ext)" userId="6e619ce3-2643-4cdf-9a13-b4c269650021" providerId="ADAL" clId="{AFCEEFB0-37BC-48D4-B200-D3706B2CD7FE}" dt="2021-04-28T08:44:32.503" v="26290" actId="47"/>
        <pc:sldMkLst>
          <pc:docMk/>
          <pc:sldMk cId="251711019" sldId="921"/>
        </pc:sldMkLst>
        <pc:spChg chg="mod">
          <ac:chgData name="Kisliuk, Adrian (ext)" userId="6e619ce3-2643-4cdf-9a13-b4c269650021" providerId="ADAL" clId="{AFCEEFB0-37BC-48D4-B200-D3706B2CD7FE}" dt="2021-04-23T05:47:32.226" v="23010" actId="20577"/>
          <ac:spMkLst>
            <pc:docMk/>
            <pc:sldMk cId="251711019" sldId="921"/>
            <ac:spMk id="2" creationId="{A30CB9C5-1D04-4B1D-9E06-9EECBAD81A55}"/>
          </ac:spMkLst>
        </pc:spChg>
        <pc:spChg chg="mod topLvl">
          <ac:chgData name="Kisliuk, Adrian (ext)" userId="6e619ce3-2643-4cdf-9a13-b4c269650021" providerId="ADAL" clId="{AFCEEFB0-37BC-48D4-B200-D3706B2CD7FE}" dt="2021-04-24T20:29:51.470" v="24371" actId="1076"/>
          <ac:spMkLst>
            <pc:docMk/>
            <pc:sldMk cId="251711019" sldId="921"/>
            <ac:spMk id="4" creationId="{6C478F80-31A9-45DC-8571-557F49B50F52}"/>
          </ac:spMkLst>
        </pc:spChg>
        <pc:spChg chg="del">
          <ac:chgData name="Kisliuk, Adrian (ext)" userId="6e619ce3-2643-4cdf-9a13-b4c269650021" providerId="ADAL" clId="{AFCEEFB0-37BC-48D4-B200-D3706B2CD7FE}" dt="2021-04-22T13:53:52.627" v="22536" actId="478"/>
          <ac:spMkLst>
            <pc:docMk/>
            <pc:sldMk cId="251711019" sldId="921"/>
            <ac:spMk id="5" creationId="{19C23119-6B3F-4305-8AB2-66A8BEF24B4B}"/>
          </ac:spMkLst>
        </pc:spChg>
        <pc:spChg chg="del">
          <ac:chgData name="Kisliuk, Adrian (ext)" userId="6e619ce3-2643-4cdf-9a13-b4c269650021" providerId="ADAL" clId="{AFCEEFB0-37BC-48D4-B200-D3706B2CD7FE}" dt="2021-04-22T13:54:03.933" v="22540" actId="478"/>
          <ac:spMkLst>
            <pc:docMk/>
            <pc:sldMk cId="251711019" sldId="921"/>
            <ac:spMk id="7" creationId="{B5DA88EF-E33B-4858-BC9E-EB4585EDB775}"/>
          </ac:spMkLst>
        </pc:spChg>
        <pc:spChg chg="del">
          <ac:chgData name="Kisliuk, Adrian (ext)" userId="6e619ce3-2643-4cdf-9a13-b4c269650021" providerId="ADAL" clId="{AFCEEFB0-37BC-48D4-B200-D3706B2CD7FE}" dt="2021-04-22T13:53:57.983" v="22538" actId="478"/>
          <ac:spMkLst>
            <pc:docMk/>
            <pc:sldMk cId="251711019" sldId="921"/>
            <ac:spMk id="8" creationId="{64A0438E-37C1-4D00-8052-C1252BACE6D9}"/>
          </ac:spMkLst>
        </pc:spChg>
        <pc:spChg chg="del">
          <ac:chgData name="Kisliuk, Adrian (ext)" userId="6e619ce3-2643-4cdf-9a13-b4c269650021" providerId="ADAL" clId="{AFCEEFB0-37BC-48D4-B200-D3706B2CD7FE}" dt="2021-04-22T13:54:03.933" v="22540" actId="478"/>
          <ac:spMkLst>
            <pc:docMk/>
            <pc:sldMk cId="251711019" sldId="921"/>
            <ac:spMk id="9" creationId="{659CCC11-AB1A-4F15-8AC6-54878824FF89}"/>
          </ac:spMkLst>
        </pc:spChg>
        <pc:spChg chg="del">
          <ac:chgData name="Kisliuk, Adrian (ext)" userId="6e619ce3-2643-4cdf-9a13-b4c269650021" providerId="ADAL" clId="{AFCEEFB0-37BC-48D4-B200-D3706B2CD7FE}" dt="2021-04-22T13:53:57.983" v="22538" actId="478"/>
          <ac:spMkLst>
            <pc:docMk/>
            <pc:sldMk cId="251711019" sldId="921"/>
            <ac:spMk id="10" creationId="{4073AA1F-F9E5-40D8-9E97-C0734C1469FA}"/>
          </ac:spMkLst>
        </pc:spChg>
        <pc:spChg chg="del">
          <ac:chgData name="Kisliuk, Adrian (ext)" userId="6e619ce3-2643-4cdf-9a13-b4c269650021" providerId="ADAL" clId="{AFCEEFB0-37BC-48D4-B200-D3706B2CD7FE}" dt="2021-04-22T13:53:52.627" v="22536" actId="478"/>
          <ac:spMkLst>
            <pc:docMk/>
            <pc:sldMk cId="251711019" sldId="921"/>
            <ac:spMk id="11" creationId="{7180B60B-4CF4-4FC2-8E02-82DAAA37F157}"/>
          </ac:spMkLst>
        </pc:spChg>
        <pc:spChg chg="del">
          <ac:chgData name="Kisliuk, Adrian (ext)" userId="6e619ce3-2643-4cdf-9a13-b4c269650021" providerId="ADAL" clId="{AFCEEFB0-37BC-48D4-B200-D3706B2CD7FE}" dt="2021-04-22T13:53:52.627" v="22536" actId="478"/>
          <ac:spMkLst>
            <pc:docMk/>
            <pc:sldMk cId="251711019" sldId="921"/>
            <ac:spMk id="12" creationId="{3A0DF386-41D7-454A-9F38-CAC1CBBA491A}"/>
          </ac:spMkLst>
        </pc:spChg>
        <pc:spChg chg="del">
          <ac:chgData name="Kisliuk, Adrian (ext)" userId="6e619ce3-2643-4cdf-9a13-b4c269650021" providerId="ADAL" clId="{AFCEEFB0-37BC-48D4-B200-D3706B2CD7FE}" dt="2021-04-22T13:53:52.627" v="22536" actId="478"/>
          <ac:spMkLst>
            <pc:docMk/>
            <pc:sldMk cId="251711019" sldId="921"/>
            <ac:spMk id="13" creationId="{E6D7FBB7-27B6-449E-A378-8A388907AE59}"/>
          </ac:spMkLst>
        </pc:spChg>
        <pc:spChg chg="del">
          <ac:chgData name="Kisliuk, Adrian (ext)" userId="6e619ce3-2643-4cdf-9a13-b4c269650021" providerId="ADAL" clId="{AFCEEFB0-37BC-48D4-B200-D3706B2CD7FE}" dt="2021-04-22T13:53:52.627" v="22536" actId="478"/>
          <ac:spMkLst>
            <pc:docMk/>
            <pc:sldMk cId="251711019" sldId="921"/>
            <ac:spMk id="14" creationId="{0D263BEC-1038-4D75-869B-4D85D4C614D0}"/>
          </ac:spMkLst>
        </pc:spChg>
        <pc:spChg chg="del">
          <ac:chgData name="Kisliuk, Adrian (ext)" userId="6e619ce3-2643-4cdf-9a13-b4c269650021" providerId="ADAL" clId="{AFCEEFB0-37BC-48D4-B200-D3706B2CD7FE}" dt="2021-04-22T13:53:52.627" v="22536" actId="478"/>
          <ac:spMkLst>
            <pc:docMk/>
            <pc:sldMk cId="251711019" sldId="921"/>
            <ac:spMk id="15" creationId="{7EE770AC-CD19-467B-B0AD-4F9661326345}"/>
          </ac:spMkLst>
        </pc:spChg>
        <pc:spChg chg="del">
          <ac:chgData name="Kisliuk, Adrian (ext)" userId="6e619ce3-2643-4cdf-9a13-b4c269650021" providerId="ADAL" clId="{AFCEEFB0-37BC-48D4-B200-D3706B2CD7FE}" dt="2021-04-22T13:53:52.627" v="22536" actId="478"/>
          <ac:spMkLst>
            <pc:docMk/>
            <pc:sldMk cId="251711019" sldId="921"/>
            <ac:spMk id="16" creationId="{27FE5210-7723-42B9-AD85-4563B924D294}"/>
          </ac:spMkLst>
        </pc:spChg>
        <pc:spChg chg="mod topLvl">
          <ac:chgData name="Kisliuk, Adrian (ext)" userId="6e619ce3-2643-4cdf-9a13-b4c269650021" providerId="ADAL" clId="{AFCEEFB0-37BC-48D4-B200-D3706B2CD7FE}" dt="2021-04-24T20:29:51.470" v="24371" actId="1076"/>
          <ac:spMkLst>
            <pc:docMk/>
            <pc:sldMk cId="251711019" sldId="921"/>
            <ac:spMk id="17" creationId="{8B78DD78-4CB4-46E3-970B-CF3289FE325D}"/>
          </ac:spMkLst>
        </pc:spChg>
        <pc:spChg chg="mod topLvl">
          <ac:chgData name="Kisliuk, Adrian (ext)" userId="6e619ce3-2643-4cdf-9a13-b4c269650021" providerId="ADAL" clId="{AFCEEFB0-37BC-48D4-B200-D3706B2CD7FE}" dt="2021-04-24T20:29:51.470" v="24371" actId="1076"/>
          <ac:spMkLst>
            <pc:docMk/>
            <pc:sldMk cId="251711019" sldId="921"/>
            <ac:spMk id="18" creationId="{68EB19FE-966D-4176-ADE3-D35C825144E8}"/>
          </ac:spMkLst>
        </pc:spChg>
        <pc:spChg chg="del">
          <ac:chgData name="Kisliuk, Adrian (ext)" userId="6e619ce3-2643-4cdf-9a13-b4c269650021" providerId="ADAL" clId="{AFCEEFB0-37BC-48D4-B200-D3706B2CD7FE}" dt="2021-04-22T13:53:52.627" v="22536" actId="478"/>
          <ac:spMkLst>
            <pc:docMk/>
            <pc:sldMk cId="251711019" sldId="921"/>
            <ac:spMk id="21" creationId="{B9E2C3AB-FAEE-4FBE-AD4C-A265070BB4D1}"/>
          </ac:spMkLst>
        </pc:spChg>
        <pc:spChg chg="add mod">
          <ac:chgData name="Kisliuk, Adrian (ext)" userId="6e619ce3-2643-4cdf-9a13-b4c269650021" providerId="ADAL" clId="{AFCEEFB0-37BC-48D4-B200-D3706B2CD7FE}" dt="2021-04-24T20:51:31.232" v="24538" actId="1076"/>
          <ac:spMkLst>
            <pc:docMk/>
            <pc:sldMk cId="251711019" sldId="921"/>
            <ac:spMk id="22" creationId="{48C519BD-566C-475B-BD4B-77BE7DC75AB6}"/>
          </ac:spMkLst>
        </pc:spChg>
        <pc:spChg chg="del">
          <ac:chgData name="Kisliuk, Adrian (ext)" userId="6e619ce3-2643-4cdf-9a13-b4c269650021" providerId="ADAL" clId="{AFCEEFB0-37BC-48D4-B200-D3706B2CD7FE}" dt="2021-04-22T13:53:52.627" v="22536" actId="478"/>
          <ac:spMkLst>
            <pc:docMk/>
            <pc:sldMk cId="251711019" sldId="921"/>
            <ac:spMk id="27" creationId="{8C5FB3E2-33BB-4DBA-AE70-840F1E9AA934}"/>
          </ac:spMkLst>
        </pc:spChg>
        <pc:spChg chg="del">
          <ac:chgData name="Kisliuk, Adrian (ext)" userId="6e619ce3-2643-4cdf-9a13-b4c269650021" providerId="ADAL" clId="{AFCEEFB0-37BC-48D4-B200-D3706B2CD7FE}" dt="2021-04-22T13:53:57.983" v="22538" actId="478"/>
          <ac:spMkLst>
            <pc:docMk/>
            <pc:sldMk cId="251711019" sldId="921"/>
            <ac:spMk id="29" creationId="{2F99AE01-AF99-46A7-A693-68AF2548D92C}"/>
          </ac:spMkLst>
        </pc:spChg>
        <pc:spChg chg="del">
          <ac:chgData name="Kisliuk, Adrian (ext)" userId="6e619ce3-2643-4cdf-9a13-b4c269650021" providerId="ADAL" clId="{AFCEEFB0-37BC-48D4-B200-D3706B2CD7FE}" dt="2021-04-22T13:54:00.398" v="22539" actId="478"/>
          <ac:spMkLst>
            <pc:docMk/>
            <pc:sldMk cId="251711019" sldId="921"/>
            <ac:spMk id="30" creationId="{B47163EB-EBD0-43BB-9412-BFB0B96B07D4}"/>
          </ac:spMkLst>
        </pc:spChg>
        <pc:spChg chg="del">
          <ac:chgData name="Kisliuk, Adrian (ext)" userId="6e619ce3-2643-4cdf-9a13-b4c269650021" providerId="ADAL" clId="{AFCEEFB0-37BC-48D4-B200-D3706B2CD7FE}" dt="2021-04-22T13:53:52.627" v="22536" actId="478"/>
          <ac:spMkLst>
            <pc:docMk/>
            <pc:sldMk cId="251711019" sldId="921"/>
            <ac:spMk id="32" creationId="{3FDD295E-749F-4363-9B75-96F8B093D275}"/>
          </ac:spMkLst>
        </pc:spChg>
        <pc:spChg chg="del mod">
          <ac:chgData name="Kisliuk, Adrian (ext)" userId="6e619ce3-2643-4cdf-9a13-b4c269650021" providerId="ADAL" clId="{AFCEEFB0-37BC-48D4-B200-D3706B2CD7FE}" dt="2021-04-23T05:45:23.989" v="23002" actId="478"/>
          <ac:spMkLst>
            <pc:docMk/>
            <pc:sldMk cId="251711019" sldId="921"/>
            <ac:spMk id="34" creationId="{17413579-92EE-436B-B3EA-1B3E54C8E3A6}"/>
          </ac:spMkLst>
        </pc:spChg>
        <pc:spChg chg="mod topLvl">
          <ac:chgData name="Kisliuk, Adrian (ext)" userId="6e619ce3-2643-4cdf-9a13-b4c269650021" providerId="ADAL" clId="{AFCEEFB0-37BC-48D4-B200-D3706B2CD7FE}" dt="2021-04-24T20:29:51.470" v="24371" actId="1076"/>
          <ac:spMkLst>
            <pc:docMk/>
            <pc:sldMk cId="251711019" sldId="921"/>
            <ac:spMk id="35" creationId="{FC56408E-740E-4A3A-8452-FD75FD306484}"/>
          </ac:spMkLst>
        </pc:spChg>
        <pc:spChg chg="add mod topLvl">
          <ac:chgData name="Kisliuk, Adrian (ext)" userId="6e619ce3-2643-4cdf-9a13-b4c269650021" providerId="ADAL" clId="{AFCEEFB0-37BC-48D4-B200-D3706B2CD7FE}" dt="2021-04-24T20:29:51.470" v="24371" actId="1076"/>
          <ac:spMkLst>
            <pc:docMk/>
            <pc:sldMk cId="251711019" sldId="921"/>
            <ac:spMk id="39" creationId="{EA246094-49D5-4130-ACC2-571E0703F4C0}"/>
          </ac:spMkLst>
        </pc:spChg>
        <pc:spChg chg="add mod topLvl">
          <ac:chgData name="Kisliuk, Adrian (ext)" userId="6e619ce3-2643-4cdf-9a13-b4c269650021" providerId="ADAL" clId="{AFCEEFB0-37BC-48D4-B200-D3706B2CD7FE}" dt="2021-04-24T20:29:51.470" v="24371" actId="1076"/>
          <ac:spMkLst>
            <pc:docMk/>
            <pc:sldMk cId="251711019" sldId="921"/>
            <ac:spMk id="40" creationId="{E6D3E5D0-9873-4418-904A-25987C0A2B3E}"/>
          </ac:spMkLst>
        </pc:spChg>
        <pc:spChg chg="add mod topLvl">
          <ac:chgData name="Kisliuk, Adrian (ext)" userId="6e619ce3-2643-4cdf-9a13-b4c269650021" providerId="ADAL" clId="{AFCEEFB0-37BC-48D4-B200-D3706B2CD7FE}" dt="2021-04-24T20:29:51.470" v="24371" actId="1076"/>
          <ac:spMkLst>
            <pc:docMk/>
            <pc:sldMk cId="251711019" sldId="921"/>
            <ac:spMk id="56" creationId="{D9F09DE9-1AC8-4EF9-AE6D-1C7EA4360376}"/>
          </ac:spMkLst>
        </pc:spChg>
        <pc:spChg chg="del">
          <ac:chgData name="Kisliuk, Adrian (ext)" userId="6e619ce3-2643-4cdf-9a13-b4c269650021" providerId="ADAL" clId="{AFCEEFB0-37BC-48D4-B200-D3706B2CD7FE}" dt="2021-04-22T13:53:52.627" v="22536" actId="478"/>
          <ac:spMkLst>
            <pc:docMk/>
            <pc:sldMk cId="251711019" sldId="921"/>
            <ac:spMk id="60" creationId="{0B67F420-0069-4633-B2E8-511AD5B6FA68}"/>
          </ac:spMkLst>
        </pc:spChg>
        <pc:spChg chg="del">
          <ac:chgData name="Kisliuk, Adrian (ext)" userId="6e619ce3-2643-4cdf-9a13-b4c269650021" providerId="ADAL" clId="{AFCEEFB0-37BC-48D4-B200-D3706B2CD7FE}" dt="2021-04-22T13:53:52.627" v="22536" actId="478"/>
          <ac:spMkLst>
            <pc:docMk/>
            <pc:sldMk cId="251711019" sldId="921"/>
            <ac:spMk id="61" creationId="{2489A030-9C8F-4E7F-815E-85147CD782C0}"/>
          </ac:spMkLst>
        </pc:spChg>
        <pc:spChg chg="del">
          <ac:chgData name="Kisliuk, Adrian (ext)" userId="6e619ce3-2643-4cdf-9a13-b4c269650021" providerId="ADAL" clId="{AFCEEFB0-37BC-48D4-B200-D3706B2CD7FE}" dt="2021-04-22T13:53:52.627" v="22536" actId="478"/>
          <ac:spMkLst>
            <pc:docMk/>
            <pc:sldMk cId="251711019" sldId="921"/>
            <ac:spMk id="62" creationId="{F0E1AD20-CC60-4360-BF96-BD740B61FD77}"/>
          </ac:spMkLst>
        </pc:spChg>
        <pc:grpChg chg="add del mod">
          <ac:chgData name="Kisliuk, Adrian (ext)" userId="6e619ce3-2643-4cdf-9a13-b4c269650021" providerId="ADAL" clId="{AFCEEFB0-37BC-48D4-B200-D3706B2CD7FE}" dt="2021-04-23T05:42:22.434" v="22978" actId="165"/>
          <ac:grpSpMkLst>
            <pc:docMk/>
            <pc:sldMk cId="251711019" sldId="921"/>
            <ac:grpSpMk id="3" creationId="{BA235922-6196-429B-8F28-617DE984BE55}"/>
          </ac:grpSpMkLst>
        </pc:grpChg>
        <pc:grpChg chg="add del mod">
          <ac:chgData name="Kisliuk, Adrian (ext)" userId="6e619ce3-2643-4cdf-9a13-b4c269650021" providerId="ADAL" clId="{AFCEEFB0-37BC-48D4-B200-D3706B2CD7FE}" dt="2021-04-23T05:43:43.234" v="22989" actId="165"/>
          <ac:grpSpMkLst>
            <pc:docMk/>
            <pc:sldMk cId="251711019" sldId="921"/>
            <ac:grpSpMk id="5" creationId="{1068AC99-2906-4E04-9B55-7CDD89082B6D}"/>
          </ac:grpSpMkLst>
        </pc:grpChg>
        <pc:grpChg chg="add mod">
          <ac:chgData name="Kisliuk, Adrian (ext)" userId="6e619ce3-2643-4cdf-9a13-b4c269650021" providerId="ADAL" clId="{AFCEEFB0-37BC-48D4-B200-D3706B2CD7FE}" dt="2021-04-24T20:29:51.470" v="24371" actId="1076"/>
          <ac:grpSpMkLst>
            <pc:docMk/>
            <pc:sldMk cId="251711019" sldId="921"/>
            <ac:grpSpMk id="6" creationId="{FF979692-757F-431C-93AD-FBF0E5334906}"/>
          </ac:grpSpMkLst>
        </pc:grpChg>
        <pc:grpChg chg="add mod">
          <ac:chgData name="Kisliuk, Adrian (ext)" userId="6e619ce3-2643-4cdf-9a13-b4c269650021" providerId="ADAL" clId="{AFCEEFB0-37BC-48D4-B200-D3706B2CD7FE}" dt="2021-04-24T20:29:51.470" v="24371" actId="1076"/>
          <ac:grpSpMkLst>
            <pc:docMk/>
            <pc:sldMk cId="251711019" sldId="921"/>
            <ac:grpSpMk id="9" creationId="{82AC863D-7C57-49CE-8112-034421903377}"/>
          </ac:grpSpMkLst>
        </pc:grpChg>
        <pc:picChg chg="del">
          <ac:chgData name="Kisliuk, Adrian (ext)" userId="6e619ce3-2643-4cdf-9a13-b4c269650021" providerId="ADAL" clId="{AFCEEFB0-37BC-48D4-B200-D3706B2CD7FE}" dt="2021-04-22T13:53:52.627" v="22536" actId="478"/>
          <ac:picMkLst>
            <pc:docMk/>
            <pc:sldMk cId="251711019" sldId="921"/>
            <ac:picMk id="20" creationId="{3C17EC33-9747-4789-B3D8-0898CDE1B8A2}"/>
          </ac:picMkLst>
        </pc:picChg>
        <pc:picChg chg="mod topLvl">
          <ac:chgData name="Kisliuk, Adrian (ext)" userId="6e619ce3-2643-4cdf-9a13-b4c269650021" providerId="ADAL" clId="{AFCEEFB0-37BC-48D4-B200-D3706B2CD7FE}" dt="2021-04-24T20:29:51.470" v="24371" actId="1076"/>
          <ac:picMkLst>
            <pc:docMk/>
            <pc:sldMk cId="251711019" sldId="921"/>
            <ac:picMk id="26" creationId="{58813FB7-2948-45F9-A28E-D99B70D235C8}"/>
          </ac:picMkLst>
        </pc:picChg>
        <pc:cxnChg chg="del">
          <ac:chgData name="Kisliuk, Adrian (ext)" userId="6e619ce3-2643-4cdf-9a13-b4c269650021" providerId="ADAL" clId="{AFCEEFB0-37BC-48D4-B200-D3706B2CD7FE}" dt="2021-04-22T13:53:54.732" v="22537" actId="478"/>
          <ac:cxnSpMkLst>
            <pc:docMk/>
            <pc:sldMk cId="251711019" sldId="921"/>
            <ac:cxnSpMk id="6" creationId="{F5F09235-9BFD-42B2-9F0D-0673B2C53BA9}"/>
          </ac:cxnSpMkLst>
        </pc:cxnChg>
        <pc:cxnChg chg="del mod">
          <ac:chgData name="Kisliuk, Adrian (ext)" userId="6e619ce3-2643-4cdf-9a13-b4c269650021" providerId="ADAL" clId="{AFCEEFB0-37BC-48D4-B200-D3706B2CD7FE}" dt="2021-04-22T13:53:52.627" v="22536" actId="478"/>
          <ac:cxnSpMkLst>
            <pc:docMk/>
            <pc:sldMk cId="251711019" sldId="921"/>
            <ac:cxnSpMk id="22" creationId="{8544B6DE-5F5D-468A-8EC9-80D4BA477067}"/>
          </ac:cxnSpMkLst>
        </pc:cxnChg>
        <pc:cxnChg chg="del mod">
          <ac:chgData name="Kisliuk, Adrian (ext)" userId="6e619ce3-2643-4cdf-9a13-b4c269650021" providerId="ADAL" clId="{AFCEEFB0-37BC-48D4-B200-D3706B2CD7FE}" dt="2021-04-22T13:53:52.627" v="22536" actId="478"/>
          <ac:cxnSpMkLst>
            <pc:docMk/>
            <pc:sldMk cId="251711019" sldId="921"/>
            <ac:cxnSpMk id="23" creationId="{9D0B7576-9F36-4FF2-9A0E-CEFE72B65BE6}"/>
          </ac:cxnSpMkLst>
        </pc:cxnChg>
        <pc:cxnChg chg="add mod">
          <ac:chgData name="Kisliuk, Adrian (ext)" userId="6e619ce3-2643-4cdf-9a13-b4c269650021" providerId="ADAL" clId="{AFCEEFB0-37BC-48D4-B200-D3706B2CD7FE}" dt="2021-04-24T20:29:51.470" v="24371" actId="1076"/>
          <ac:cxnSpMkLst>
            <pc:docMk/>
            <pc:sldMk cId="251711019" sldId="921"/>
            <ac:cxnSpMk id="23" creationId="{EBBF0963-BE03-401E-9E77-44D85AAA0817}"/>
          </ac:cxnSpMkLst>
        </pc:cxnChg>
        <pc:cxnChg chg="del mod">
          <ac:chgData name="Kisliuk, Adrian (ext)" userId="6e619ce3-2643-4cdf-9a13-b4c269650021" providerId="ADAL" clId="{AFCEEFB0-37BC-48D4-B200-D3706B2CD7FE}" dt="2021-04-22T13:53:52.627" v="22536" actId="478"/>
          <ac:cxnSpMkLst>
            <pc:docMk/>
            <pc:sldMk cId="251711019" sldId="921"/>
            <ac:cxnSpMk id="24" creationId="{8F7AEA99-66FB-4032-A1E5-522F2CB4220B}"/>
          </ac:cxnSpMkLst>
        </pc:cxnChg>
        <pc:cxnChg chg="del mod">
          <ac:chgData name="Kisliuk, Adrian (ext)" userId="6e619ce3-2643-4cdf-9a13-b4c269650021" providerId="ADAL" clId="{AFCEEFB0-37BC-48D4-B200-D3706B2CD7FE}" dt="2021-04-22T13:54:03.933" v="22540" actId="478"/>
          <ac:cxnSpMkLst>
            <pc:docMk/>
            <pc:sldMk cId="251711019" sldId="921"/>
            <ac:cxnSpMk id="25" creationId="{8B01A895-5DDC-45BE-AD17-33B9C20D325F}"/>
          </ac:cxnSpMkLst>
        </pc:cxnChg>
        <pc:cxnChg chg="mod topLvl">
          <ac:chgData name="Kisliuk, Adrian (ext)" userId="6e619ce3-2643-4cdf-9a13-b4c269650021" providerId="ADAL" clId="{AFCEEFB0-37BC-48D4-B200-D3706B2CD7FE}" dt="2021-04-24T20:29:51.470" v="24371" actId="1076"/>
          <ac:cxnSpMkLst>
            <pc:docMk/>
            <pc:sldMk cId="251711019" sldId="921"/>
            <ac:cxnSpMk id="31" creationId="{6AB3E61D-A014-497D-AF77-13E47C9A21CB}"/>
          </ac:cxnSpMkLst>
        </pc:cxnChg>
        <pc:cxnChg chg="del mod">
          <ac:chgData name="Kisliuk, Adrian (ext)" userId="6e619ce3-2643-4cdf-9a13-b4c269650021" providerId="ADAL" clId="{AFCEEFB0-37BC-48D4-B200-D3706B2CD7FE}" dt="2021-04-22T13:53:52.627" v="22536" actId="478"/>
          <ac:cxnSpMkLst>
            <pc:docMk/>
            <pc:sldMk cId="251711019" sldId="921"/>
            <ac:cxnSpMk id="33" creationId="{8E982713-8233-450A-924B-AA855DEB079B}"/>
          </ac:cxnSpMkLst>
        </pc:cxnChg>
        <pc:cxnChg chg="mod topLvl">
          <ac:chgData name="Kisliuk, Adrian (ext)" userId="6e619ce3-2643-4cdf-9a13-b4c269650021" providerId="ADAL" clId="{AFCEEFB0-37BC-48D4-B200-D3706B2CD7FE}" dt="2021-04-24T20:29:51.470" v="24371" actId="1076"/>
          <ac:cxnSpMkLst>
            <pc:docMk/>
            <pc:sldMk cId="251711019" sldId="921"/>
            <ac:cxnSpMk id="36" creationId="{AAEAD611-6A54-4BE2-998A-3636ECF86B3B}"/>
          </ac:cxnSpMkLst>
        </pc:cxnChg>
        <pc:cxnChg chg="mod topLvl">
          <ac:chgData name="Kisliuk, Adrian (ext)" userId="6e619ce3-2643-4cdf-9a13-b4c269650021" providerId="ADAL" clId="{AFCEEFB0-37BC-48D4-B200-D3706B2CD7FE}" dt="2021-04-24T20:29:51.470" v="24371" actId="1076"/>
          <ac:cxnSpMkLst>
            <pc:docMk/>
            <pc:sldMk cId="251711019" sldId="921"/>
            <ac:cxnSpMk id="38" creationId="{0A95B66F-6716-465A-A5D7-E2927C5B36DB}"/>
          </ac:cxnSpMkLst>
        </pc:cxnChg>
        <pc:cxnChg chg="mod topLvl">
          <ac:chgData name="Kisliuk, Adrian (ext)" userId="6e619ce3-2643-4cdf-9a13-b4c269650021" providerId="ADAL" clId="{AFCEEFB0-37BC-48D4-B200-D3706B2CD7FE}" dt="2021-04-24T20:29:51.470" v="24371" actId="1076"/>
          <ac:cxnSpMkLst>
            <pc:docMk/>
            <pc:sldMk cId="251711019" sldId="921"/>
            <ac:cxnSpMk id="41" creationId="{4F7A62BB-4A73-45E5-88BE-9CC9738EDE3C}"/>
          </ac:cxnSpMkLst>
        </pc:cxnChg>
        <pc:cxnChg chg="add mod topLvl">
          <ac:chgData name="Kisliuk, Adrian (ext)" userId="6e619ce3-2643-4cdf-9a13-b4c269650021" providerId="ADAL" clId="{AFCEEFB0-37BC-48D4-B200-D3706B2CD7FE}" dt="2021-04-24T20:29:51.470" v="24371" actId="1076"/>
          <ac:cxnSpMkLst>
            <pc:docMk/>
            <pc:sldMk cId="251711019" sldId="921"/>
            <ac:cxnSpMk id="42" creationId="{B5A5BAC1-381D-4554-8BDE-0293398975A6}"/>
          </ac:cxnSpMkLst>
        </pc:cxnChg>
        <pc:cxnChg chg="add mod topLvl">
          <ac:chgData name="Kisliuk, Adrian (ext)" userId="6e619ce3-2643-4cdf-9a13-b4c269650021" providerId="ADAL" clId="{AFCEEFB0-37BC-48D4-B200-D3706B2CD7FE}" dt="2021-04-24T20:29:51.470" v="24371" actId="1076"/>
          <ac:cxnSpMkLst>
            <pc:docMk/>
            <pc:sldMk cId="251711019" sldId="921"/>
            <ac:cxnSpMk id="44" creationId="{19FB7450-ABEF-4FC9-AE60-0E48FB1A4CBA}"/>
          </ac:cxnSpMkLst>
        </pc:cxnChg>
        <pc:cxnChg chg="add mod topLvl">
          <ac:chgData name="Kisliuk, Adrian (ext)" userId="6e619ce3-2643-4cdf-9a13-b4c269650021" providerId="ADAL" clId="{AFCEEFB0-37BC-48D4-B200-D3706B2CD7FE}" dt="2021-04-24T20:29:51.470" v="24371" actId="1076"/>
          <ac:cxnSpMkLst>
            <pc:docMk/>
            <pc:sldMk cId="251711019" sldId="921"/>
            <ac:cxnSpMk id="58" creationId="{3D0E0CE9-05BE-46D2-BDC2-749109BCBC44}"/>
          </ac:cxnSpMkLst>
        </pc:cxnChg>
        <pc:cxnChg chg="add mod topLvl">
          <ac:chgData name="Kisliuk, Adrian (ext)" userId="6e619ce3-2643-4cdf-9a13-b4c269650021" providerId="ADAL" clId="{AFCEEFB0-37BC-48D4-B200-D3706B2CD7FE}" dt="2021-04-24T20:29:51.470" v="24371" actId="1076"/>
          <ac:cxnSpMkLst>
            <pc:docMk/>
            <pc:sldMk cId="251711019" sldId="921"/>
            <ac:cxnSpMk id="64" creationId="{4A8B95E5-9FE7-49C2-BFBE-04B530E6DDE1}"/>
          </ac:cxnSpMkLst>
        </pc:cxnChg>
      </pc:sldChg>
      <pc:sldChg chg="addSp delSp modSp add del mod modShow addCm delCm modCm">
        <pc:chgData name="Kisliuk, Adrian (ext)" userId="6e619ce3-2643-4cdf-9a13-b4c269650021" providerId="ADAL" clId="{AFCEEFB0-37BC-48D4-B200-D3706B2CD7FE}" dt="2021-05-11T09:30:19.376" v="27033" actId="47"/>
        <pc:sldMkLst>
          <pc:docMk/>
          <pc:sldMk cId="611033580" sldId="922"/>
        </pc:sldMkLst>
        <pc:spChg chg="mod ord">
          <ac:chgData name="Kisliuk, Adrian (ext)" userId="6e619ce3-2643-4cdf-9a13-b4c269650021" providerId="ADAL" clId="{AFCEEFB0-37BC-48D4-B200-D3706B2CD7FE}" dt="2021-04-28T08:37:58.773" v="26200"/>
          <ac:spMkLst>
            <pc:docMk/>
            <pc:sldMk cId="611033580" sldId="922"/>
            <ac:spMk id="2" creationId="{A30CB9C5-1D04-4B1D-9E06-9EECBAD81A55}"/>
          </ac:spMkLst>
        </pc:spChg>
        <pc:spChg chg="mod ord topLvl">
          <ac:chgData name="Kisliuk, Adrian (ext)" userId="6e619ce3-2643-4cdf-9a13-b4c269650021" providerId="ADAL" clId="{AFCEEFB0-37BC-48D4-B200-D3706B2CD7FE}" dt="2021-04-28T09:20:53.908" v="26543" actId="1076"/>
          <ac:spMkLst>
            <pc:docMk/>
            <pc:sldMk cId="611033580" sldId="922"/>
            <ac:spMk id="4" creationId="{6C478F80-31A9-45DC-8571-557F49B50F52}"/>
          </ac:spMkLst>
        </pc:spChg>
        <pc:spChg chg="mod ord topLvl">
          <ac:chgData name="Kisliuk, Adrian (ext)" userId="6e619ce3-2643-4cdf-9a13-b4c269650021" providerId="ADAL" clId="{AFCEEFB0-37BC-48D4-B200-D3706B2CD7FE}" dt="2021-04-28T09:20:53.908" v="26543" actId="1076"/>
          <ac:spMkLst>
            <pc:docMk/>
            <pc:sldMk cId="611033580" sldId="922"/>
            <ac:spMk id="5" creationId="{19C23119-6B3F-4305-8AB2-66A8BEF24B4B}"/>
          </ac:spMkLst>
        </pc:spChg>
        <pc:spChg chg="mod ord topLvl">
          <ac:chgData name="Kisliuk, Adrian (ext)" userId="6e619ce3-2643-4cdf-9a13-b4c269650021" providerId="ADAL" clId="{AFCEEFB0-37BC-48D4-B200-D3706B2CD7FE}" dt="2021-04-28T09:20:53.908" v="26543" actId="1076"/>
          <ac:spMkLst>
            <pc:docMk/>
            <pc:sldMk cId="611033580" sldId="922"/>
            <ac:spMk id="7" creationId="{B5DA88EF-E33B-4858-BC9E-EB4585EDB775}"/>
          </ac:spMkLst>
        </pc:spChg>
        <pc:spChg chg="mod ord topLvl">
          <ac:chgData name="Kisliuk, Adrian (ext)" userId="6e619ce3-2643-4cdf-9a13-b4c269650021" providerId="ADAL" clId="{AFCEEFB0-37BC-48D4-B200-D3706B2CD7FE}" dt="2021-04-28T09:20:53.908" v="26543" actId="1076"/>
          <ac:spMkLst>
            <pc:docMk/>
            <pc:sldMk cId="611033580" sldId="922"/>
            <ac:spMk id="8" creationId="{64A0438E-37C1-4D00-8052-C1252BACE6D9}"/>
          </ac:spMkLst>
        </pc:spChg>
        <pc:spChg chg="mod ord topLvl">
          <ac:chgData name="Kisliuk, Adrian (ext)" userId="6e619ce3-2643-4cdf-9a13-b4c269650021" providerId="ADAL" clId="{AFCEEFB0-37BC-48D4-B200-D3706B2CD7FE}" dt="2021-04-28T09:20:53.908" v="26543" actId="1076"/>
          <ac:spMkLst>
            <pc:docMk/>
            <pc:sldMk cId="611033580" sldId="922"/>
            <ac:spMk id="9" creationId="{659CCC11-AB1A-4F15-8AC6-54878824FF89}"/>
          </ac:spMkLst>
        </pc:spChg>
        <pc:spChg chg="mod ord topLvl">
          <ac:chgData name="Kisliuk, Adrian (ext)" userId="6e619ce3-2643-4cdf-9a13-b4c269650021" providerId="ADAL" clId="{AFCEEFB0-37BC-48D4-B200-D3706B2CD7FE}" dt="2021-04-28T09:20:53.908" v="26543" actId="1076"/>
          <ac:spMkLst>
            <pc:docMk/>
            <pc:sldMk cId="611033580" sldId="922"/>
            <ac:spMk id="10" creationId="{4073AA1F-F9E5-40D8-9E97-C0734C1469FA}"/>
          </ac:spMkLst>
        </pc:spChg>
        <pc:spChg chg="mod ord topLvl">
          <ac:chgData name="Kisliuk, Adrian (ext)" userId="6e619ce3-2643-4cdf-9a13-b4c269650021" providerId="ADAL" clId="{AFCEEFB0-37BC-48D4-B200-D3706B2CD7FE}" dt="2021-04-28T09:20:53.908" v="26543" actId="1076"/>
          <ac:spMkLst>
            <pc:docMk/>
            <pc:sldMk cId="611033580" sldId="922"/>
            <ac:spMk id="11" creationId="{7180B60B-4CF4-4FC2-8E02-82DAAA37F157}"/>
          </ac:spMkLst>
        </pc:spChg>
        <pc:spChg chg="mod ord topLvl">
          <ac:chgData name="Kisliuk, Adrian (ext)" userId="6e619ce3-2643-4cdf-9a13-b4c269650021" providerId="ADAL" clId="{AFCEEFB0-37BC-48D4-B200-D3706B2CD7FE}" dt="2021-04-28T09:20:53.908" v="26543" actId="1076"/>
          <ac:spMkLst>
            <pc:docMk/>
            <pc:sldMk cId="611033580" sldId="922"/>
            <ac:spMk id="12" creationId="{3A0DF386-41D7-454A-9F38-CAC1CBBA491A}"/>
          </ac:spMkLst>
        </pc:spChg>
        <pc:spChg chg="mod ord topLvl">
          <ac:chgData name="Kisliuk, Adrian (ext)" userId="6e619ce3-2643-4cdf-9a13-b4c269650021" providerId="ADAL" clId="{AFCEEFB0-37BC-48D4-B200-D3706B2CD7FE}" dt="2021-05-11T09:29:30.031" v="27032" actId="20577"/>
          <ac:spMkLst>
            <pc:docMk/>
            <pc:sldMk cId="611033580" sldId="922"/>
            <ac:spMk id="13" creationId="{E6D7FBB7-27B6-449E-A378-8A388907AE59}"/>
          </ac:spMkLst>
        </pc:spChg>
        <pc:spChg chg="mod ord topLvl">
          <ac:chgData name="Kisliuk, Adrian (ext)" userId="6e619ce3-2643-4cdf-9a13-b4c269650021" providerId="ADAL" clId="{AFCEEFB0-37BC-48D4-B200-D3706B2CD7FE}" dt="2021-04-28T09:20:53.908" v="26543" actId="1076"/>
          <ac:spMkLst>
            <pc:docMk/>
            <pc:sldMk cId="611033580" sldId="922"/>
            <ac:spMk id="14" creationId="{0D263BEC-1038-4D75-869B-4D85D4C614D0}"/>
          </ac:spMkLst>
        </pc:spChg>
        <pc:spChg chg="mod ord topLvl">
          <ac:chgData name="Kisliuk, Adrian (ext)" userId="6e619ce3-2643-4cdf-9a13-b4c269650021" providerId="ADAL" clId="{AFCEEFB0-37BC-48D4-B200-D3706B2CD7FE}" dt="2021-04-28T09:20:53.908" v="26543" actId="1076"/>
          <ac:spMkLst>
            <pc:docMk/>
            <pc:sldMk cId="611033580" sldId="922"/>
            <ac:spMk id="15" creationId="{7EE770AC-CD19-467B-B0AD-4F9661326345}"/>
          </ac:spMkLst>
        </pc:spChg>
        <pc:spChg chg="mod ord topLvl">
          <ac:chgData name="Kisliuk, Adrian (ext)" userId="6e619ce3-2643-4cdf-9a13-b4c269650021" providerId="ADAL" clId="{AFCEEFB0-37BC-48D4-B200-D3706B2CD7FE}" dt="2021-04-28T09:20:53.908" v="26543" actId="1076"/>
          <ac:spMkLst>
            <pc:docMk/>
            <pc:sldMk cId="611033580" sldId="922"/>
            <ac:spMk id="16" creationId="{27FE5210-7723-42B9-AD85-4563B924D294}"/>
          </ac:spMkLst>
        </pc:spChg>
        <pc:spChg chg="mod ord topLvl">
          <ac:chgData name="Kisliuk, Adrian (ext)" userId="6e619ce3-2643-4cdf-9a13-b4c269650021" providerId="ADAL" clId="{AFCEEFB0-37BC-48D4-B200-D3706B2CD7FE}" dt="2021-04-28T09:20:53.908" v="26543" actId="1076"/>
          <ac:spMkLst>
            <pc:docMk/>
            <pc:sldMk cId="611033580" sldId="922"/>
            <ac:spMk id="17" creationId="{8B78DD78-4CB4-46E3-970B-CF3289FE325D}"/>
          </ac:spMkLst>
        </pc:spChg>
        <pc:spChg chg="mod ord topLvl">
          <ac:chgData name="Kisliuk, Adrian (ext)" userId="6e619ce3-2643-4cdf-9a13-b4c269650021" providerId="ADAL" clId="{AFCEEFB0-37BC-48D4-B200-D3706B2CD7FE}" dt="2021-04-28T09:20:53.908" v="26543" actId="1076"/>
          <ac:spMkLst>
            <pc:docMk/>
            <pc:sldMk cId="611033580" sldId="922"/>
            <ac:spMk id="18" creationId="{68EB19FE-966D-4176-ADE3-D35C825144E8}"/>
          </ac:spMkLst>
        </pc:spChg>
        <pc:spChg chg="mod ord topLvl">
          <ac:chgData name="Kisliuk, Adrian (ext)" userId="6e619ce3-2643-4cdf-9a13-b4c269650021" providerId="ADAL" clId="{AFCEEFB0-37BC-48D4-B200-D3706B2CD7FE}" dt="2021-04-28T09:20:53.908" v="26543" actId="1076"/>
          <ac:spMkLst>
            <pc:docMk/>
            <pc:sldMk cId="611033580" sldId="922"/>
            <ac:spMk id="21" creationId="{B9E2C3AB-FAEE-4FBE-AD4C-A265070BB4D1}"/>
          </ac:spMkLst>
        </pc:spChg>
        <pc:spChg chg="mod ord topLvl">
          <ac:chgData name="Kisliuk, Adrian (ext)" userId="6e619ce3-2643-4cdf-9a13-b4c269650021" providerId="ADAL" clId="{AFCEEFB0-37BC-48D4-B200-D3706B2CD7FE}" dt="2021-04-28T09:20:53.908" v="26543" actId="1076"/>
          <ac:spMkLst>
            <pc:docMk/>
            <pc:sldMk cId="611033580" sldId="922"/>
            <ac:spMk id="27" creationId="{8C5FB3E2-33BB-4DBA-AE70-840F1E9AA934}"/>
          </ac:spMkLst>
        </pc:spChg>
        <pc:spChg chg="mod ord topLvl">
          <ac:chgData name="Kisliuk, Adrian (ext)" userId="6e619ce3-2643-4cdf-9a13-b4c269650021" providerId="ADAL" clId="{AFCEEFB0-37BC-48D4-B200-D3706B2CD7FE}" dt="2021-04-28T09:20:53.908" v="26543" actId="1076"/>
          <ac:spMkLst>
            <pc:docMk/>
            <pc:sldMk cId="611033580" sldId="922"/>
            <ac:spMk id="29" creationId="{2F99AE01-AF99-46A7-A693-68AF2548D92C}"/>
          </ac:spMkLst>
        </pc:spChg>
        <pc:spChg chg="mod ord topLvl">
          <ac:chgData name="Kisliuk, Adrian (ext)" userId="6e619ce3-2643-4cdf-9a13-b4c269650021" providerId="ADAL" clId="{AFCEEFB0-37BC-48D4-B200-D3706B2CD7FE}" dt="2021-04-28T09:20:53.908" v="26543" actId="1076"/>
          <ac:spMkLst>
            <pc:docMk/>
            <pc:sldMk cId="611033580" sldId="922"/>
            <ac:spMk id="30" creationId="{B47163EB-EBD0-43BB-9412-BFB0B96B07D4}"/>
          </ac:spMkLst>
        </pc:spChg>
        <pc:spChg chg="mod ord topLvl">
          <ac:chgData name="Kisliuk, Adrian (ext)" userId="6e619ce3-2643-4cdf-9a13-b4c269650021" providerId="ADAL" clId="{AFCEEFB0-37BC-48D4-B200-D3706B2CD7FE}" dt="2021-04-28T09:20:53.908" v="26543" actId="1076"/>
          <ac:spMkLst>
            <pc:docMk/>
            <pc:sldMk cId="611033580" sldId="922"/>
            <ac:spMk id="32" creationId="{3FDD295E-749F-4363-9B75-96F8B093D275}"/>
          </ac:spMkLst>
        </pc:spChg>
        <pc:spChg chg="del">
          <ac:chgData name="Kisliuk, Adrian (ext)" userId="6e619ce3-2643-4cdf-9a13-b4c269650021" providerId="ADAL" clId="{AFCEEFB0-37BC-48D4-B200-D3706B2CD7FE}" dt="2021-04-22T14:14:55.884" v="22653" actId="478"/>
          <ac:spMkLst>
            <pc:docMk/>
            <pc:sldMk cId="611033580" sldId="922"/>
            <ac:spMk id="34" creationId="{17413579-92EE-436B-B3EA-1B3E54C8E3A6}"/>
          </ac:spMkLst>
        </pc:spChg>
        <pc:spChg chg="mod ord topLvl">
          <ac:chgData name="Kisliuk, Adrian (ext)" userId="6e619ce3-2643-4cdf-9a13-b4c269650021" providerId="ADAL" clId="{AFCEEFB0-37BC-48D4-B200-D3706B2CD7FE}" dt="2021-04-28T09:20:53.908" v="26543" actId="1076"/>
          <ac:spMkLst>
            <pc:docMk/>
            <pc:sldMk cId="611033580" sldId="922"/>
            <ac:spMk id="35" creationId="{FC56408E-740E-4A3A-8452-FD75FD306484}"/>
          </ac:spMkLst>
        </pc:spChg>
        <pc:spChg chg="del mod">
          <ac:chgData name="Kisliuk, Adrian (ext)" userId="6e619ce3-2643-4cdf-9a13-b4c269650021" providerId="ADAL" clId="{AFCEEFB0-37BC-48D4-B200-D3706B2CD7FE}" dt="2021-04-28T08:22:44.039" v="25816" actId="478"/>
          <ac:spMkLst>
            <pc:docMk/>
            <pc:sldMk cId="611033580" sldId="922"/>
            <ac:spMk id="39" creationId="{FDBFB850-09A5-4F94-A571-A147B0C47073}"/>
          </ac:spMkLst>
        </pc:spChg>
        <pc:spChg chg="mod">
          <ac:chgData name="Kisliuk, Adrian (ext)" userId="6e619ce3-2643-4cdf-9a13-b4c269650021" providerId="ADAL" clId="{AFCEEFB0-37BC-48D4-B200-D3706B2CD7FE}" dt="2021-04-23T07:11:34.286" v="23123" actId="20577"/>
          <ac:spMkLst>
            <pc:docMk/>
            <pc:sldMk cId="611033580" sldId="922"/>
            <ac:spMk id="40" creationId="{B78982A0-2DAB-4099-8DAA-EF94B2CF0A93}"/>
          </ac:spMkLst>
        </pc:spChg>
        <pc:spChg chg="add del mod">
          <ac:chgData name="Kisliuk, Adrian (ext)" userId="6e619ce3-2643-4cdf-9a13-b4c269650021" providerId="ADAL" clId="{AFCEEFB0-37BC-48D4-B200-D3706B2CD7FE}" dt="2021-04-22T16:23:55.050" v="22772" actId="478"/>
          <ac:spMkLst>
            <pc:docMk/>
            <pc:sldMk cId="611033580" sldId="922"/>
            <ac:spMk id="42" creationId="{179A964B-B2EA-4C60-AF39-A5E29095117A}"/>
          </ac:spMkLst>
        </pc:spChg>
        <pc:spChg chg="add del mod ord modVis">
          <ac:chgData name="Kisliuk, Adrian (ext)" userId="6e619ce3-2643-4cdf-9a13-b4c269650021" providerId="ADAL" clId="{AFCEEFB0-37BC-48D4-B200-D3706B2CD7FE}" dt="2021-04-28T08:37:58.803" v="26271"/>
          <ac:spMkLst>
            <pc:docMk/>
            <pc:sldMk cId="611033580" sldId="922"/>
            <ac:spMk id="44" creationId="{3626FEE4-5856-435D-B1AD-041D3396CAA8}"/>
          </ac:spMkLst>
        </pc:spChg>
        <pc:spChg chg="mod ord topLvl">
          <ac:chgData name="Kisliuk, Adrian (ext)" userId="6e619ce3-2643-4cdf-9a13-b4c269650021" providerId="ADAL" clId="{AFCEEFB0-37BC-48D4-B200-D3706B2CD7FE}" dt="2021-04-28T09:20:53.908" v="26543" actId="1076"/>
          <ac:spMkLst>
            <pc:docMk/>
            <pc:sldMk cId="611033580" sldId="922"/>
            <ac:spMk id="60" creationId="{0B67F420-0069-4633-B2E8-511AD5B6FA68}"/>
          </ac:spMkLst>
        </pc:spChg>
        <pc:spChg chg="mod ord topLvl">
          <ac:chgData name="Kisliuk, Adrian (ext)" userId="6e619ce3-2643-4cdf-9a13-b4c269650021" providerId="ADAL" clId="{AFCEEFB0-37BC-48D4-B200-D3706B2CD7FE}" dt="2021-04-28T09:20:53.908" v="26543" actId="1076"/>
          <ac:spMkLst>
            <pc:docMk/>
            <pc:sldMk cId="611033580" sldId="922"/>
            <ac:spMk id="61" creationId="{2489A030-9C8F-4E7F-815E-85147CD782C0}"/>
          </ac:spMkLst>
        </pc:spChg>
        <pc:spChg chg="mod ord topLvl">
          <ac:chgData name="Kisliuk, Adrian (ext)" userId="6e619ce3-2643-4cdf-9a13-b4c269650021" providerId="ADAL" clId="{AFCEEFB0-37BC-48D4-B200-D3706B2CD7FE}" dt="2021-04-28T09:20:53.908" v="26543" actId="1076"/>
          <ac:spMkLst>
            <pc:docMk/>
            <pc:sldMk cId="611033580" sldId="922"/>
            <ac:spMk id="62" creationId="{F0E1AD20-CC60-4360-BF96-BD740B61FD77}"/>
          </ac:spMkLst>
        </pc:spChg>
        <pc:grpChg chg="add del mod">
          <ac:chgData name="Kisliuk, Adrian (ext)" userId="6e619ce3-2643-4cdf-9a13-b4c269650021" providerId="ADAL" clId="{AFCEEFB0-37BC-48D4-B200-D3706B2CD7FE}" dt="2021-04-23T04:57:29.827" v="22968" actId="165"/>
          <ac:grpSpMkLst>
            <pc:docMk/>
            <pc:sldMk cId="611033580" sldId="922"/>
            <ac:grpSpMk id="25" creationId="{6D69436A-E034-4A5B-A6D3-63D89B3C8A7E}"/>
          </ac:grpSpMkLst>
        </pc:grpChg>
        <pc:grpChg chg="add mod">
          <ac:chgData name="Kisliuk, Adrian (ext)" userId="6e619ce3-2643-4cdf-9a13-b4c269650021" providerId="ADAL" clId="{AFCEEFB0-37BC-48D4-B200-D3706B2CD7FE}" dt="2021-04-28T09:20:53.908" v="26543" actId="1076"/>
          <ac:grpSpMkLst>
            <pc:docMk/>
            <pc:sldMk cId="611033580" sldId="922"/>
            <ac:grpSpMk id="46" creationId="{494554DB-DD51-4544-B796-32E4E2D89C4A}"/>
          </ac:grpSpMkLst>
        </pc:grpChg>
        <pc:graphicFrameChg chg="add mod ord modVis">
          <ac:chgData name="Kisliuk, Adrian (ext)" userId="6e619ce3-2643-4cdf-9a13-b4c269650021" providerId="ADAL" clId="{AFCEEFB0-37BC-48D4-B200-D3706B2CD7FE}" dt="2021-04-28T08:37:58.852" v="26286"/>
          <ac:graphicFrameMkLst>
            <pc:docMk/>
            <pc:sldMk cId="611033580" sldId="922"/>
            <ac:graphicFrameMk id="45" creationId="{249ACC2C-4245-439C-935F-45259A18C20A}"/>
          </ac:graphicFrameMkLst>
        </pc:graphicFrameChg>
        <pc:picChg chg="mod ord topLvl">
          <ac:chgData name="Kisliuk, Adrian (ext)" userId="6e619ce3-2643-4cdf-9a13-b4c269650021" providerId="ADAL" clId="{AFCEEFB0-37BC-48D4-B200-D3706B2CD7FE}" dt="2021-04-28T09:20:53.908" v="26543" actId="1076"/>
          <ac:picMkLst>
            <pc:docMk/>
            <pc:sldMk cId="611033580" sldId="922"/>
            <ac:picMk id="20" creationId="{3C17EC33-9747-4789-B3D8-0898CDE1B8A2}"/>
          </ac:picMkLst>
        </pc:picChg>
        <pc:picChg chg="mod topLvl">
          <ac:chgData name="Kisliuk, Adrian (ext)" userId="6e619ce3-2643-4cdf-9a13-b4c269650021" providerId="ADAL" clId="{AFCEEFB0-37BC-48D4-B200-D3706B2CD7FE}" dt="2021-04-28T09:20:53.908" v="26543" actId="1076"/>
          <ac:picMkLst>
            <pc:docMk/>
            <pc:sldMk cId="611033580" sldId="922"/>
            <ac:picMk id="26" creationId="{58813FB7-2948-45F9-A28E-D99B70D235C8}"/>
          </ac:picMkLst>
        </pc:picChg>
        <pc:cxnChg chg="mod ord topLvl">
          <ac:chgData name="Kisliuk, Adrian (ext)" userId="6e619ce3-2643-4cdf-9a13-b4c269650021" providerId="ADAL" clId="{AFCEEFB0-37BC-48D4-B200-D3706B2CD7FE}" dt="2021-04-28T09:20:53.908" v="26543" actId="1076"/>
          <ac:cxnSpMkLst>
            <pc:docMk/>
            <pc:sldMk cId="611033580" sldId="922"/>
            <ac:cxnSpMk id="6" creationId="{F5F09235-9BFD-42B2-9F0D-0673B2C53BA9}"/>
          </ac:cxnSpMkLst>
        </pc:cxnChg>
        <pc:cxnChg chg="mod ord topLvl">
          <ac:chgData name="Kisliuk, Adrian (ext)" userId="6e619ce3-2643-4cdf-9a13-b4c269650021" providerId="ADAL" clId="{AFCEEFB0-37BC-48D4-B200-D3706B2CD7FE}" dt="2021-04-28T09:20:53.908" v="26543" actId="1076"/>
          <ac:cxnSpMkLst>
            <pc:docMk/>
            <pc:sldMk cId="611033580" sldId="922"/>
            <ac:cxnSpMk id="22" creationId="{8544B6DE-5F5D-468A-8EC9-80D4BA477067}"/>
          </ac:cxnSpMkLst>
        </pc:cxnChg>
        <pc:cxnChg chg="mod ord topLvl">
          <ac:chgData name="Kisliuk, Adrian (ext)" userId="6e619ce3-2643-4cdf-9a13-b4c269650021" providerId="ADAL" clId="{AFCEEFB0-37BC-48D4-B200-D3706B2CD7FE}" dt="2021-04-28T09:20:53.908" v="26543" actId="1076"/>
          <ac:cxnSpMkLst>
            <pc:docMk/>
            <pc:sldMk cId="611033580" sldId="922"/>
            <ac:cxnSpMk id="23" creationId="{9D0B7576-9F36-4FF2-9A0E-CEFE72B65BE6}"/>
          </ac:cxnSpMkLst>
        </pc:cxnChg>
        <pc:cxnChg chg="mod ord topLvl">
          <ac:chgData name="Kisliuk, Adrian (ext)" userId="6e619ce3-2643-4cdf-9a13-b4c269650021" providerId="ADAL" clId="{AFCEEFB0-37BC-48D4-B200-D3706B2CD7FE}" dt="2021-04-28T09:20:53.908" v="26543" actId="1076"/>
          <ac:cxnSpMkLst>
            <pc:docMk/>
            <pc:sldMk cId="611033580" sldId="922"/>
            <ac:cxnSpMk id="24" creationId="{8F7AEA99-66FB-4032-A1E5-522F2CB4220B}"/>
          </ac:cxnSpMkLst>
        </pc:cxnChg>
        <pc:cxnChg chg="mod ord topLvl">
          <ac:chgData name="Kisliuk, Adrian (ext)" userId="6e619ce3-2643-4cdf-9a13-b4c269650021" providerId="ADAL" clId="{AFCEEFB0-37BC-48D4-B200-D3706B2CD7FE}" dt="2021-04-28T09:20:53.908" v="26543" actId="1076"/>
          <ac:cxnSpMkLst>
            <pc:docMk/>
            <pc:sldMk cId="611033580" sldId="922"/>
            <ac:cxnSpMk id="31" creationId="{6AB3E61D-A014-497D-AF77-13E47C9A21CB}"/>
          </ac:cxnSpMkLst>
        </pc:cxnChg>
        <pc:cxnChg chg="mod ord topLvl">
          <ac:chgData name="Kisliuk, Adrian (ext)" userId="6e619ce3-2643-4cdf-9a13-b4c269650021" providerId="ADAL" clId="{AFCEEFB0-37BC-48D4-B200-D3706B2CD7FE}" dt="2021-04-28T09:20:53.908" v="26543" actId="1076"/>
          <ac:cxnSpMkLst>
            <pc:docMk/>
            <pc:sldMk cId="611033580" sldId="922"/>
            <ac:cxnSpMk id="33" creationId="{8E982713-8233-450A-924B-AA855DEB079B}"/>
          </ac:cxnSpMkLst>
        </pc:cxnChg>
        <pc:cxnChg chg="mod ord topLvl">
          <ac:chgData name="Kisliuk, Adrian (ext)" userId="6e619ce3-2643-4cdf-9a13-b4c269650021" providerId="ADAL" clId="{AFCEEFB0-37BC-48D4-B200-D3706B2CD7FE}" dt="2021-04-28T09:20:53.908" v="26543" actId="1076"/>
          <ac:cxnSpMkLst>
            <pc:docMk/>
            <pc:sldMk cId="611033580" sldId="922"/>
            <ac:cxnSpMk id="36" creationId="{AAEAD611-6A54-4BE2-998A-3636ECF86B3B}"/>
          </ac:cxnSpMkLst>
        </pc:cxnChg>
        <pc:cxnChg chg="mod ord topLvl">
          <ac:chgData name="Kisliuk, Adrian (ext)" userId="6e619ce3-2643-4cdf-9a13-b4c269650021" providerId="ADAL" clId="{AFCEEFB0-37BC-48D4-B200-D3706B2CD7FE}" dt="2021-04-28T09:20:53.908" v="26543" actId="1076"/>
          <ac:cxnSpMkLst>
            <pc:docMk/>
            <pc:sldMk cId="611033580" sldId="922"/>
            <ac:cxnSpMk id="38" creationId="{0A95B66F-6716-465A-A5D7-E2927C5B36DB}"/>
          </ac:cxnSpMkLst>
        </pc:cxnChg>
        <pc:cxnChg chg="add mod ord">
          <ac:chgData name="Kisliuk, Adrian (ext)" userId="6e619ce3-2643-4cdf-9a13-b4c269650021" providerId="ADAL" clId="{AFCEEFB0-37BC-48D4-B200-D3706B2CD7FE}" dt="2021-04-28T09:20:53.908" v="26543" actId="1076"/>
          <ac:cxnSpMkLst>
            <pc:docMk/>
            <pc:sldMk cId="611033580" sldId="922"/>
            <ac:cxnSpMk id="40" creationId="{E1D3F91A-4A38-4208-9CA0-207377F8B7A1}"/>
          </ac:cxnSpMkLst>
        </pc:cxnChg>
        <pc:cxnChg chg="mod ord topLvl">
          <ac:chgData name="Kisliuk, Adrian (ext)" userId="6e619ce3-2643-4cdf-9a13-b4c269650021" providerId="ADAL" clId="{AFCEEFB0-37BC-48D4-B200-D3706B2CD7FE}" dt="2021-04-28T09:20:53.908" v="26543" actId="1076"/>
          <ac:cxnSpMkLst>
            <pc:docMk/>
            <pc:sldMk cId="611033580" sldId="922"/>
            <ac:cxnSpMk id="41" creationId="{4F7A62BB-4A73-45E5-88BE-9CC9738EDE3C}"/>
          </ac:cxnSpMkLst>
        </pc:cxnChg>
        <pc:cxnChg chg="mod ord topLvl">
          <ac:chgData name="Kisliuk, Adrian (ext)" userId="6e619ce3-2643-4cdf-9a13-b4c269650021" providerId="ADAL" clId="{AFCEEFB0-37BC-48D4-B200-D3706B2CD7FE}" dt="2021-04-28T09:20:53.908" v="26543" actId="1076"/>
          <ac:cxnSpMkLst>
            <pc:docMk/>
            <pc:sldMk cId="611033580" sldId="922"/>
            <ac:cxnSpMk id="43" creationId="{F2072A6F-988E-E645-84CA-618A70566B15}"/>
          </ac:cxnSpMkLst>
        </pc:cxnChg>
      </pc:sldChg>
      <pc:sldChg chg="addSp delSp modSp add mod">
        <pc:chgData name="Kisliuk, Adrian (ext)" userId="6e619ce3-2643-4cdf-9a13-b4c269650021" providerId="ADAL" clId="{AFCEEFB0-37BC-48D4-B200-D3706B2CD7FE}" dt="2021-05-26T07:33:43.853" v="28851" actId="1076"/>
        <pc:sldMkLst>
          <pc:docMk/>
          <pc:sldMk cId="1206136964" sldId="923"/>
        </pc:sldMkLst>
        <pc:spChg chg="mod topLvl">
          <ac:chgData name="Kisliuk, Adrian (ext)" userId="6e619ce3-2643-4cdf-9a13-b4c269650021" providerId="ADAL" clId="{AFCEEFB0-37BC-48D4-B200-D3706B2CD7FE}" dt="2021-05-26T07:32:59.837" v="28836" actId="164"/>
          <ac:spMkLst>
            <pc:docMk/>
            <pc:sldMk cId="1206136964" sldId="923"/>
            <ac:spMk id="19" creationId="{8C3FD117-2BC2-4792-95C4-12CA3385B869}"/>
          </ac:spMkLst>
        </pc:spChg>
        <pc:spChg chg="mod topLvl">
          <ac:chgData name="Kisliuk, Adrian (ext)" userId="6e619ce3-2643-4cdf-9a13-b4c269650021" providerId="ADAL" clId="{AFCEEFB0-37BC-48D4-B200-D3706B2CD7FE}" dt="2021-05-26T07:32:55.032" v="28835" actId="338"/>
          <ac:spMkLst>
            <pc:docMk/>
            <pc:sldMk cId="1206136964" sldId="923"/>
            <ac:spMk id="20" creationId="{CD5EEC54-2D6B-4F49-AF20-C53D6829F49E}"/>
          </ac:spMkLst>
        </pc:spChg>
        <pc:spChg chg="mod topLvl">
          <ac:chgData name="Kisliuk, Adrian (ext)" userId="6e619ce3-2643-4cdf-9a13-b4c269650021" providerId="ADAL" clId="{AFCEEFB0-37BC-48D4-B200-D3706B2CD7FE}" dt="2021-05-26T07:32:39.259" v="28833" actId="338"/>
          <ac:spMkLst>
            <pc:docMk/>
            <pc:sldMk cId="1206136964" sldId="923"/>
            <ac:spMk id="21" creationId="{F6E27F0C-1394-4D22-86F7-25491424D8EB}"/>
          </ac:spMkLst>
        </pc:spChg>
        <pc:spChg chg="mod topLvl">
          <ac:chgData name="Kisliuk, Adrian (ext)" userId="6e619ce3-2643-4cdf-9a13-b4c269650021" providerId="ADAL" clId="{AFCEEFB0-37BC-48D4-B200-D3706B2CD7FE}" dt="2021-05-26T07:32:59.837" v="28836" actId="164"/>
          <ac:spMkLst>
            <pc:docMk/>
            <pc:sldMk cId="1206136964" sldId="923"/>
            <ac:spMk id="22" creationId="{BABD5C8D-7F0E-4F84-8F99-6AEF17E1B5AC}"/>
          </ac:spMkLst>
        </pc:spChg>
        <pc:spChg chg="mod topLvl">
          <ac:chgData name="Kisliuk, Adrian (ext)" userId="6e619ce3-2643-4cdf-9a13-b4c269650021" providerId="ADAL" clId="{AFCEEFB0-37BC-48D4-B200-D3706B2CD7FE}" dt="2021-05-26T07:32:55.032" v="28835" actId="338"/>
          <ac:spMkLst>
            <pc:docMk/>
            <pc:sldMk cId="1206136964" sldId="923"/>
            <ac:spMk id="23" creationId="{8001918B-2601-4564-81C5-6DC6CE11224D}"/>
          </ac:spMkLst>
        </pc:spChg>
        <pc:spChg chg="mod topLvl">
          <ac:chgData name="Kisliuk, Adrian (ext)" userId="6e619ce3-2643-4cdf-9a13-b4c269650021" providerId="ADAL" clId="{AFCEEFB0-37BC-48D4-B200-D3706B2CD7FE}" dt="2021-05-26T07:32:39.259" v="28833" actId="338"/>
          <ac:spMkLst>
            <pc:docMk/>
            <pc:sldMk cId="1206136964" sldId="923"/>
            <ac:spMk id="24" creationId="{3B26CF48-07EC-475E-B1C2-D8FA4CFB40C8}"/>
          </ac:spMkLst>
        </pc:spChg>
        <pc:spChg chg="mod topLvl">
          <ac:chgData name="Kisliuk, Adrian (ext)" userId="6e619ce3-2643-4cdf-9a13-b4c269650021" providerId="ADAL" clId="{AFCEEFB0-37BC-48D4-B200-D3706B2CD7FE}" dt="2021-05-26T07:32:46.525" v="28834" actId="164"/>
          <ac:spMkLst>
            <pc:docMk/>
            <pc:sldMk cId="1206136964" sldId="923"/>
            <ac:spMk id="25" creationId="{30B1EF5D-2BFB-4CCC-A5C8-488701D5183C}"/>
          </ac:spMkLst>
        </pc:spChg>
        <pc:spChg chg="mod topLvl">
          <ac:chgData name="Kisliuk, Adrian (ext)" userId="6e619ce3-2643-4cdf-9a13-b4c269650021" providerId="ADAL" clId="{AFCEEFB0-37BC-48D4-B200-D3706B2CD7FE}" dt="2021-05-26T07:32:46.525" v="28834" actId="164"/>
          <ac:spMkLst>
            <pc:docMk/>
            <pc:sldMk cId="1206136964" sldId="923"/>
            <ac:spMk id="26" creationId="{F29A6543-DB55-45DC-B22E-A8E503DED82D}"/>
          </ac:spMkLst>
        </pc:spChg>
        <pc:spChg chg="mod topLvl">
          <ac:chgData name="Kisliuk, Adrian (ext)" userId="6e619ce3-2643-4cdf-9a13-b4c269650021" providerId="ADAL" clId="{AFCEEFB0-37BC-48D4-B200-D3706B2CD7FE}" dt="2021-05-26T07:32:32.760" v="28832" actId="338"/>
          <ac:spMkLst>
            <pc:docMk/>
            <pc:sldMk cId="1206136964" sldId="923"/>
            <ac:spMk id="27" creationId="{895EFFE9-84D1-42F6-8A2E-FFA6A69F15DA}"/>
          </ac:spMkLst>
        </pc:spChg>
        <pc:spChg chg="mod topLvl">
          <ac:chgData name="Kisliuk, Adrian (ext)" userId="6e619ce3-2643-4cdf-9a13-b4c269650021" providerId="ADAL" clId="{AFCEEFB0-37BC-48D4-B200-D3706B2CD7FE}" dt="2021-05-26T07:32:32.760" v="28832" actId="338"/>
          <ac:spMkLst>
            <pc:docMk/>
            <pc:sldMk cId="1206136964" sldId="923"/>
            <ac:spMk id="31" creationId="{93560B62-2771-4108-8AAA-292549055CFB}"/>
          </ac:spMkLst>
        </pc:spChg>
        <pc:grpChg chg="add mod">
          <ac:chgData name="Kisliuk, Adrian (ext)" userId="6e619ce3-2643-4cdf-9a13-b4c269650021" providerId="ADAL" clId="{AFCEEFB0-37BC-48D4-B200-D3706B2CD7FE}" dt="2021-05-26T07:33:38.627" v="28850" actId="164"/>
          <ac:grpSpMkLst>
            <pc:docMk/>
            <pc:sldMk cId="1206136964" sldId="923"/>
            <ac:grpSpMk id="4" creationId="{68D780FB-E22C-4171-88C7-20045C4FD00F}"/>
          </ac:grpSpMkLst>
        </pc:grpChg>
        <pc:grpChg chg="add mod">
          <ac:chgData name="Kisliuk, Adrian (ext)" userId="6e619ce3-2643-4cdf-9a13-b4c269650021" providerId="ADAL" clId="{AFCEEFB0-37BC-48D4-B200-D3706B2CD7FE}" dt="2021-05-26T07:33:38.627" v="28850" actId="164"/>
          <ac:grpSpMkLst>
            <pc:docMk/>
            <pc:sldMk cId="1206136964" sldId="923"/>
            <ac:grpSpMk id="5" creationId="{D210F81F-1472-46E8-A81E-4AB462975945}"/>
          </ac:grpSpMkLst>
        </pc:grpChg>
        <pc:grpChg chg="add mod">
          <ac:chgData name="Kisliuk, Adrian (ext)" userId="6e619ce3-2643-4cdf-9a13-b4c269650021" providerId="ADAL" clId="{AFCEEFB0-37BC-48D4-B200-D3706B2CD7FE}" dt="2021-05-26T07:33:38.627" v="28850" actId="164"/>
          <ac:grpSpMkLst>
            <pc:docMk/>
            <pc:sldMk cId="1206136964" sldId="923"/>
            <ac:grpSpMk id="6" creationId="{887D5211-9F9B-465D-9812-DD7FB9217FCC}"/>
          </ac:grpSpMkLst>
        </pc:grpChg>
        <pc:grpChg chg="del mod">
          <ac:chgData name="Kisliuk, Adrian (ext)" userId="6e619ce3-2643-4cdf-9a13-b4c269650021" providerId="ADAL" clId="{AFCEEFB0-37BC-48D4-B200-D3706B2CD7FE}" dt="2021-05-26T07:30:25.025" v="28816" actId="165"/>
          <ac:grpSpMkLst>
            <pc:docMk/>
            <pc:sldMk cId="1206136964" sldId="923"/>
            <ac:grpSpMk id="7" creationId="{09A7B833-16D6-457D-9751-DF3BDC42D5E3}"/>
          </ac:grpSpMkLst>
        </pc:grpChg>
        <pc:grpChg chg="del mod">
          <ac:chgData name="Kisliuk, Adrian (ext)" userId="6e619ce3-2643-4cdf-9a13-b4c269650021" providerId="ADAL" clId="{AFCEEFB0-37BC-48D4-B200-D3706B2CD7FE}" dt="2021-05-26T07:30:29.052" v="28817" actId="165"/>
          <ac:grpSpMkLst>
            <pc:docMk/>
            <pc:sldMk cId="1206136964" sldId="923"/>
            <ac:grpSpMk id="9" creationId="{E431EA3D-0155-4485-8058-31BAE3019B8E}"/>
          </ac:grpSpMkLst>
        </pc:grpChg>
        <pc:grpChg chg="del mod">
          <ac:chgData name="Kisliuk, Adrian (ext)" userId="6e619ce3-2643-4cdf-9a13-b4c269650021" providerId="ADAL" clId="{AFCEEFB0-37BC-48D4-B200-D3706B2CD7FE}" dt="2021-05-26T07:30:55.225" v="28819" actId="165"/>
          <ac:grpSpMkLst>
            <pc:docMk/>
            <pc:sldMk cId="1206136964" sldId="923"/>
            <ac:grpSpMk id="10" creationId="{3F6C541C-F412-4656-9F30-BEEC6B4BA2A6}"/>
          </ac:grpSpMkLst>
        </pc:grpChg>
        <pc:grpChg chg="del mod">
          <ac:chgData name="Kisliuk, Adrian (ext)" userId="6e619ce3-2643-4cdf-9a13-b4c269650021" providerId="ADAL" clId="{AFCEEFB0-37BC-48D4-B200-D3706B2CD7FE}" dt="2021-05-26T07:30:21.296" v="28815" actId="165"/>
          <ac:grpSpMkLst>
            <pc:docMk/>
            <pc:sldMk cId="1206136964" sldId="923"/>
            <ac:grpSpMk id="11" creationId="{488BB8BA-EFF1-4737-ACDB-4EC35CE54DEC}"/>
          </ac:grpSpMkLst>
        </pc:grpChg>
        <pc:grpChg chg="del mod">
          <ac:chgData name="Kisliuk, Adrian (ext)" userId="6e619ce3-2643-4cdf-9a13-b4c269650021" providerId="ADAL" clId="{AFCEEFB0-37BC-48D4-B200-D3706B2CD7FE}" dt="2021-05-26T07:30:33.774" v="28818" actId="165"/>
          <ac:grpSpMkLst>
            <pc:docMk/>
            <pc:sldMk cId="1206136964" sldId="923"/>
            <ac:grpSpMk id="12" creationId="{82B9767E-2210-498A-8C6E-B5BF3D3A5D05}"/>
          </ac:grpSpMkLst>
        </pc:grpChg>
        <pc:grpChg chg="add mod">
          <ac:chgData name="Kisliuk, Adrian (ext)" userId="6e619ce3-2643-4cdf-9a13-b4c269650021" providerId="ADAL" clId="{AFCEEFB0-37BC-48D4-B200-D3706B2CD7FE}" dt="2021-05-26T07:33:38.627" v="28850" actId="164"/>
          <ac:grpSpMkLst>
            <pc:docMk/>
            <pc:sldMk cId="1206136964" sldId="923"/>
            <ac:grpSpMk id="13" creationId="{69B26562-C849-4975-925E-D23D8FB4BD7B}"/>
          </ac:grpSpMkLst>
        </pc:grpChg>
        <pc:grpChg chg="add mod">
          <ac:chgData name="Kisliuk, Adrian (ext)" userId="6e619ce3-2643-4cdf-9a13-b4c269650021" providerId="ADAL" clId="{AFCEEFB0-37BC-48D4-B200-D3706B2CD7FE}" dt="2021-05-26T07:33:38.627" v="28850" actId="164"/>
          <ac:grpSpMkLst>
            <pc:docMk/>
            <pc:sldMk cId="1206136964" sldId="923"/>
            <ac:grpSpMk id="14" creationId="{1E8D82C4-66DE-4F45-99B7-FFB3ABFE7A0F}"/>
          </ac:grpSpMkLst>
        </pc:grpChg>
        <pc:grpChg chg="add mod">
          <ac:chgData name="Kisliuk, Adrian (ext)" userId="6e619ce3-2643-4cdf-9a13-b4c269650021" providerId="ADAL" clId="{AFCEEFB0-37BC-48D4-B200-D3706B2CD7FE}" dt="2021-05-26T07:33:43.853" v="28851" actId="1076"/>
          <ac:grpSpMkLst>
            <pc:docMk/>
            <pc:sldMk cId="1206136964" sldId="923"/>
            <ac:grpSpMk id="15" creationId="{62E3D6FD-BE9E-4DC0-9073-9F759FBECFA9}"/>
          </ac:grpSpMkLst>
        </pc:grpChg>
      </pc:sldChg>
      <pc:sldChg chg="addSp delSp modSp add mod">
        <pc:chgData name="Kisliuk, Adrian (ext)" userId="6e619ce3-2643-4cdf-9a13-b4c269650021" providerId="ADAL" clId="{AFCEEFB0-37BC-48D4-B200-D3706B2CD7FE}" dt="2021-05-27T08:52:56.391" v="30665" actId="20577"/>
        <pc:sldMkLst>
          <pc:docMk/>
          <pc:sldMk cId="2399935048" sldId="924"/>
        </pc:sldMkLst>
        <pc:spChg chg="mod">
          <ac:chgData name="Kisliuk, Adrian (ext)" userId="6e619ce3-2643-4cdf-9a13-b4c269650021" providerId="ADAL" clId="{AFCEEFB0-37BC-48D4-B200-D3706B2CD7FE}" dt="2021-05-11T09:28:12.675" v="27027" actId="554"/>
          <ac:spMkLst>
            <pc:docMk/>
            <pc:sldMk cId="2399935048" sldId="924"/>
            <ac:spMk id="4" creationId="{6C478F80-31A9-45DC-8571-557F49B50F52}"/>
          </ac:spMkLst>
        </pc:spChg>
        <pc:spChg chg="mod">
          <ac:chgData name="Kisliuk, Adrian (ext)" userId="6e619ce3-2643-4cdf-9a13-b4c269650021" providerId="ADAL" clId="{AFCEEFB0-37BC-48D4-B200-D3706B2CD7FE}" dt="2021-05-11T09:28:12.675" v="27027" actId="554"/>
          <ac:spMkLst>
            <pc:docMk/>
            <pc:sldMk cId="2399935048" sldId="924"/>
            <ac:spMk id="5" creationId="{19C23119-6B3F-4305-8AB2-66A8BEF24B4B}"/>
          </ac:spMkLst>
        </pc:spChg>
        <pc:spChg chg="mod">
          <ac:chgData name="Kisliuk, Adrian (ext)" userId="6e619ce3-2643-4cdf-9a13-b4c269650021" providerId="ADAL" clId="{AFCEEFB0-37BC-48D4-B200-D3706B2CD7FE}" dt="2021-05-11T09:28:12.675" v="27027" actId="554"/>
          <ac:spMkLst>
            <pc:docMk/>
            <pc:sldMk cId="2399935048" sldId="924"/>
            <ac:spMk id="7" creationId="{B5DA88EF-E33B-4858-BC9E-EB4585EDB775}"/>
          </ac:spMkLst>
        </pc:spChg>
        <pc:spChg chg="mod">
          <ac:chgData name="Kisliuk, Adrian (ext)" userId="6e619ce3-2643-4cdf-9a13-b4c269650021" providerId="ADAL" clId="{AFCEEFB0-37BC-48D4-B200-D3706B2CD7FE}" dt="2021-05-11T09:28:12.675" v="27027" actId="554"/>
          <ac:spMkLst>
            <pc:docMk/>
            <pc:sldMk cId="2399935048" sldId="924"/>
            <ac:spMk id="8" creationId="{64A0438E-37C1-4D00-8052-C1252BACE6D9}"/>
          </ac:spMkLst>
        </pc:spChg>
        <pc:spChg chg="mod">
          <ac:chgData name="Kisliuk, Adrian (ext)" userId="6e619ce3-2643-4cdf-9a13-b4c269650021" providerId="ADAL" clId="{AFCEEFB0-37BC-48D4-B200-D3706B2CD7FE}" dt="2021-05-11T09:28:12.675" v="27027" actId="554"/>
          <ac:spMkLst>
            <pc:docMk/>
            <pc:sldMk cId="2399935048" sldId="924"/>
            <ac:spMk id="9" creationId="{659CCC11-AB1A-4F15-8AC6-54878824FF89}"/>
          </ac:spMkLst>
        </pc:spChg>
        <pc:spChg chg="mod">
          <ac:chgData name="Kisliuk, Adrian (ext)" userId="6e619ce3-2643-4cdf-9a13-b4c269650021" providerId="ADAL" clId="{AFCEEFB0-37BC-48D4-B200-D3706B2CD7FE}" dt="2021-05-11T09:28:12.675" v="27027" actId="554"/>
          <ac:spMkLst>
            <pc:docMk/>
            <pc:sldMk cId="2399935048" sldId="924"/>
            <ac:spMk id="10" creationId="{4073AA1F-F9E5-40D8-9E97-C0734C1469FA}"/>
          </ac:spMkLst>
        </pc:spChg>
        <pc:spChg chg="mod">
          <ac:chgData name="Kisliuk, Adrian (ext)" userId="6e619ce3-2643-4cdf-9a13-b4c269650021" providerId="ADAL" clId="{AFCEEFB0-37BC-48D4-B200-D3706B2CD7FE}" dt="2021-05-11T09:28:12.675" v="27027" actId="554"/>
          <ac:spMkLst>
            <pc:docMk/>
            <pc:sldMk cId="2399935048" sldId="924"/>
            <ac:spMk id="11" creationId="{7180B60B-4CF4-4FC2-8E02-82DAAA37F157}"/>
          </ac:spMkLst>
        </pc:spChg>
        <pc:spChg chg="mod">
          <ac:chgData name="Kisliuk, Adrian (ext)" userId="6e619ce3-2643-4cdf-9a13-b4c269650021" providerId="ADAL" clId="{AFCEEFB0-37BC-48D4-B200-D3706B2CD7FE}" dt="2021-05-11T09:28:12.675" v="27027" actId="554"/>
          <ac:spMkLst>
            <pc:docMk/>
            <pc:sldMk cId="2399935048" sldId="924"/>
            <ac:spMk id="12" creationId="{3A0DF386-41D7-454A-9F38-CAC1CBBA491A}"/>
          </ac:spMkLst>
        </pc:spChg>
        <pc:spChg chg="mod">
          <ac:chgData name="Kisliuk, Adrian (ext)" userId="6e619ce3-2643-4cdf-9a13-b4c269650021" providerId="ADAL" clId="{AFCEEFB0-37BC-48D4-B200-D3706B2CD7FE}" dt="2021-05-11T09:28:19.503" v="27028" actId="20577"/>
          <ac:spMkLst>
            <pc:docMk/>
            <pc:sldMk cId="2399935048" sldId="924"/>
            <ac:spMk id="13" creationId="{E6D7FBB7-27B6-449E-A378-8A388907AE59}"/>
          </ac:spMkLst>
        </pc:spChg>
        <pc:spChg chg="mod">
          <ac:chgData name="Kisliuk, Adrian (ext)" userId="6e619ce3-2643-4cdf-9a13-b4c269650021" providerId="ADAL" clId="{AFCEEFB0-37BC-48D4-B200-D3706B2CD7FE}" dt="2021-05-11T09:28:12.675" v="27027" actId="554"/>
          <ac:spMkLst>
            <pc:docMk/>
            <pc:sldMk cId="2399935048" sldId="924"/>
            <ac:spMk id="14" creationId="{0D263BEC-1038-4D75-869B-4D85D4C614D0}"/>
          </ac:spMkLst>
        </pc:spChg>
        <pc:spChg chg="mod">
          <ac:chgData name="Kisliuk, Adrian (ext)" userId="6e619ce3-2643-4cdf-9a13-b4c269650021" providerId="ADAL" clId="{AFCEEFB0-37BC-48D4-B200-D3706B2CD7FE}" dt="2021-05-11T09:28:12.675" v="27027" actId="554"/>
          <ac:spMkLst>
            <pc:docMk/>
            <pc:sldMk cId="2399935048" sldId="924"/>
            <ac:spMk id="15" creationId="{7EE770AC-CD19-467B-B0AD-4F9661326345}"/>
          </ac:spMkLst>
        </pc:spChg>
        <pc:spChg chg="mod">
          <ac:chgData name="Kisliuk, Adrian (ext)" userId="6e619ce3-2643-4cdf-9a13-b4c269650021" providerId="ADAL" clId="{AFCEEFB0-37BC-48D4-B200-D3706B2CD7FE}" dt="2021-05-11T09:28:12.675" v="27027" actId="554"/>
          <ac:spMkLst>
            <pc:docMk/>
            <pc:sldMk cId="2399935048" sldId="924"/>
            <ac:spMk id="16" creationId="{27FE5210-7723-42B9-AD85-4563B924D294}"/>
          </ac:spMkLst>
        </pc:spChg>
        <pc:spChg chg="mod">
          <ac:chgData name="Kisliuk, Adrian (ext)" userId="6e619ce3-2643-4cdf-9a13-b4c269650021" providerId="ADAL" clId="{AFCEEFB0-37BC-48D4-B200-D3706B2CD7FE}" dt="2021-05-11T09:28:42.187" v="27029" actId="207"/>
          <ac:spMkLst>
            <pc:docMk/>
            <pc:sldMk cId="2399935048" sldId="924"/>
            <ac:spMk id="17" creationId="{8B78DD78-4CB4-46E3-970B-CF3289FE325D}"/>
          </ac:spMkLst>
        </pc:spChg>
        <pc:spChg chg="mod">
          <ac:chgData name="Kisliuk, Adrian (ext)" userId="6e619ce3-2643-4cdf-9a13-b4c269650021" providerId="ADAL" clId="{AFCEEFB0-37BC-48D4-B200-D3706B2CD7FE}" dt="2021-05-11T09:28:12.675" v="27027" actId="554"/>
          <ac:spMkLst>
            <pc:docMk/>
            <pc:sldMk cId="2399935048" sldId="924"/>
            <ac:spMk id="18" creationId="{68EB19FE-966D-4176-ADE3-D35C825144E8}"/>
          </ac:spMkLst>
        </pc:spChg>
        <pc:spChg chg="mod">
          <ac:chgData name="Kisliuk, Adrian (ext)" userId="6e619ce3-2643-4cdf-9a13-b4c269650021" providerId="ADAL" clId="{AFCEEFB0-37BC-48D4-B200-D3706B2CD7FE}" dt="2021-05-11T09:28:12.675" v="27027" actId="554"/>
          <ac:spMkLst>
            <pc:docMk/>
            <pc:sldMk cId="2399935048" sldId="924"/>
            <ac:spMk id="21" creationId="{B9E2C3AB-FAEE-4FBE-AD4C-A265070BB4D1}"/>
          </ac:spMkLst>
        </pc:spChg>
        <pc:spChg chg="mod">
          <ac:chgData name="Kisliuk, Adrian (ext)" userId="6e619ce3-2643-4cdf-9a13-b4c269650021" providerId="ADAL" clId="{AFCEEFB0-37BC-48D4-B200-D3706B2CD7FE}" dt="2021-05-11T09:28:12.675" v="27027" actId="554"/>
          <ac:spMkLst>
            <pc:docMk/>
            <pc:sldMk cId="2399935048" sldId="924"/>
            <ac:spMk id="27" creationId="{8C5FB3E2-33BB-4DBA-AE70-840F1E9AA934}"/>
          </ac:spMkLst>
        </pc:spChg>
        <pc:spChg chg="mod">
          <ac:chgData name="Kisliuk, Adrian (ext)" userId="6e619ce3-2643-4cdf-9a13-b4c269650021" providerId="ADAL" clId="{AFCEEFB0-37BC-48D4-B200-D3706B2CD7FE}" dt="2021-05-11T09:28:12.675" v="27027" actId="554"/>
          <ac:spMkLst>
            <pc:docMk/>
            <pc:sldMk cId="2399935048" sldId="924"/>
            <ac:spMk id="29" creationId="{2F99AE01-AF99-46A7-A693-68AF2548D92C}"/>
          </ac:spMkLst>
        </pc:spChg>
        <pc:spChg chg="mod">
          <ac:chgData name="Kisliuk, Adrian (ext)" userId="6e619ce3-2643-4cdf-9a13-b4c269650021" providerId="ADAL" clId="{AFCEEFB0-37BC-48D4-B200-D3706B2CD7FE}" dt="2021-05-27T08:52:56.391" v="30665" actId="20577"/>
          <ac:spMkLst>
            <pc:docMk/>
            <pc:sldMk cId="2399935048" sldId="924"/>
            <ac:spMk id="30" creationId="{B47163EB-EBD0-43BB-9412-BFB0B96B07D4}"/>
          </ac:spMkLst>
        </pc:spChg>
        <pc:spChg chg="del">
          <ac:chgData name="Kisliuk, Adrian (ext)" userId="6e619ce3-2643-4cdf-9a13-b4c269650021" providerId="ADAL" clId="{AFCEEFB0-37BC-48D4-B200-D3706B2CD7FE}" dt="2021-05-11T09:26:52.276" v="26928" actId="478"/>
          <ac:spMkLst>
            <pc:docMk/>
            <pc:sldMk cId="2399935048" sldId="924"/>
            <ac:spMk id="32" creationId="{3FDD295E-749F-4363-9B75-96F8B093D275}"/>
          </ac:spMkLst>
        </pc:spChg>
        <pc:spChg chg="mod">
          <ac:chgData name="Kisliuk, Adrian (ext)" userId="6e619ce3-2643-4cdf-9a13-b4c269650021" providerId="ADAL" clId="{AFCEEFB0-37BC-48D4-B200-D3706B2CD7FE}" dt="2021-05-11T09:28:12.675" v="27027" actId="554"/>
          <ac:spMkLst>
            <pc:docMk/>
            <pc:sldMk cId="2399935048" sldId="924"/>
            <ac:spMk id="35" creationId="{FC56408E-740E-4A3A-8452-FD75FD306484}"/>
          </ac:spMkLst>
        </pc:spChg>
        <pc:spChg chg="mod">
          <ac:chgData name="Kisliuk, Adrian (ext)" userId="6e619ce3-2643-4cdf-9a13-b4c269650021" providerId="ADAL" clId="{AFCEEFB0-37BC-48D4-B200-D3706B2CD7FE}" dt="2021-05-11T09:28:12.675" v="27027" actId="554"/>
          <ac:spMkLst>
            <pc:docMk/>
            <pc:sldMk cId="2399935048" sldId="924"/>
            <ac:spMk id="60" creationId="{0B67F420-0069-4633-B2E8-511AD5B6FA68}"/>
          </ac:spMkLst>
        </pc:spChg>
        <pc:spChg chg="mod">
          <ac:chgData name="Kisliuk, Adrian (ext)" userId="6e619ce3-2643-4cdf-9a13-b4c269650021" providerId="ADAL" clId="{AFCEEFB0-37BC-48D4-B200-D3706B2CD7FE}" dt="2021-05-11T09:28:12.675" v="27027" actId="554"/>
          <ac:spMkLst>
            <pc:docMk/>
            <pc:sldMk cId="2399935048" sldId="924"/>
            <ac:spMk id="61" creationId="{2489A030-9C8F-4E7F-815E-85147CD782C0}"/>
          </ac:spMkLst>
        </pc:spChg>
        <pc:spChg chg="mod">
          <ac:chgData name="Kisliuk, Adrian (ext)" userId="6e619ce3-2643-4cdf-9a13-b4c269650021" providerId="ADAL" clId="{AFCEEFB0-37BC-48D4-B200-D3706B2CD7FE}" dt="2021-05-11T09:28:12.675" v="27027" actId="554"/>
          <ac:spMkLst>
            <pc:docMk/>
            <pc:sldMk cId="2399935048" sldId="924"/>
            <ac:spMk id="62" creationId="{F0E1AD20-CC60-4360-BF96-BD740B61FD77}"/>
          </ac:spMkLst>
        </pc:spChg>
        <pc:grpChg chg="mod">
          <ac:chgData name="Kisliuk, Adrian (ext)" userId="6e619ce3-2643-4cdf-9a13-b4c269650021" providerId="ADAL" clId="{AFCEEFB0-37BC-48D4-B200-D3706B2CD7FE}" dt="2021-05-11T09:28:12.675" v="27027" actId="554"/>
          <ac:grpSpMkLst>
            <pc:docMk/>
            <pc:sldMk cId="2399935048" sldId="924"/>
            <ac:grpSpMk id="46" creationId="{494554DB-DD51-4544-B796-32E4E2D89C4A}"/>
          </ac:grpSpMkLst>
        </pc:grpChg>
        <pc:picChg chg="mod">
          <ac:chgData name="Kisliuk, Adrian (ext)" userId="6e619ce3-2643-4cdf-9a13-b4c269650021" providerId="ADAL" clId="{AFCEEFB0-37BC-48D4-B200-D3706B2CD7FE}" dt="2021-05-11T09:28:12.675" v="27027" actId="554"/>
          <ac:picMkLst>
            <pc:docMk/>
            <pc:sldMk cId="2399935048" sldId="924"/>
            <ac:picMk id="20" creationId="{3C17EC33-9747-4789-B3D8-0898CDE1B8A2}"/>
          </ac:picMkLst>
        </pc:picChg>
        <pc:picChg chg="mod">
          <ac:chgData name="Kisliuk, Adrian (ext)" userId="6e619ce3-2643-4cdf-9a13-b4c269650021" providerId="ADAL" clId="{AFCEEFB0-37BC-48D4-B200-D3706B2CD7FE}" dt="2021-05-11T09:28:12.675" v="27027" actId="554"/>
          <ac:picMkLst>
            <pc:docMk/>
            <pc:sldMk cId="2399935048" sldId="924"/>
            <ac:picMk id="26" creationId="{58813FB7-2948-45F9-A28E-D99B70D235C8}"/>
          </ac:picMkLst>
        </pc:picChg>
        <pc:cxnChg chg="mod">
          <ac:chgData name="Kisliuk, Adrian (ext)" userId="6e619ce3-2643-4cdf-9a13-b4c269650021" providerId="ADAL" clId="{AFCEEFB0-37BC-48D4-B200-D3706B2CD7FE}" dt="2021-05-11T09:28:12.675" v="27027" actId="554"/>
          <ac:cxnSpMkLst>
            <pc:docMk/>
            <pc:sldMk cId="2399935048" sldId="924"/>
            <ac:cxnSpMk id="6" creationId="{F5F09235-9BFD-42B2-9F0D-0673B2C53BA9}"/>
          </ac:cxnSpMkLst>
        </pc:cxnChg>
        <pc:cxnChg chg="mod">
          <ac:chgData name="Kisliuk, Adrian (ext)" userId="6e619ce3-2643-4cdf-9a13-b4c269650021" providerId="ADAL" clId="{AFCEEFB0-37BC-48D4-B200-D3706B2CD7FE}" dt="2021-05-11T09:28:12.675" v="27027" actId="554"/>
          <ac:cxnSpMkLst>
            <pc:docMk/>
            <pc:sldMk cId="2399935048" sldId="924"/>
            <ac:cxnSpMk id="22" creationId="{8544B6DE-5F5D-468A-8EC9-80D4BA477067}"/>
          </ac:cxnSpMkLst>
        </pc:cxnChg>
        <pc:cxnChg chg="mod">
          <ac:chgData name="Kisliuk, Adrian (ext)" userId="6e619ce3-2643-4cdf-9a13-b4c269650021" providerId="ADAL" clId="{AFCEEFB0-37BC-48D4-B200-D3706B2CD7FE}" dt="2021-05-11T09:28:12.675" v="27027" actId="554"/>
          <ac:cxnSpMkLst>
            <pc:docMk/>
            <pc:sldMk cId="2399935048" sldId="924"/>
            <ac:cxnSpMk id="23" creationId="{9D0B7576-9F36-4FF2-9A0E-CEFE72B65BE6}"/>
          </ac:cxnSpMkLst>
        </pc:cxnChg>
        <pc:cxnChg chg="mod">
          <ac:chgData name="Kisliuk, Adrian (ext)" userId="6e619ce3-2643-4cdf-9a13-b4c269650021" providerId="ADAL" clId="{AFCEEFB0-37BC-48D4-B200-D3706B2CD7FE}" dt="2021-05-11T09:28:12.675" v="27027" actId="554"/>
          <ac:cxnSpMkLst>
            <pc:docMk/>
            <pc:sldMk cId="2399935048" sldId="924"/>
            <ac:cxnSpMk id="24" creationId="{8F7AEA99-66FB-4032-A1E5-522F2CB4220B}"/>
          </ac:cxnSpMkLst>
        </pc:cxnChg>
        <pc:cxnChg chg="del mod">
          <ac:chgData name="Kisliuk, Adrian (ext)" userId="6e619ce3-2643-4cdf-9a13-b4c269650021" providerId="ADAL" clId="{AFCEEFB0-37BC-48D4-B200-D3706B2CD7FE}" dt="2021-05-11T09:26:13.924" v="26915" actId="478"/>
          <ac:cxnSpMkLst>
            <pc:docMk/>
            <pc:sldMk cId="2399935048" sldId="924"/>
            <ac:cxnSpMk id="31" creationId="{6AB3E61D-A014-497D-AF77-13E47C9A21CB}"/>
          </ac:cxnSpMkLst>
        </pc:cxnChg>
        <pc:cxnChg chg="del mod">
          <ac:chgData name="Kisliuk, Adrian (ext)" userId="6e619ce3-2643-4cdf-9a13-b4c269650021" providerId="ADAL" clId="{AFCEEFB0-37BC-48D4-B200-D3706B2CD7FE}" dt="2021-05-11T09:26:24.297" v="26919" actId="478"/>
          <ac:cxnSpMkLst>
            <pc:docMk/>
            <pc:sldMk cId="2399935048" sldId="924"/>
            <ac:cxnSpMk id="33" creationId="{8E982713-8233-450A-924B-AA855DEB079B}"/>
          </ac:cxnSpMkLst>
        </pc:cxnChg>
        <pc:cxnChg chg="mod">
          <ac:chgData name="Kisliuk, Adrian (ext)" userId="6e619ce3-2643-4cdf-9a13-b4c269650021" providerId="ADAL" clId="{AFCEEFB0-37BC-48D4-B200-D3706B2CD7FE}" dt="2021-05-11T09:28:12.675" v="27027" actId="554"/>
          <ac:cxnSpMkLst>
            <pc:docMk/>
            <pc:sldMk cId="2399935048" sldId="924"/>
            <ac:cxnSpMk id="36" creationId="{AAEAD611-6A54-4BE2-998A-3636ECF86B3B}"/>
          </ac:cxnSpMkLst>
        </pc:cxnChg>
        <pc:cxnChg chg="mod">
          <ac:chgData name="Kisliuk, Adrian (ext)" userId="6e619ce3-2643-4cdf-9a13-b4c269650021" providerId="ADAL" clId="{AFCEEFB0-37BC-48D4-B200-D3706B2CD7FE}" dt="2021-05-11T09:28:12.675" v="27027" actId="554"/>
          <ac:cxnSpMkLst>
            <pc:docMk/>
            <pc:sldMk cId="2399935048" sldId="924"/>
            <ac:cxnSpMk id="38" creationId="{0A95B66F-6716-465A-A5D7-E2927C5B36DB}"/>
          </ac:cxnSpMkLst>
        </pc:cxnChg>
        <pc:cxnChg chg="mod">
          <ac:chgData name="Kisliuk, Adrian (ext)" userId="6e619ce3-2643-4cdf-9a13-b4c269650021" providerId="ADAL" clId="{AFCEEFB0-37BC-48D4-B200-D3706B2CD7FE}" dt="2021-05-11T09:28:12.675" v="27027" actId="554"/>
          <ac:cxnSpMkLst>
            <pc:docMk/>
            <pc:sldMk cId="2399935048" sldId="924"/>
            <ac:cxnSpMk id="40" creationId="{E1D3F91A-4A38-4208-9CA0-207377F8B7A1}"/>
          </ac:cxnSpMkLst>
        </pc:cxnChg>
        <pc:cxnChg chg="mod">
          <ac:chgData name="Kisliuk, Adrian (ext)" userId="6e619ce3-2643-4cdf-9a13-b4c269650021" providerId="ADAL" clId="{AFCEEFB0-37BC-48D4-B200-D3706B2CD7FE}" dt="2021-05-11T09:28:12.675" v="27027" actId="554"/>
          <ac:cxnSpMkLst>
            <pc:docMk/>
            <pc:sldMk cId="2399935048" sldId="924"/>
            <ac:cxnSpMk id="41" creationId="{4F7A62BB-4A73-45E5-88BE-9CC9738EDE3C}"/>
          </ac:cxnSpMkLst>
        </pc:cxnChg>
        <pc:cxnChg chg="add mod">
          <ac:chgData name="Kisliuk, Adrian (ext)" userId="6e619ce3-2643-4cdf-9a13-b4c269650021" providerId="ADAL" clId="{AFCEEFB0-37BC-48D4-B200-D3706B2CD7FE}" dt="2021-05-11T09:28:12.675" v="27027" actId="554"/>
          <ac:cxnSpMkLst>
            <pc:docMk/>
            <pc:sldMk cId="2399935048" sldId="924"/>
            <ac:cxnSpMk id="42" creationId="{B0826434-DB2B-444C-9A10-69D62294BCA0}"/>
          </ac:cxnSpMkLst>
        </pc:cxnChg>
        <pc:cxnChg chg="del mod">
          <ac:chgData name="Kisliuk, Adrian (ext)" userId="6e619ce3-2643-4cdf-9a13-b4c269650021" providerId="ADAL" clId="{AFCEEFB0-37BC-48D4-B200-D3706B2CD7FE}" dt="2021-05-11T09:25:58.495" v="26848" actId="478"/>
          <ac:cxnSpMkLst>
            <pc:docMk/>
            <pc:sldMk cId="2399935048" sldId="924"/>
            <ac:cxnSpMk id="43" creationId="{F2072A6F-988E-E645-84CA-618A70566B15}"/>
          </ac:cxnSpMkLst>
        </pc:cxnChg>
        <pc:cxnChg chg="add mod">
          <ac:chgData name="Kisliuk, Adrian (ext)" userId="6e619ce3-2643-4cdf-9a13-b4c269650021" providerId="ADAL" clId="{AFCEEFB0-37BC-48D4-B200-D3706B2CD7FE}" dt="2021-05-11T09:28:12.675" v="27027" actId="554"/>
          <ac:cxnSpMkLst>
            <pc:docMk/>
            <pc:sldMk cId="2399935048" sldId="924"/>
            <ac:cxnSpMk id="44" creationId="{7CC4E60B-F81D-4A07-986A-C14EB8D3DA3E}"/>
          </ac:cxnSpMkLst>
        </pc:cxnChg>
        <pc:cxnChg chg="add del mod">
          <ac:chgData name="Kisliuk, Adrian (ext)" userId="6e619ce3-2643-4cdf-9a13-b4c269650021" providerId="ADAL" clId="{AFCEEFB0-37BC-48D4-B200-D3706B2CD7FE}" dt="2021-05-11T09:26:39.572" v="26926" actId="478"/>
          <ac:cxnSpMkLst>
            <pc:docMk/>
            <pc:sldMk cId="2399935048" sldId="924"/>
            <ac:cxnSpMk id="47" creationId="{F97D01D2-A974-4C37-BF92-89C9D76845A4}"/>
          </ac:cxnSpMkLst>
        </pc:cxnChg>
      </pc:sldChg>
      <pc:sldChg chg="addSp delSp modSp new add mod ord setBg">
        <pc:chgData name="Kisliuk, Adrian (ext)" userId="6e619ce3-2643-4cdf-9a13-b4c269650021" providerId="ADAL" clId="{AFCEEFB0-37BC-48D4-B200-D3706B2CD7FE}" dt="2021-04-28T10:04:51.229" v="26657"/>
        <pc:sldMkLst>
          <pc:docMk/>
          <pc:sldMk cId="2957054610" sldId="924"/>
        </pc:sldMkLst>
        <pc:spChg chg="add del">
          <ac:chgData name="Kisliuk, Adrian (ext)" userId="6e619ce3-2643-4cdf-9a13-b4c269650021" providerId="ADAL" clId="{AFCEEFB0-37BC-48D4-B200-D3706B2CD7FE}" dt="2021-04-28T10:04:51.156" v="26649" actId="478"/>
          <ac:spMkLst>
            <pc:docMk/>
            <pc:sldMk cId="2957054610" sldId="924"/>
            <ac:spMk id="2" creationId="{8E85B389-63AD-443D-9D3C-BFF6BB1DDE93}"/>
          </ac:spMkLst>
        </pc:spChg>
        <pc:spChg chg="del">
          <ac:chgData name="Kisliuk, Adrian (ext)" userId="6e619ce3-2643-4cdf-9a13-b4c269650021" providerId="ADAL" clId="{AFCEEFB0-37BC-48D4-B200-D3706B2CD7FE}" dt="2021-04-28T10:03:49.843" v="26615" actId="478"/>
          <ac:spMkLst>
            <pc:docMk/>
            <pc:sldMk cId="2957054610" sldId="924"/>
            <ac:spMk id="3" creationId="{0263CCED-DA08-4CB0-B5A8-3C2B917F1A15}"/>
          </ac:spMkLst>
        </pc:spChg>
        <pc:spChg chg="add del mod">
          <ac:chgData name="Kisliuk, Adrian (ext)" userId="6e619ce3-2643-4cdf-9a13-b4c269650021" providerId="ADAL" clId="{AFCEEFB0-37BC-48D4-B200-D3706B2CD7FE}" dt="2021-04-28T10:04:43.974" v="26641"/>
          <ac:spMkLst>
            <pc:docMk/>
            <pc:sldMk cId="2957054610" sldId="924"/>
            <ac:spMk id="5" creationId="{414E98AC-6478-4E0C-93D9-5D116B2281C5}"/>
          </ac:spMkLst>
        </pc:spChg>
        <pc:graphicFrameChg chg="add mod modVis">
          <ac:chgData name="Kisliuk, Adrian (ext)" userId="6e619ce3-2643-4cdf-9a13-b4c269650021" providerId="ADAL" clId="{AFCEEFB0-37BC-48D4-B200-D3706B2CD7FE}" dt="2021-04-28T10:04:51.229" v="26657"/>
          <ac:graphicFrameMkLst>
            <pc:docMk/>
            <pc:sldMk cId="2957054610" sldId="924"/>
            <ac:graphicFrameMk id="4" creationId="{B93D4B8C-A2B6-4C45-9A50-D8620FBAF493}"/>
          </ac:graphicFrameMkLst>
        </pc:graphicFrameChg>
      </pc:sldChg>
      <pc:sldChg chg="addSp delSp modSp add del mod addCm delCm">
        <pc:chgData name="Kisliuk, Adrian (ext)" userId="6e619ce3-2643-4cdf-9a13-b4c269650021" providerId="ADAL" clId="{AFCEEFB0-37BC-48D4-B200-D3706B2CD7FE}" dt="2021-05-26T06:48:25.310" v="28378" actId="1582"/>
        <pc:sldMkLst>
          <pc:docMk/>
          <pc:sldMk cId="1078989069" sldId="925"/>
        </pc:sldMkLst>
        <pc:spChg chg="mod">
          <ac:chgData name="Kisliuk, Adrian (ext)" userId="6e619ce3-2643-4cdf-9a13-b4c269650021" providerId="ADAL" clId="{AFCEEFB0-37BC-48D4-B200-D3706B2CD7FE}" dt="2021-05-11T10:10:54.730" v="27308" actId="1036"/>
          <ac:spMkLst>
            <pc:docMk/>
            <pc:sldMk cId="1078989069" sldId="925"/>
            <ac:spMk id="4" creationId="{E9758F39-F76A-4B30-8F64-62875B34A7E6}"/>
          </ac:spMkLst>
        </pc:spChg>
        <pc:spChg chg="mod">
          <ac:chgData name="Kisliuk, Adrian (ext)" userId="6e619ce3-2643-4cdf-9a13-b4c269650021" providerId="ADAL" clId="{AFCEEFB0-37BC-48D4-B200-D3706B2CD7FE}" dt="2021-05-11T10:10:54.730" v="27308" actId="1036"/>
          <ac:spMkLst>
            <pc:docMk/>
            <pc:sldMk cId="1078989069" sldId="925"/>
            <ac:spMk id="5" creationId="{4F844CF9-9C66-46A1-8961-8CF70E10CDC6}"/>
          </ac:spMkLst>
        </pc:spChg>
        <pc:spChg chg="mod">
          <ac:chgData name="Kisliuk, Adrian (ext)" userId="6e619ce3-2643-4cdf-9a13-b4c269650021" providerId="ADAL" clId="{AFCEEFB0-37BC-48D4-B200-D3706B2CD7FE}" dt="2021-05-11T10:10:54.730" v="27308" actId="1036"/>
          <ac:spMkLst>
            <pc:docMk/>
            <pc:sldMk cId="1078989069" sldId="925"/>
            <ac:spMk id="6" creationId="{756D620B-5AC2-49CC-AAC3-60DF9CA75DF5}"/>
          </ac:spMkLst>
        </pc:spChg>
        <pc:spChg chg="mod">
          <ac:chgData name="Kisliuk, Adrian (ext)" userId="6e619ce3-2643-4cdf-9a13-b4c269650021" providerId="ADAL" clId="{AFCEEFB0-37BC-48D4-B200-D3706B2CD7FE}" dt="2021-05-11T10:10:54.730" v="27308" actId="1036"/>
          <ac:spMkLst>
            <pc:docMk/>
            <pc:sldMk cId="1078989069" sldId="925"/>
            <ac:spMk id="7" creationId="{815457FB-DAC4-46F3-B5C8-3145BAA4C99D}"/>
          </ac:spMkLst>
        </pc:spChg>
        <pc:spChg chg="mod">
          <ac:chgData name="Kisliuk, Adrian (ext)" userId="6e619ce3-2643-4cdf-9a13-b4c269650021" providerId="ADAL" clId="{AFCEEFB0-37BC-48D4-B200-D3706B2CD7FE}" dt="2021-05-11T10:10:54.730" v="27308" actId="1036"/>
          <ac:spMkLst>
            <pc:docMk/>
            <pc:sldMk cId="1078989069" sldId="925"/>
            <ac:spMk id="8" creationId="{E8B077FF-0AFC-414D-9C27-745D0B3383D7}"/>
          </ac:spMkLst>
        </pc:spChg>
        <pc:spChg chg="mod">
          <ac:chgData name="Kisliuk, Adrian (ext)" userId="6e619ce3-2643-4cdf-9a13-b4c269650021" providerId="ADAL" clId="{AFCEEFB0-37BC-48D4-B200-D3706B2CD7FE}" dt="2021-05-11T10:10:54.730" v="27308" actId="1036"/>
          <ac:spMkLst>
            <pc:docMk/>
            <pc:sldMk cId="1078989069" sldId="925"/>
            <ac:spMk id="9" creationId="{D047B809-C088-453C-AD2E-D9AE6AF589E5}"/>
          </ac:spMkLst>
        </pc:spChg>
        <pc:spChg chg="mod">
          <ac:chgData name="Kisliuk, Adrian (ext)" userId="6e619ce3-2643-4cdf-9a13-b4c269650021" providerId="ADAL" clId="{AFCEEFB0-37BC-48D4-B200-D3706B2CD7FE}" dt="2021-05-11T10:10:54.730" v="27308" actId="1036"/>
          <ac:spMkLst>
            <pc:docMk/>
            <pc:sldMk cId="1078989069" sldId="925"/>
            <ac:spMk id="10" creationId="{97DE6419-60F7-406E-B451-8347EA077C22}"/>
          </ac:spMkLst>
        </pc:spChg>
        <pc:spChg chg="mod">
          <ac:chgData name="Kisliuk, Adrian (ext)" userId="6e619ce3-2643-4cdf-9a13-b4c269650021" providerId="ADAL" clId="{AFCEEFB0-37BC-48D4-B200-D3706B2CD7FE}" dt="2021-05-11T10:10:54.730" v="27308" actId="1036"/>
          <ac:spMkLst>
            <pc:docMk/>
            <pc:sldMk cId="1078989069" sldId="925"/>
            <ac:spMk id="11" creationId="{CEF70DA6-5BD0-4BF7-9156-5EFB09421F34}"/>
          </ac:spMkLst>
        </pc:spChg>
        <pc:spChg chg="mod">
          <ac:chgData name="Kisliuk, Adrian (ext)" userId="6e619ce3-2643-4cdf-9a13-b4c269650021" providerId="ADAL" clId="{AFCEEFB0-37BC-48D4-B200-D3706B2CD7FE}" dt="2021-05-11T10:10:54.730" v="27308" actId="1036"/>
          <ac:spMkLst>
            <pc:docMk/>
            <pc:sldMk cId="1078989069" sldId="925"/>
            <ac:spMk id="15" creationId="{2BCBD105-077E-4EBA-BC9D-6FD472EE80C7}"/>
          </ac:spMkLst>
        </pc:spChg>
        <pc:spChg chg="mod">
          <ac:chgData name="Kisliuk, Adrian (ext)" userId="6e619ce3-2643-4cdf-9a13-b4c269650021" providerId="ADAL" clId="{AFCEEFB0-37BC-48D4-B200-D3706B2CD7FE}" dt="2021-05-11T10:10:54.730" v="27308" actId="1036"/>
          <ac:spMkLst>
            <pc:docMk/>
            <pc:sldMk cId="1078989069" sldId="925"/>
            <ac:spMk id="16" creationId="{304F80AD-6C69-4194-9BC0-58CC2E9D1B92}"/>
          </ac:spMkLst>
        </pc:spChg>
        <pc:spChg chg="mod">
          <ac:chgData name="Kisliuk, Adrian (ext)" userId="6e619ce3-2643-4cdf-9a13-b4c269650021" providerId="ADAL" clId="{AFCEEFB0-37BC-48D4-B200-D3706B2CD7FE}" dt="2021-05-11T10:10:54.730" v="27308" actId="1036"/>
          <ac:spMkLst>
            <pc:docMk/>
            <pc:sldMk cId="1078989069" sldId="925"/>
            <ac:spMk id="17" creationId="{04A5B744-A4C5-46E5-A00C-C965208CF174}"/>
          </ac:spMkLst>
        </pc:spChg>
        <pc:spChg chg="mod">
          <ac:chgData name="Kisliuk, Adrian (ext)" userId="6e619ce3-2643-4cdf-9a13-b4c269650021" providerId="ADAL" clId="{AFCEEFB0-37BC-48D4-B200-D3706B2CD7FE}" dt="2021-05-11T10:10:54.730" v="27308" actId="1036"/>
          <ac:spMkLst>
            <pc:docMk/>
            <pc:sldMk cId="1078989069" sldId="925"/>
            <ac:spMk id="20" creationId="{D1A41447-9FDD-48BD-89C6-399CE8872280}"/>
          </ac:spMkLst>
        </pc:spChg>
        <pc:spChg chg="mod">
          <ac:chgData name="Kisliuk, Adrian (ext)" userId="6e619ce3-2643-4cdf-9a13-b4c269650021" providerId="ADAL" clId="{AFCEEFB0-37BC-48D4-B200-D3706B2CD7FE}" dt="2021-05-11T10:10:54.730" v="27308" actId="1036"/>
          <ac:spMkLst>
            <pc:docMk/>
            <pc:sldMk cId="1078989069" sldId="925"/>
            <ac:spMk id="29" creationId="{5B9B5C23-D9CD-479A-BD4A-55D84B9286A5}"/>
          </ac:spMkLst>
        </pc:spChg>
        <pc:spChg chg="mod">
          <ac:chgData name="Kisliuk, Adrian (ext)" userId="6e619ce3-2643-4cdf-9a13-b4c269650021" providerId="ADAL" clId="{AFCEEFB0-37BC-48D4-B200-D3706B2CD7FE}" dt="2021-05-11T10:10:54.730" v="27308" actId="1036"/>
          <ac:spMkLst>
            <pc:docMk/>
            <pc:sldMk cId="1078989069" sldId="925"/>
            <ac:spMk id="30" creationId="{75066390-386C-4B6E-876F-F84822F8A27A}"/>
          </ac:spMkLst>
        </pc:spChg>
        <pc:spChg chg="add mod">
          <ac:chgData name="Kisliuk, Adrian (ext)" userId="6e619ce3-2643-4cdf-9a13-b4c269650021" providerId="ADAL" clId="{AFCEEFB0-37BC-48D4-B200-D3706B2CD7FE}" dt="2021-05-11T10:12:36.778" v="27319" actId="20577"/>
          <ac:spMkLst>
            <pc:docMk/>
            <pc:sldMk cId="1078989069" sldId="925"/>
            <ac:spMk id="47" creationId="{C198E89F-3EEF-44F9-84A7-F1060436D33E}"/>
          </ac:spMkLst>
        </pc:spChg>
        <pc:spChg chg="add mod">
          <ac:chgData name="Kisliuk, Adrian (ext)" userId="6e619ce3-2643-4cdf-9a13-b4c269650021" providerId="ADAL" clId="{AFCEEFB0-37BC-48D4-B200-D3706B2CD7FE}" dt="2021-05-11T10:12:40.423" v="27329" actId="20577"/>
          <ac:spMkLst>
            <pc:docMk/>
            <pc:sldMk cId="1078989069" sldId="925"/>
            <ac:spMk id="49" creationId="{0A0CE2A8-7AEF-476C-844C-00AB57911964}"/>
          </ac:spMkLst>
        </pc:spChg>
        <pc:spChg chg="add del mod">
          <ac:chgData name="Kisliuk, Adrian (ext)" userId="6e619ce3-2643-4cdf-9a13-b4c269650021" providerId="ADAL" clId="{AFCEEFB0-37BC-48D4-B200-D3706B2CD7FE}" dt="2021-05-11T10:05:47.841" v="27164"/>
          <ac:spMkLst>
            <pc:docMk/>
            <pc:sldMk cId="1078989069" sldId="925"/>
            <ac:spMk id="51" creationId="{D72350AA-CBD3-4539-AB45-22A5C8DA288C}"/>
          </ac:spMkLst>
        </pc:spChg>
        <pc:spChg chg="add del mod">
          <ac:chgData name="Kisliuk, Adrian (ext)" userId="6e619ce3-2643-4cdf-9a13-b4c269650021" providerId="ADAL" clId="{AFCEEFB0-37BC-48D4-B200-D3706B2CD7FE}" dt="2021-05-11T10:05:47.841" v="27164"/>
          <ac:spMkLst>
            <pc:docMk/>
            <pc:sldMk cId="1078989069" sldId="925"/>
            <ac:spMk id="53" creationId="{BB7DF7C6-93DA-4561-8ADC-144D93A0213B}"/>
          </ac:spMkLst>
        </pc:spChg>
        <pc:spChg chg="add del mod">
          <ac:chgData name="Kisliuk, Adrian (ext)" userId="6e619ce3-2643-4cdf-9a13-b4c269650021" providerId="ADAL" clId="{AFCEEFB0-37BC-48D4-B200-D3706B2CD7FE}" dt="2021-05-11T10:05:47.841" v="27164"/>
          <ac:spMkLst>
            <pc:docMk/>
            <pc:sldMk cId="1078989069" sldId="925"/>
            <ac:spMk id="54" creationId="{8E9791C3-1EDF-4C56-8FF8-29DB10BC0D0C}"/>
          </ac:spMkLst>
        </pc:spChg>
        <pc:spChg chg="add del mod">
          <ac:chgData name="Kisliuk, Adrian (ext)" userId="6e619ce3-2643-4cdf-9a13-b4c269650021" providerId="ADAL" clId="{AFCEEFB0-37BC-48D4-B200-D3706B2CD7FE}" dt="2021-05-11T10:05:47.841" v="27164"/>
          <ac:spMkLst>
            <pc:docMk/>
            <pc:sldMk cId="1078989069" sldId="925"/>
            <ac:spMk id="55" creationId="{45FA5A9B-EECB-41FC-87D7-CEE0011B0468}"/>
          </ac:spMkLst>
        </pc:spChg>
        <pc:spChg chg="mod">
          <ac:chgData name="Kisliuk, Adrian (ext)" userId="6e619ce3-2643-4cdf-9a13-b4c269650021" providerId="ADAL" clId="{AFCEEFB0-37BC-48D4-B200-D3706B2CD7FE}" dt="2021-05-11T10:10:54.730" v="27308" actId="1036"/>
          <ac:spMkLst>
            <pc:docMk/>
            <pc:sldMk cId="1078989069" sldId="925"/>
            <ac:spMk id="57" creationId="{CB2EEA5B-3A19-49E9-9D04-EDCC171AF40C}"/>
          </ac:spMkLst>
        </pc:spChg>
        <pc:spChg chg="mod">
          <ac:chgData name="Kisliuk, Adrian (ext)" userId="6e619ce3-2643-4cdf-9a13-b4c269650021" providerId="ADAL" clId="{AFCEEFB0-37BC-48D4-B200-D3706B2CD7FE}" dt="2021-05-11T10:10:54.730" v="27308" actId="1036"/>
          <ac:spMkLst>
            <pc:docMk/>
            <pc:sldMk cId="1078989069" sldId="925"/>
            <ac:spMk id="58" creationId="{F5AA750D-7761-4175-95AF-DDE25498C725}"/>
          </ac:spMkLst>
        </pc:spChg>
        <pc:spChg chg="add del mod">
          <ac:chgData name="Kisliuk, Adrian (ext)" userId="6e619ce3-2643-4cdf-9a13-b4c269650021" providerId="ADAL" clId="{AFCEEFB0-37BC-48D4-B200-D3706B2CD7FE}" dt="2021-05-11T10:05:47.841" v="27164"/>
          <ac:spMkLst>
            <pc:docMk/>
            <pc:sldMk cId="1078989069" sldId="925"/>
            <ac:spMk id="59" creationId="{2924397E-6D4E-419B-87E9-7BD5F2F12655}"/>
          </ac:spMkLst>
        </pc:spChg>
        <pc:spChg chg="add mod">
          <ac:chgData name="Kisliuk, Adrian (ext)" userId="6e619ce3-2643-4cdf-9a13-b4c269650021" providerId="ADAL" clId="{AFCEEFB0-37BC-48D4-B200-D3706B2CD7FE}" dt="2021-05-11T10:12:43.633" v="27336" actId="20577"/>
          <ac:spMkLst>
            <pc:docMk/>
            <pc:sldMk cId="1078989069" sldId="925"/>
            <ac:spMk id="61" creationId="{D66155B4-2995-4753-8753-2FC60AC38605}"/>
          </ac:spMkLst>
        </pc:spChg>
        <pc:picChg chg="add del mod">
          <ac:chgData name="Kisliuk, Adrian (ext)" userId="6e619ce3-2643-4cdf-9a13-b4c269650021" providerId="ADAL" clId="{AFCEEFB0-37BC-48D4-B200-D3706B2CD7FE}" dt="2021-05-11T11:04:45.267" v="27338"/>
          <ac:picMkLst>
            <pc:docMk/>
            <pc:sldMk cId="1078989069" sldId="925"/>
            <ac:picMk id="53" creationId="{51BFB7C1-F1AC-4AD3-BFFE-24A4C10B46C6}"/>
          </ac:picMkLst>
        </pc:picChg>
        <pc:picChg chg="add del mod">
          <ac:chgData name="Kisliuk, Adrian (ext)" userId="6e619ce3-2643-4cdf-9a13-b4c269650021" providerId="ADAL" clId="{AFCEEFB0-37BC-48D4-B200-D3706B2CD7FE}" dt="2021-05-11T11:04:45.267" v="27338"/>
          <ac:picMkLst>
            <pc:docMk/>
            <pc:sldMk cId="1078989069" sldId="925"/>
            <ac:picMk id="54" creationId="{44D6D8BB-4909-4F85-91CB-F5E7553A06DE}"/>
          </ac:picMkLst>
        </pc:picChg>
        <pc:picChg chg="add del mod">
          <ac:chgData name="Kisliuk, Adrian (ext)" userId="6e619ce3-2643-4cdf-9a13-b4c269650021" providerId="ADAL" clId="{AFCEEFB0-37BC-48D4-B200-D3706B2CD7FE}" dt="2021-05-11T11:04:45.267" v="27338"/>
          <ac:picMkLst>
            <pc:docMk/>
            <pc:sldMk cId="1078989069" sldId="925"/>
            <ac:picMk id="55" creationId="{8B967BA9-836C-47DE-B4CB-5D4F5CD1D05E}"/>
          </ac:picMkLst>
        </pc:picChg>
        <pc:picChg chg="add del mod">
          <ac:chgData name="Kisliuk, Adrian (ext)" userId="6e619ce3-2643-4cdf-9a13-b4c269650021" providerId="ADAL" clId="{AFCEEFB0-37BC-48D4-B200-D3706B2CD7FE}" dt="2021-05-11T11:04:45.267" v="27338"/>
          <ac:picMkLst>
            <pc:docMk/>
            <pc:sldMk cId="1078989069" sldId="925"/>
            <ac:picMk id="56" creationId="{E9FEAD16-29A6-4A4A-8889-482670EA9D9A}"/>
          </ac:picMkLst>
        </pc:picChg>
        <pc:picChg chg="add mod">
          <ac:chgData name="Kisliuk, Adrian (ext)" userId="6e619ce3-2643-4cdf-9a13-b4c269650021" providerId="ADAL" clId="{AFCEEFB0-37BC-48D4-B200-D3706B2CD7FE}" dt="2021-05-11T11:04:55" v="27340" actId="1076"/>
          <ac:picMkLst>
            <pc:docMk/>
            <pc:sldMk cId="1078989069" sldId="925"/>
            <ac:picMk id="59" creationId="{5BBF3B6C-B2E2-49AC-881F-846F121C9D36}"/>
          </ac:picMkLst>
        </pc:picChg>
        <pc:picChg chg="add mod">
          <ac:chgData name="Kisliuk, Adrian (ext)" userId="6e619ce3-2643-4cdf-9a13-b4c269650021" providerId="ADAL" clId="{AFCEEFB0-37BC-48D4-B200-D3706B2CD7FE}" dt="2021-05-11T11:05:12.721" v="27346" actId="1035"/>
          <ac:picMkLst>
            <pc:docMk/>
            <pc:sldMk cId="1078989069" sldId="925"/>
            <ac:picMk id="60" creationId="{46698B68-3D0E-478A-A734-306D3F0B2C75}"/>
          </ac:picMkLst>
        </pc:picChg>
        <pc:picChg chg="add mod">
          <ac:chgData name="Kisliuk, Adrian (ext)" userId="6e619ce3-2643-4cdf-9a13-b4c269650021" providerId="ADAL" clId="{AFCEEFB0-37BC-48D4-B200-D3706B2CD7FE}" dt="2021-05-11T11:05:09.008" v="27344" actId="1035"/>
          <ac:picMkLst>
            <pc:docMk/>
            <pc:sldMk cId="1078989069" sldId="925"/>
            <ac:picMk id="63" creationId="{FA55EC14-D4E5-4AF7-BBFF-F7CCD96DA10E}"/>
          </ac:picMkLst>
        </pc:picChg>
        <pc:picChg chg="mod">
          <ac:chgData name="Kisliuk, Adrian (ext)" userId="6e619ce3-2643-4cdf-9a13-b4c269650021" providerId="ADAL" clId="{AFCEEFB0-37BC-48D4-B200-D3706B2CD7FE}" dt="2021-05-11T10:10:54.730" v="27308" actId="1036"/>
          <ac:picMkLst>
            <pc:docMk/>
            <pc:sldMk cId="1078989069" sldId="925"/>
            <ac:picMk id="68" creationId="{1DE4BEE4-FC37-4943-9428-B4DE705BA58D}"/>
          </ac:picMkLst>
        </pc:picChg>
        <pc:picChg chg="mod">
          <ac:chgData name="Kisliuk, Adrian (ext)" userId="6e619ce3-2643-4cdf-9a13-b4c269650021" providerId="ADAL" clId="{AFCEEFB0-37BC-48D4-B200-D3706B2CD7FE}" dt="2021-05-11T10:10:54.730" v="27308" actId="1036"/>
          <ac:picMkLst>
            <pc:docMk/>
            <pc:sldMk cId="1078989069" sldId="925"/>
            <ac:picMk id="71" creationId="{91F1E3E8-3270-44F9-A8BB-69D23D6D7337}"/>
          </ac:picMkLst>
        </pc:picChg>
        <pc:picChg chg="mod">
          <ac:chgData name="Kisliuk, Adrian (ext)" userId="6e619ce3-2643-4cdf-9a13-b4c269650021" providerId="ADAL" clId="{AFCEEFB0-37BC-48D4-B200-D3706B2CD7FE}" dt="2021-05-11T10:10:54.730" v="27308" actId="1036"/>
          <ac:picMkLst>
            <pc:docMk/>
            <pc:sldMk cId="1078989069" sldId="925"/>
            <ac:picMk id="72" creationId="{C1FAAE59-E2E8-47D0-9785-BA3020B95D2C}"/>
          </ac:picMkLst>
        </pc:picChg>
        <pc:picChg chg="mod">
          <ac:chgData name="Kisliuk, Adrian (ext)" userId="6e619ce3-2643-4cdf-9a13-b4c269650021" providerId="ADAL" clId="{AFCEEFB0-37BC-48D4-B200-D3706B2CD7FE}" dt="2021-05-11T10:10:54.730" v="27308" actId="1036"/>
          <ac:picMkLst>
            <pc:docMk/>
            <pc:sldMk cId="1078989069" sldId="925"/>
            <ac:picMk id="73" creationId="{3AD12445-8348-46E8-BA24-8AC4790A91BB}"/>
          </ac:picMkLst>
        </pc:picChg>
        <pc:picChg chg="mod">
          <ac:chgData name="Kisliuk, Adrian (ext)" userId="6e619ce3-2643-4cdf-9a13-b4c269650021" providerId="ADAL" clId="{AFCEEFB0-37BC-48D4-B200-D3706B2CD7FE}" dt="2021-05-11T10:10:54.730" v="27308" actId="1036"/>
          <ac:picMkLst>
            <pc:docMk/>
            <pc:sldMk cId="1078989069" sldId="925"/>
            <ac:picMk id="74" creationId="{D57B6507-8A4E-48AF-8107-FFDA4995444A}"/>
          </ac:picMkLst>
        </pc:picChg>
        <pc:picChg chg="mod">
          <ac:chgData name="Kisliuk, Adrian (ext)" userId="6e619ce3-2643-4cdf-9a13-b4c269650021" providerId="ADAL" clId="{AFCEEFB0-37BC-48D4-B200-D3706B2CD7FE}" dt="2021-05-11T10:10:54.730" v="27308" actId="1036"/>
          <ac:picMkLst>
            <pc:docMk/>
            <pc:sldMk cId="1078989069" sldId="925"/>
            <ac:picMk id="75" creationId="{19EB195E-A92E-429C-83BF-A470CCE193D8}"/>
          </ac:picMkLst>
        </pc:picChg>
        <pc:picChg chg="mod">
          <ac:chgData name="Kisliuk, Adrian (ext)" userId="6e619ce3-2643-4cdf-9a13-b4c269650021" providerId="ADAL" clId="{AFCEEFB0-37BC-48D4-B200-D3706B2CD7FE}" dt="2021-05-11T10:10:54.730" v="27308" actId="1036"/>
          <ac:picMkLst>
            <pc:docMk/>
            <pc:sldMk cId="1078989069" sldId="925"/>
            <ac:picMk id="80" creationId="{123E8085-B244-4070-9010-0BEC0A5FD78A}"/>
          </ac:picMkLst>
        </pc:picChg>
        <pc:picChg chg="mod">
          <ac:chgData name="Kisliuk, Adrian (ext)" userId="6e619ce3-2643-4cdf-9a13-b4c269650021" providerId="ADAL" clId="{AFCEEFB0-37BC-48D4-B200-D3706B2CD7FE}" dt="2021-05-11T10:10:54.730" v="27308" actId="1036"/>
          <ac:picMkLst>
            <pc:docMk/>
            <pc:sldMk cId="1078989069" sldId="925"/>
            <ac:picMk id="81" creationId="{9DB8377A-FC16-4A3D-BBC6-3E586B5F6B86}"/>
          </ac:picMkLst>
        </pc:picChg>
        <pc:picChg chg="mod">
          <ac:chgData name="Kisliuk, Adrian (ext)" userId="6e619ce3-2643-4cdf-9a13-b4c269650021" providerId="ADAL" clId="{AFCEEFB0-37BC-48D4-B200-D3706B2CD7FE}" dt="2021-05-11T10:10:54.730" v="27308" actId="1036"/>
          <ac:picMkLst>
            <pc:docMk/>
            <pc:sldMk cId="1078989069" sldId="925"/>
            <ac:picMk id="82" creationId="{C55D937B-E6A6-4AFD-A743-D41A9A532BC0}"/>
          </ac:picMkLst>
        </pc:picChg>
        <pc:picChg chg="mod">
          <ac:chgData name="Kisliuk, Adrian (ext)" userId="6e619ce3-2643-4cdf-9a13-b4c269650021" providerId="ADAL" clId="{AFCEEFB0-37BC-48D4-B200-D3706B2CD7FE}" dt="2021-05-11T10:10:54.730" v="27308" actId="1036"/>
          <ac:picMkLst>
            <pc:docMk/>
            <pc:sldMk cId="1078989069" sldId="925"/>
            <ac:picMk id="83" creationId="{99FDBE7C-D13E-4312-AC1C-44EF96C88E79}"/>
          </ac:picMkLst>
        </pc:picChg>
        <pc:picChg chg="mod">
          <ac:chgData name="Kisliuk, Adrian (ext)" userId="6e619ce3-2643-4cdf-9a13-b4c269650021" providerId="ADAL" clId="{AFCEEFB0-37BC-48D4-B200-D3706B2CD7FE}" dt="2021-05-11T10:10:54.730" v="27308" actId="1036"/>
          <ac:picMkLst>
            <pc:docMk/>
            <pc:sldMk cId="1078989069" sldId="925"/>
            <ac:picMk id="84" creationId="{36F6AB75-622B-4C83-8FFC-6088FED90CF2}"/>
          </ac:picMkLst>
        </pc:picChg>
        <pc:picChg chg="mod">
          <ac:chgData name="Kisliuk, Adrian (ext)" userId="6e619ce3-2643-4cdf-9a13-b4c269650021" providerId="ADAL" clId="{AFCEEFB0-37BC-48D4-B200-D3706B2CD7FE}" dt="2021-05-11T10:10:54.730" v="27308" actId="1036"/>
          <ac:picMkLst>
            <pc:docMk/>
            <pc:sldMk cId="1078989069" sldId="925"/>
            <ac:picMk id="85" creationId="{11690299-6CAA-4D9D-BE08-75B5D8F05279}"/>
          </ac:picMkLst>
        </pc:picChg>
        <pc:picChg chg="mod">
          <ac:chgData name="Kisliuk, Adrian (ext)" userId="6e619ce3-2643-4cdf-9a13-b4c269650021" providerId="ADAL" clId="{AFCEEFB0-37BC-48D4-B200-D3706B2CD7FE}" dt="2021-05-11T10:10:54.730" v="27308" actId="1036"/>
          <ac:picMkLst>
            <pc:docMk/>
            <pc:sldMk cId="1078989069" sldId="925"/>
            <ac:picMk id="86" creationId="{92D2E2E6-575E-4353-A773-140E31A1DE28}"/>
          </ac:picMkLst>
        </pc:picChg>
        <pc:picChg chg="mod">
          <ac:chgData name="Kisliuk, Adrian (ext)" userId="6e619ce3-2643-4cdf-9a13-b4c269650021" providerId="ADAL" clId="{AFCEEFB0-37BC-48D4-B200-D3706B2CD7FE}" dt="2021-05-11T10:10:54.730" v="27308" actId="1036"/>
          <ac:picMkLst>
            <pc:docMk/>
            <pc:sldMk cId="1078989069" sldId="925"/>
            <ac:picMk id="87" creationId="{C2690799-313D-4836-A805-52AC3CB13250}"/>
          </ac:picMkLst>
        </pc:picChg>
        <pc:picChg chg="mod">
          <ac:chgData name="Kisliuk, Adrian (ext)" userId="6e619ce3-2643-4cdf-9a13-b4c269650021" providerId="ADAL" clId="{AFCEEFB0-37BC-48D4-B200-D3706B2CD7FE}" dt="2021-05-11T10:10:54.730" v="27308" actId="1036"/>
          <ac:picMkLst>
            <pc:docMk/>
            <pc:sldMk cId="1078989069" sldId="925"/>
            <ac:picMk id="88" creationId="{658F359B-A3B1-4DC0-9E52-CA2FE00ACF72}"/>
          </ac:picMkLst>
        </pc:picChg>
        <pc:picChg chg="mod">
          <ac:chgData name="Kisliuk, Adrian (ext)" userId="6e619ce3-2643-4cdf-9a13-b4c269650021" providerId="ADAL" clId="{AFCEEFB0-37BC-48D4-B200-D3706B2CD7FE}" dt="2021-05-11T10:10:54.730" v="27308" actId="1036"/>
          <ac:picMkLst>
            <pc:docMk/>
            <pc:sldMk cId="1078989069" sldId="925"/>
            <ac:picMk id="89" creationId="{356D22C9-502E-439D-BEA7-4C4044C0A107}"/>
          </ac:picMkLst>
        </pc:picChg>
        <pc:cxnChg chg="mod">
          <ac:chgData name="Kisliuk, Adrian (ext)" userId="6e619ce3-2643-4cdf-9a13-b4c269650021" providerId="ADAL" clId="{AFCEEFB0-37BC-48D4-B200-D3706B2CD7FE}" dt="2021-05-26T06:48:25.310" v="28378" actId="1582"/>
          <ac:cxnSpMkLst>
            <pc:docMk/>
            <pc:sldMk cId="1078989069" sldId="925"/>
            <ac:cxnSpMk id="12" creationId="{F2ABF2E3-27D0-4AFE-8C99-948118881051}"/>
          </ac:cxnSpMkLst>
        </pc:cxnChg>
        <pc:cxnChg chg="mod">
          <ac:chgData name="Kisliuk, Adrian (ext)" userId="6e619ce3-2643-4cdf-9a13-b4c269650021" providerId="ADAL" clId="{AFCEEFB0-37BC-48D4-B200-D3706B2CD7FE}" dt="2021-05-26T06:48:11.765" v="28377" actId="1582"/>
          <ac:cxnSpMkLst>
            <pc:docMk/>
            <pc:sldMk cId="1078989069" sldId="925"/>
            <ac:cxnSpMk id="13" creationId="{FC31E06E-7B58-4FD1-A5C2-91783F7F40CD}"/>
          </ac:cxnSpMkLst>
        </pc:cxnChg>
        <pc:cxnChg chg="mod">
          <ac:chgData name="Kisliuk, Adrian (ext)" userId="6e619ce3-2643-4cdf-9a13-b4c269650021" providerId="ADAL" clId="{AFCEEFB0-37BC-48D4-B200-D3706B2CD7FE}" dt="2021-05-26T06:47:59.517" v="28376" actId="1582"/>
          <ac:cxnSpMkLst>
            <pc:docMk/>
            <pc:sldMk cId="1078989069" sldId="925"/>
            <ac:cxnSpMk id="14" creationId="{AD008356-661D-4161-A696-89B303CAF522}"/>
          </ac:cxnSpMkLst>
        </pc:cxnChg>
        <pc:cxnChg chg="mod">
          <ac:chgData name="Kisliuk, Adrian (ext)" userId="6e619ce3-2643-4cdf-9a13-b4c269650021" providerId="ADAL" clId="{AFCEEFB0-37BC-48D4-B200-D3706B2CD7FE}" dt="2021-05-11T10:11:28.377" v="27312" actId="14100"/>
          <ac:cxnSpMkLst>
            <pc:docMk/>
            <pc:sldMk cId="1078989069" sldId="925"/>
            <ac:cxnSpMk id="21" creationId="{9B7F3BE7-FEC0-4933-95C2-1FDB06A1A3E2}"/>
          </ac:cxnSpMkLst>
        </pc:cxnChg>
        <pc:cxnChg chg="mod">
          <ac:chgData name="Kisliuk, Adrian (ext)" userId="6e619ce3-2643-4cdf-9a13-b4c269650021" providerId="ADAL" clId="{AFCEEFB0-37BC-48D4-B200-D3706B2CD7FE}" dt="2021-05-11T10:11:24.251" v="27311" actId="14100"/>
          <ac:cxnSpMkLst>
            <pc:docMk/>
            <pc:sldMk cId="1078989069" sldId="925"/>
            <ac:cxnSpMk id="31" creationId="{51826E0D-C41E-4B47-B303-21CEF8DCBE5D}"/>
          </ac:cxnSpMkLst>
        </pc:cxnChg>
        <pc:cxnChg chg="mod">
          <ac:chgData name="Kisliuk, Adrian (ext)" userId="6e619ce3-2643-4cdf-9a13-b4c269650021" providerId="ADAL" clId="{AFCEEFB0-37BC-48D4-B200-D3706B2CD7FE}" dt="2021-05-11T10:10:54.730" v="27308" actId="1036"/>
          <ac:cxnSpMkLst>
            <pc:docMk/>
            <pc:sldMk cId="1078989069" sldId="925"/>
            <ac:cxnSpMk id="32" creationId="{DFD6B519-A344-4FC6-A2DA-1A53992BDCBE}"/>
          </ac:cxnSpMkLst>
        </pc:cxnChg>
        <pc:cxnChg chg="mod">
          <ac:chgData name="Kisliuk, Adrian (ext)" userId="6e619ce3-2643-4cdf-9a13-b4c269650021" providerId="ADAL" clId="{AFCEEFB0-37BC-48D4-B200-D3706B2CD7FE}" dt="2021-05-11T10:10:54.730" v="27308" actId="1036"/>
          <ac:cxnSpMkLst>
            <pc:docMk/>
            <pc:sldMk cId="1078989069" sldId="925"/>
            <ac:cxnSpMk id="35" creationId="{EE8BAB10-8D59-4A44-9CF2-49650B819088}"/>
          </ac:cxnSpMkLst>
        </pc:cxnChg>
        <pc:cxnChg chg="mod">
          <ac:chgData name="Kisliuk, Adrian (ext)" userId="6e619ce3-2643-4cdf-9a13-b4c269650021" providerId="ADAL" clId="{AFCEEFB0-37BC-48D4-B200-D3706B2CD7FE}" dt="2021-05-11T10:10:54.730" v="27308" actId="1036"/>
          <ac:cxnSpMkLst>
            <pc:docMk/>
            <pc:sldMk cId="1078989069" sldId="925"/>
            <ac:cxnSpMk id="36" creationId="{B5B5AF1D-CF4E-4CCC-B6C8-019402A2DCAF}"/>
          </ac:cxnSpMkLst>
        </pc:cxnChg>
        <pc:cxnChg chg="mod">
          <ac:chgData name="Kisliuk, Adrian (ext)" userId="6e619ce3-2643-4cdf-9a13-b4c269650021" providerId="ADAL" clId="{AFCEEFB0-37BC-48D4-B200-D3706B2CD7FE}" dt="2021-05-11T10:10:54.730" v="27308" actId="1036"/>
          <ac:cxnSpMkLst>
            <pc:docMk/>
            <pc:sldMk cId="1078989069" sldId="925"/>
            <ac:cxnSpMk id="37" creationId="{0F2B354D-BD9F-447D-835D-4E2842AD2511}"/>
          </ac:cxnSpMkLst>
        </pc:cxnChg>
        <pc:cxnChg chg="mod">
          <ac:chgData name="Kisliuk, Adrian (ext)" userId="6e619ce3-2643-4cdf-9a13-b4c269650021" providerId="ADAL" clId="{AFCEEFB0-37BC-48D4-B200-D3706B2CD7FE}" dt="2021-05-11T10:10:54.730" v="27308" actId="1036"/>
          <ac:cxnSpMkLst>
            <pc:docMk/>
            <pc:sldMk cId="1078989069" sldId="925"/>
            <ac:cxnSpMk id="38" creationId="{5F8EE828-A05F-48A0-B769-9A2B40619A5E}"/>
          </ac:cxnSpMkLst>
        </pc:cxnChg>
        <pc:cxnChg chg="add mod">
          <ac:chgData name="Kisliuk, Adrian (ext)" userId="6e619ce3-2643-4cdf-9a13-b4c269650021" providerId="ADAL" clId="{AFCEEFB0-37BC-48D4-B200-D3706B2CD7FE}" dt="2021-05-11T10:10:54.730" v="27308" actId="1036"/>
          <ac:cxnSpMkLst>
            <pc:docMk/>
            <pc:sldMk cId="1078989069" sldId="925"/>
            <ac:cxnSpMk id="48" creationId="{FEE7B173-8925-41E9-B743-8BC9350F2B28}"/>
          </ac:cxnSpMkLst>
        </pc:cxnChg>
        <pc:cxnChg chg="add mod">
          <ac:chgData name="Kisliuk, Adrian (ext)" userId="6e619ce3-2643-4cdf-9a13-b4c269650021" providerId="ADAL" clId="{AFCEEFB0-37BC-48D4-B200-D3706B2CD7FE}" dt="2021-05-11T10:10:54.730" v="27308" actId="1036"/>
          <ac:cxnSpMkLst>
            <pc:docMk/>
            <pc:sldMk cId="1078989069" sldId="925"/>
            <ac:cxnSpMk id="50" creationId="{9FB2F2D7-63E7-4055-966F-44F0E067FDCD}"/>
          </ac:cxnSpMkLst>
        </pc:cxnChg>
        <pc:cxnChg chg="mod">
          <ac:chgData name="Kisliuk, Adrian (ext)" userId="6e619ce3-2643-4cdf-9a13-b4c269650021" providerId="ADAL" clId="{AFCEEFB0-37BC-48D4-B200-D3706B2CD7FE}" dt="2021-05-11T10:11:10.620" v="27310" actId="14100"/>
          <ac:cxnSpMkLst>
            <pc:docMk/>
            <pc:sldMk cId="1078989069" sldId="925"/>
            <ac:cxnSpMk id="52" creationId="{2178692B-6AE8-44F9-8A93-104B7F2FB145}"/>
          </ac:cxnSpMkLst>
        </pc:cxnChg>
        <pc:cxnChg chg="add del mod">
          <ac:chgData name="Kisliuk, Adrian (ext)" userId="6e619ce3-2643-4cdf-9a13-b4c269650021" providerId="ADAL" clId="{AFCEEFB0-37BC-48D4-B200-D3706B2CD7FE}" dt="2021-05-11T10:05:47.841" v="27164"/>
          <ac:cxnSpMkLst>
            <pc:docMk/>
            <pc:sldMk cId="1078989069" sldId="925"/>
            <ac:cxnSpMk id="56" creationId="{20A54891-0BBD-4555-A8D9-DDF4C85777DA}"/>
          </ac:cxnSpMkLst>
        </pc:cxnChg>
        <pc:cxnChg chg="add del mod">
          <ac:chgData name="Kisliuk, Adrian (ext)" userId="6e619ce3-2643-4cdf-9a13-b4c269650021" providerId="ADAL" clId="{AFCEEFB0-37BC-48D4-B200-D3706B2CD7FE}" dt="2021-05-11T10:05:47.841" v="27164"/>
          <ac:cxnSpMkLst>
            <pc:docMk/>
            <pc:sldMk cId="1078989069" sldId="925"/>
            <ac:cxnSpMk id="60" creationId="{4D2A0E92-7EA8-4406-8C0F-CF569B2C248E}"/>
          </ac:cxnSpMkLst>
        </pc:cxnChg>
        <pc:cxnChg chg="add mod">
          <ac:chgData name="Kisliuk, Adrian (ext)" userId="6e619ce3-2643-4cdf-9a13-b4c269650021" providerId="ADAL" clId="{AFCEEFB0-37BC-48D4-B200-D3706B2CD7FE}" dt="2021-05-11T10:10:54.730" v="27308" actId="1036"/>
          <ac:cxnSpMkLst>
            <pc:docMk/>
            <pc:sldMk cId="1078989069" sldId="925"/>
            <ac:cxnSpMk id="62" creationId="{B412F6A5-A731-4F01-A8B6-DF406FC83666}"/>
          </ac:cxnSpMkLst>
        </pc:cxnChg>
      </pc:sldChg>
      <pc:sldChg chg="delSp modSp add del mod ord">
        <pc:chgData name="Kisliuk, Adrian (ext)" userId="6e619ce3-2643-4cdf-9a13-b4c269650021" providerId="ADAL" clId="{AFCEEFB0-37BC-48D4-B200-D3706B2CD7FE}" dt="2021-05-19T08:58:26.806" v="27472" actId="47"/>
        <pc:sldMkLst>
          <pc:docMk/>
          <pc:sldMk cId="3716239260" sldId="926"/>
        </pc:sldMkLst>
        <pc:spChg chg="mod">
          <ac:chgData name="Kisliuk, Adrian (ext)" userId="6e619ce3-2643-4cdf-9a13-b4c269650021" providerId="ADAL" clId="{AFCEEFB0-37BC-48D4-B200-D3706B2CD7FE}" dt="2021-05-19T08:51:34.059" v="27395" actId="20577"/>
          <ac:spMkLst>
            <pc:docMk/>
            <pc:sldMk cId="3716239260" sldId="926"/>
            <ac:spMk id="3" creationId="{D2710882-1DA8-468F-8A88-A523683F1827}"/>
          </ac:spMkLst>
        </pc:spChg>
        <pc:spChg chg="del">
          <ac:chgData name="Kisliuk, Adrian (ext)" userId="6e619ce3-2643-4cdf-9a13-b4c269650021" providerId="ADAL" clId="{AFCEEFB0-37BC-48D4-B200-D3706B2CD7FE}" dt="2021-05-19T08:49:56.841" v="27352" actId="478"/>
          <ac:spMkLst>
            <pc:docMk/>
            <pc:sldMk cId="3716239260" sldId="926"/>
            <ac:spMk id="4" creationId="{715F7621-7F2C-4E80-AE35-45AB9E46CFD6}"/>
          </ac:spMkLst>
        </pc:spChg>
        <pc:cxnChg chg="del">
          <ac:chgData name="Kisliuk, Adrian (ext)" userId="6e619ce3-2643-4cdf-9a13-b4c269650021" providerId="ADAL" clId="{AFCEEFB0-37BC-48D4-B200-D3706B2CD7FE}" dt="2021-05-19T08:49:56.841" v="27352" actId="478"/>
          <ac:cxnSpMkLst>
            <pc:docMk/>
            <pc:sldMk cId="3716239260" sldId="926"/>
            <ac:cxnSpMk id="5" creationId="{A917E9BA-10B2-4874-9986-4DED666A4BB1}"/>
          </ac:cxnSpMkLst>
        </pc:cxnChg>
      </pc:sldChg>
      <pc:sldChg chg="addSp modSp add del mod">
        <pc:chgData name="Kisliuk, Adrian (ext)" userId="6e619ce3-2643-4cdf-9a13-b4c269650021" providerId="ADAL" clId="{AFCEEFB0-37BC-48D4-B200-D3706B2CD7FE}" dt="2021-05-19T08:58:11.493" v="27464" actId="47"/>
        <pc:sldMkLst>
          <pc:docMk/>
          <pc:sldMk cId="1985997769" sldId="927"/>
        </pc:sldMkLst>
        <pc:spChg chg="add mod">
          <ac:chgData name="Kisliuk, Adrian (ext)" userId="6e619ce3-2643-4cdf-9a13-b4c269650021" providerId="ADAL" clId="{AFCEEFB0-37BC-48D4-B200-D3706B2CD7FE}" dt="2021-05-19T08:57:34.248" v="27462" actId="20577"/>
          <ac:spMkLst>
            <pc:docMk/>
            <pc:sldMk cId="1985997769" sldId="927"/>
            <ac:spMk id="3" creationId="{7FEF8A8E-6AE8-4585-AA7C-7AEE9A866EF4}"/>
          </ac:spMkLst>
        </pc:spChg>
        <pc:graphicFrameChg chg="mod">
          <ac:chgData name="Kisliuk, Adrian (ext)" userId="6e619ce3-2643-4cdf-9a13-b4c269650021" providerId="ADAL" clId="{AFCEEFB0-37BC-48D4-B200-D3706B2CD7FE}" dt="2021-05-19T08:57:33.039" v="27457" actId="1076"/>
          <ac:graphicFrameMkLst>
            <pc:docMk/>
            <pc:sldMk cId="1985997769" sldId="927"/>
            <ac:graphicFrameMk id="45" creationId="{249ACC2C-4245-439C-935F-45259A18C20A}"/>
          </ac:graphicFrameMkLst>
        </pc:graphicFrameChg>
      </pc:sldChg>
      <pc:sldChg chg="addSp delSp modSp add del mod">
        <pc:chgData name="Kisliuk, Adrian (ext)" userId="6e619ce3-2643-4cdf-9a13-b4c269650021" providerId="ADAL" clId="{AFCEEFB0-37BC-48D4-B200-D3706B2CD7FE}" dt="2021-05-19T08:58:28.031" v="27473" actId="47"/>
        <pc:sldMkLst>
          <pc:docMk/>
          <pc:sldMk cId="3362482550" sldId="927"/>
        </pc:sldMkLst>
        <pc:spChg chg="del">
          <ac:chgData name="Kisliuk, Adrian (ext)" userId="6e619ce3-2643-4cdf-9a13-b4c269650021" providerId="ADAL" clId="{AFCEEFB0-37BC-48D4-B200-D3706B2CD7FE}" dt="2021-05-19T08:58:19.544" v="27468" actId="478"/>
          <ac:spMkLst>
            <pc:docMk/>
            <pc:sldMk cId="3362482550" sldId="927"/>
            <ac:spMk id="3" creationId="{D2710882-1DA8-468F-8A88-A523683F1827}"/>
          </ac:spMkLst>
        </pc:spChg>
        <pc:spChg chg="add mod">
          <ac:chgData name="Kisliuk, Adrian (ext)" userId="6e619ce3-2643-4cdf-9a13-b4c269650021" providerId="ADAL" clId="{AFCEEFB0-37BC-48D4-B200-D3706B2CD7FE}" dt="2021-05-19T08:58:19.544" v="27468" actId="478"/>
          <ac:spMkLst>
            <pc:docMk/>
            <pc:sldMk cId="3362482550" sldId="927"/>
            <ac:spMk id="4" creationId="{290366E9-B776-49E0-9C08-9E81FF44B60E}"/>
          </ac:spMkLst>
        </pc:spChg>
      </pc:sldChg>
      <pc:sldChg chg="addSp delSp modSp add del mod">
        <pc:chgData name="Kisliuk, Adrian (ext)" userId="6e619ce3-2643-4cdf-9a13-b4c269650021" providerId="ADAL" clId="{AFCEEFB0-37BC-48D4-B200-D3706B2CD7FE}" dt="2021-06-02T09:18:21.875" v="30670" actId="47"/>
        <pc:sldMkLst>
          <pc:docMk/>
          <pc:sldMk cId="142025012" sldId="928"/>
        </pc:sldMkLst>
        <pc:spChg chg="mod">
          <ac:chgData name="Kisliuk, Adrian (ext)" userId="6e619ce3-2643-4cdf-9a13-b4c269650021" providerId="ADAL" clId="{AFCEEFB0-37BC-48D4-B200-D3706B2CD7FE}" dt="2021-05-26T07:21:25.927" v="28690" actId="948"/>
          <ac:spMkLst>
            <pc:docMk/>
            <pc:sldMk cId="142025012" sldId="928"/>
            <ac:spMk id="2" creationId="{A30CB9C5-1D04-4B1D-9E06-9EECBAD81A55}"/>
          </ac:spMkLst>
        </pc:spChg>
        <pc:spChg chg="add del mod modVis">
          <ac:chgData name="Kisliuk, Adrian (ext)" userId="6e619ce3-2643-4cdf-9a13-b4c269650021" providerId="ADAL" clId="{AFCEEFB0-37BC-48D4-B200-D3706B2CD7FE}" dt="2021-05-26T07:21:09.993" v="28642"/>
          <ac:spMkLst>
            <pc:docMk/>
            <pc:sldMk cId="142025012" sldId="928"/>
            <ac:spMk id="14" creationId="{C02BD474-973C-4372-8DE9-95448AEF855A}"/>
          </ac:spMkLst>
        </pc:spChg>
        <pc:spChg chg="add del mod modVis">
          <ac:chgData name="Kisliuk, Adrian (ext)" userId="6e619ce3-2643-4cdf-9a13-b4c269650021" providerId="ADAL" clId="{AFCEEFB0-37BC-48D4-B200-D3706B2CD7FE}" dt="2021-05-26T07:21:25.973" v="28729"/>
          <ac:spMkLst>
            <pc:docMk/>
            <pc:sldMk cId="142025012" sldId="928"/>
            <ac:spMk id="15" creationId="{0D9CD588-74D2-4189-AB96-4C7BFB21982A}"/>
          </ac:spMkLst>
        </pc:spChg>
        <pc:spChg chg="add mod">
          <ac:chgData name="Kisliuk, Adrian (ext)" userId="6e619ce3-2643-4cdf-9a13-b4c269650021" providerId="ADAL" clId="{AFCEEFB0-37BC-48D4-B200-D3706B2CD7FE}" dt="2021-05-26T09:22:38.223" v="30663" actId="207"/>
          <ac:spMkLst>
            <pc:docMk/>
            <pc:sldMk cId="142025012" sldId="928"/>
            <ac:spMk id="29" creationId="{C5F44FDB-48C3-4DFF-8524-33255793A18E}"/>
          </ac:spMkLst>
        </pc:spChg>
        <pc:spChg chg="add del mod">
          <ac:chgData name="Kisliuk, Adrian (ext)" userId="6e619ce3-2643-4cdf-9a13-b4c269650021" providerId="ADAL" clId="{AFCEEFB0-37BC-48D4-B200-D3706B2CD7FE}" dt="2021-06-02T08:48:40.774" v="30669" actId="21"/>
          <ac:spMkLst>
            <pc:docMk/>
            <pc:sldMk cId="142025012" sldId="928"/>
            <ac:spMk id="31" creationId="{75A95606-6A0B-46BB-9378-559ABC1EA8E7}"/>
          </ac:spMkLst>
        </pc:spChg>
        <pc:spChg chg="add mod">
          <ac:chgData name="Kisliuk, Adrian (ext)" userId="6e619ce3-2643-4cdf-9a13-b4c269650021" providerId="ADAL" clId="{AFCEEFB0-37BC-48D4-B200-D3706B2CD7FE}" dt="2021-06-02T08:48:37.667" v="30668"/>
          <ac:spMkLst>
            <pc:docMk/>
            <pc:sldMk cId="142025012" sldId="928"/>
            <ac:spMk id="32" creationId="{5F3A59EF-97BA-47EA-988F-BC2B2714212D}"/>
          </ac:spMkLst>
        </pc:spChg>
        <pc:spChg chg="mod">
          <ac:chgData name="Kisliuk, Adrian (ext)" userId="6e619ce3-2643-4cdf-9a13-b4c269650021" providerId="ADAL" clId="{AFCEEFB0-37BC-48D4-B200-D3706B2CD7FE}" dt="2021-05-26T07:11:03.262" v="28577" actId="408"/>
          <ac:spMkLst>
            <pc:docMk/>
            <pc:sldMk cId="142025012" sldId="928"/>
            <ac:spMk id="48" creationId="{4FBA9904-6A82-4A29-BF91-C1AA40CDECE4}"/>
          </ac:spMkLst>
        </pc:spChg>
        <pc:spChg chg="mod">
          <ac:chgData name="Kisliuk, Adrian (ext)" userId="6e619ce3-2643-4cdf-9a13-b4c269650021" providerId="ADAL" clId="{AFCEEFB0-37BC-48D4-B200-D3706B2CD7FE}" dt="2021-05-26T07:11:03.262" v="28577" actId="408"/>
          <ac:spMkLst>
            <pc:docMk/>
            <pc:sldMk cId="142025012" sldId="928"/>
            <ac:spMk id="52" creationId="{0CB8B495-1E79-48A5-BB9E-7EDCA656390A}"/>
          </ac:spMkLst>
        </pc:spChg>
        <pc:spChg chg="mod">
          <ac:chgData name="Kisliuk, Adrian (ext)" userId="6e619ce3-2643-4cdf-9a13-b4c269650021" providerId="ADAL" clId="{AFCEEFB0-37BC-48D4-B200-D3706B2CD7FE}" dt="2021-05-26T07:11:03.262" v="28577" actId="408"/>
          <ac:spMkLst>
            <pc:docMk/>
            <pc:sldMk cId="142025012" sldId="928"/>
            <ac:spMk id="53" creationId="{9DAF4614-7CAC-4566-836A-6297BB5A1B8E}"/>
          </ac:spMkLst>
        </pc:spChg>
        <pc:spChg chg="mod">
          <ac:chgData name="Kisliuk, Adrian (ext)" userId="6e619ce3-2643-4cdf-9a13-b4c269650021" providerId="ADAL" clId="{AFCEEFB0-37BC-48D4-B200-D3706B2CD7FE}" dt="2021-05-26T07:11:03.262" v="28577" actId="408"/>
          <ac:spMkLst>
            <pc:docMk/>
            <pc:sldMk cId="142025012" sldId="928"/>
            <ac:spMk id="57" creationId="{EFC84A4A-4FE5-49DC-B84B-27F2B817E3C9}"/>
          </ac:spMkLst>
        </pc:spChg>
        <pc:spChg chg="mod">
          <ac:chgData name="Kisliuk, Adrian (ext)" userId="6e619ce3-2643-4cdf-9a13-b4c269650021" providerId="ADAL" clId="{AFCEEFB0-37BC-48D4-B200-D3706B2CD7FE}" dt="2021-05-26T08:54:17.985" v="29629" actId="948"/>
          <ac:spMkLst>
            <pc:docMk/>
            <pc:sldMk cId="142025012" sldId="928"/>
            <ac:spMk id="65" creationId="{5CE31B73-FC53-4158-AC73-306DE0CD3659}"/>
          </ac:spMkLst>
        </pc:spChg>
        <pc:spChg chg="mod">
          <ac:chgData name="Kisliuk, Adrian (ext)" userId="6e619ce3-2643-4cdf-9a13-b4c269650021" providerId="ADAL" clId="{AFCEEFB0-37BC-48D4-B200-D3706B2CD7FE}" dt="2021-05-26T07:11:03.262" v="28577" actId="408"/>
          <ac:spMkLst>
            <pc:docMk/>
            <pc:sldMk cId="142025012" sldId="928"/>
            <ac:spMk id="68" creationId="{A73BB615-1F77-4CBC-AC4D-2E55A06615D0}"/>
          </ac:spMkLst>
        </pc:spChg>
        <pc:spChg chg="mod">
          <ac:chgData name="Kisliuk, Adrian (ext)" userId="6e619ce3-2643-4cdf-9a13-b4c269650021" providerId="ADAL" clId="{AFCEEFB0-37BC-48D4-B200-D3706B2CD7FE}" dt="2021-05-26T07:11:03.262" v="28577" actId="408"/>
          <ac:spMkLst>
            <pc:docMk/>
            <pc:sldMk cId="142025012" sldId="928"/>
            <ac:spMk id="69" creationId="{1F72FDFB-7544-46B8-986C-D7ED0DA95F1D}"/>
          </ac:spMkLst>
        </pc:spChg>
        <pc:spChg chg="mod">
          <ac:chgData name="Kisliuk, Adrian (ext)" userId="6e619ce3-2643-4cdf-9a13-b4c269650021" providerId="ADAL" clId="{AFCEEFB0-37BC-48D4-B200-D3706B2CD7FE}" dt="2021-05-26T07:11:03.262" v="28577" actId="408"/>
          <ac:spMkLst>
            <pc:docMk/>
            <pc:sldMk cId="142025012" sldId="928"/>
            <ac:spMk id="72" creationId="{B48A4D1C-6816-4026-B308-6DCAED4D46C1}"/>
          </ac:spMkLst>
        </pc:spChg>
        <pc:spChg chg="mod topLvl">
          <ac:chgData name="Kisliuk, Adrian (ext)" userId="6e619ce3-2643-4cdf-9a13-b4c269650021" providerId="ADAL" clId="{AFCEEFB0-37BC-48D4-B200-D3706B2CD7FE}" dt="2021-05-26T07:12:42.322" v="28578" actId="20577"/>
          <ac:spMkLst>
            <pc:docMk/>
            <pc:sldMk cId="142025012" sldId="928"/>
            <ac:spMk id="80" creationId="{53C2F809-4460-4609-B8E0-E75972015D50}"/>
          </ac:spMkLst>
        </pc:spChg>
        <pc:spChg chg="del mod topLvl">
          <ac:chgData name="Kisliuk, Adrian (ext)" userId="6e619ce3-2643-4cdf-9a13-b4c269650021" providerId="ADAL" clId="{AFCEEFB0-37BC-48D4-B200-D3706B2CD7FE}" dt="2021-05-26T07:00:11.902" v="28494" actId="478"/>
          <ac:spMkLst>
            <pc:docMk/>
            <pc:sldMk cId="142025012" sldId="928"/>
            <ac:spMk id="83" creationId="{27888BFA-6B01-4803-8D07-234D2D7D8C32}"/>
          </ac:spMkLst>
        </pc:spChg>
        <pc:spChg chg="del mod topLvl">
          <ac:chgData name="Kisliuk, Adrian (ext)" userId="6e619ce3-2643-4cdf-9a13-b4c269650021" providerId="ADAL" clId="{AFCEEFB0-37BC-48D4-B200-D3706B2CD7FE}" dt="2021-05-26T07:00:16.141" v="28495" actId="478"/>
          <ac:spMkLst>
            <pc:docMk/>
            <pc:sldMk cId="142025012" sldId="928"/>
            <ac:spMk id="86" creationId="{BE9D4A58-CE32-405F-B210-C37982E3B28E}"/>
          </ac:spMkLst>
        </pc:spChg>
        <pc:spChg chg="mod">
          <ac:chgData name="Kisliuk, Adrian (ext)" userId="6e619ce3-2643-4cdf-9a13-b4c269650021" providerId="ADAL" clId="{AFCEEFB0-37BC-48D4-B200-D3706B2CD7FE}" dt="2021-05-25T20:33:08.906" v="27878" actId="1076"/>
          <ac:spMkLst>
            <pc:docMk/>
            <pc:sldMk cId="142025012" sldId="928"/>
            <ac:spMk id="89" creationId="{5C4196D5-D435-4D80-8E13-D51A877059E1}"/>
          </ac:spMkLst>
        </pc:spChg>
        <pc:spChg chg="mod topLvl">
          <ac:chgData name="Kisliuk, Adrian (ext)" userId="6e619ce3-2643-4cdf-9a13-b4c269650021" providerId="ADAL" clId="{AFCEEFB0-37BC-48D4-B200-D3706B2CD7FE}" dt="2021-05-25T20:33:08.906" v="27878" actId="1076"/>
          <ac:spMkLst>
            <pc:docMk/>
            <pc:sldMk cId="142025012" sldId="928"/>
            <ac:spMk id="93" creationId="{921CA851-6A85-45C1-88E8-D36A4BA1529B}"/>
          </ac:spMkLst>
        </pc:spChg>
        <pc:grpChg chg="add del mod">
          <ac:chgData name="Kisliuk, Adrian (ext)" userId="6e619ce3-2643-4cdf-9a13-b4c269650021" providerId="ADAL" clId="{AFCEEFB0-37BC-48D4-B200-D3706B2CD7FE}" dt="2021-05-25T20:33:05.020" v="27860" actId="165"/>
          <ac:grpSpMkLst>
            <pc:docMk/>
            <pc:sldMk cId="142025012" sldId="928"/>
            <ac:grpSpMk id="3" creationId="{1140DFC6-6CC2-439A-9DBE-7EE537AEB6A4}"/>
          </ac:grpSpMkLst>
        </pc:grpChg>
        <pc:grpChg chg="add del mod">
          <ac:chgData name="Kisliuk, Adrian (ext)" userId="6e619ce3-2643-4cdf-9a13-b4c269650021" providerId="ADAL" clId="{AFCEEFB0-37BC-48D4-B200-D3706B2CD7FE}" dt="2021-05-26T07:05:01.317" v="28563" actId="165"/>
          <ac:grpSpMkLst>
            <pc:docMk/>
            <pc:sldMk cId="142025012" sldId="928"/>
            <ac:grpSpMk id="3" creationId="{B87A2ADC-1C99-402B-B89B-D5CAA018835E}"/>
          </ac:grpSpMkLst>
        </pc:grpChg>
        <pc:grpChg chg="add mod topLvl">
          <ac:chgData name="Kisliuk, Adrian (ext)" userId="6e619ce3-2643-4cdf-9a13-b4c269650021" providerId="ADAL" clId="{AFCEEFB0-37BC-48D4-B200-D3706B2CD7FE}" dt="2021-05-26T07:11:03.262" v="28577" actId="408"/>
          <ac:grpSpMkLst>
            <pc:docMk/>
            <pc:sldMk cId="142025012" sldId="928"/>
            <ac:grpSpMk id="5" creationId="{51E0CF8D-47C8-4405-AC68-1F40384972CD}"/>
          </ac:grpSpMkLst>
        </pc:grpChg>
        <pc:grpChg chg="add del mod topLvl">
          <ac:chgData name="Kisliuk, Adrian (ext)" userId="6e619ce3-2643-4cdf-9a13-b4c269650021" providerId="ADAL" clId="{AFCEEFB0-37BC-48D4-B200-D3706B2CD7FE}" dt="2021-05-26T06:57:16.496" v="28471" actId="165"/>
          <ac:grpSpMkLst>
            <pc:docMk/>
            <pc:sldMk cId="142025012" sldId="928"/>
            <ac:grpSpMk id="6" creationId="{DD86BE4B-A48F-4AED-84F4-6F4C5DC90B67}"/>
          </ac:grpSpMkLst>
        </pc:grpChg>
        <pc:grpChg chg="add mod topLvl">
          <ac:chgData name="Kisliuk, Adrian (ext)" userId="6e619ce3-2643-4cdf-9a13-b4c269650021" providerId="ADAL" clId="{AFCEEFB0-37BC-48D4-B200-D3706B2CD7FE}" dt="2021-05-26T07:11:03.262" v="28577" actId="408"/>
          <ac:grpSpMkLst>
            <pc:docMk/>
            <pc:sldMk cId="142025012" sldId="928"/>
            <ac:grpSpMk id="7" creationId="{41766015-E513-4FCD-A524-DB0549912BF9}"/>
          </ac:grpSpMkLst>
        </pc:grpChg>
        <pc:grpChg chg="add del mod">
          <ac:chgData name="Kisliuk, Adrian (ext)" userId="6e619ce3-2643-4cdf-9a13-b4c269650021" providerId="ADAL" clId="{AFCEEFB0-37BC-48D4-B200-D3706B2CD7FE}" dt="2021-05-26T06:26:12.132" v="27913" actId="165"/>
          <ac:grpSpMkLst>
            <pc:docMk/>
            <pc:sldMk cId="142025012" sldId="928"/>
            <ac:grpSpMk id="8" creationId="{778BA15D-BE05-4258-B47B-4BA3CED9C395}"/>
          </ac:grpSpMkLst>
        </pc:grpChg>
        <pc:graphicFrameChg chg="mod">
          <ac:chgData name="Kisliuk, Adrian (ext)" userId="6e619ce3-2643-4cdf-9a13-b4c269650021" providerId="ADAL" clId="{AFCEEFB0-37BC-48D4-B200-D3706B2CD7FE}" dt="2021-05-26T07:21:25.973" v="28731"/>
          <ac:graphicFrameMkLst>
            <pc:docMk/>
            <pc:sldMk cId="142025012" sldId="928"/>
            <ac:graphicFrameMk id="45" creationId="{249ACC2C-4245-439C-935F-45259A18C20A}"/>
          </ac:graphicFrameMkLst>
        </pc:graphicFrameChg>
        <pc:picChg chg="mod">
          <ac:chgData name="Kisliuk, Adrian (ext)" userId="6e619ce3-2643-4cdf-9a13-b4c269650021" providerId="ADAL" clId="{AFCEEFB0-37BC-48D4-B200-D3706B2CD7FE}" dt="2021-05-26T08:05:14.154" v="28868" actId="1036"/>
          <ac:picMkLst>
            <pc:docMk/>
            <pc:sldMk cId="142025012" sldId="928"/>
            <ac:picMk id="4" creationId="{61ACAC43-3400-4E05-8F8D-315313219E61}"/>
          </ac:picMkLst>
        </pc:picChg>
        <pc:picChg chg="add del mod">
          <ac:chgData name="Kisliuk, Adrian (ext)" userId="6e619ce3-2643-4cdf-9a13-b4c269650021" providerId="ADAL" clId="{AFCEEFB0-37BC-48D4-B200-D3706B2CD7FE}" dt="2021-05-26T07:15:27.332" v="28582" actId="478"/>
          <ac:picMkLst>
            <pc:docMk/>
            <pc:sldMk cId="142025012" sldId="928"/>
            <ac:picMk id="11" creationId="{31C9997A-BF1A-4FF5-856B-56CA1FBE27FB}"/>
          </ac:picMkLst>
        </pc:picChg>
        <pc:picChg chg="add del mod modCrop">
          <ac:chgData name="Kisliuk, Adrian (ext)" userId="6e619ce3-2643-4cdf-9a13-b4c269650021" providerId="ADAL" clId="{AFCEEFB0-37BC-48D4-B200-D3706B2CD7FE}" dt="2021-05-26T07:15:59.341" v="28585" actId="478"/>
          <ac:picMkLst>
            <pc:docMk/>
            <pc:sldMk cId="142025012" sldId="928"/>
            <ac:picMk id="13" creationId="{30666C22-BCF6-4492-8F3C-768F8A5FF798}"/>
          </ac:picMkLst>
        </pc:picChg>
        <pc:picChg chg="mod">
          <ac:chgData name="Kisliuk, Adrian (ext)" userId="6e619ce3-2643-4cdf-9a13-b4c269650021" providerId="ADAL" clId="{AFCEEFB0-37BC-48D4-B200-D3706B2CD7FE}" dt="2021-05-26T07:11:03.262" v="28577" actId="408"/>
          <ac:picMkLst>
            <pc:docMk/>
            <pc:sldMk cId="142025012" sldId="928"/>
            <ac:picMk id="49" creationId="{33DC515C-7C44-4B90-AF89-433E4FE763E8}"/>
          </ac:picMkLst>
        </pc:picChg>
        <pc:picChg chg="mod">
          <ac:chgData name="Kisliuk, Adrian (ext)" userId="6e619ce3-2643-4cdf-9a13-b4c269650021" providerId="ADAL" clId="{AFCEEFB0-37BC-48D4-B200-D3706B2CD7FE}" dt="2021-05-26T07:11:03.262" v="28577" actId="408"/>
          <ac:picMkLst>
            <pc:docMk/>
            <pc:sldMk cId="142025012" sldId="928"/>
            <ac:picMk id="50" creationId="{F3EFB0F5-B62C-49C8-9879-2D62DDB7D8E3}"/>
          </ac:picMkLst>
        </pc:picChg>
        <pc:picChg chg="mod">
          <ac:chgData name="Kisliuk, Adrian (ext)" userId="6e619ce3-2643-4cdf-9a13-b4c269650021" providerId="ADAL" clId="{AFCEEFB0-37BC-48D4-B200-D3706B2CD7FE}" dt="2021-05-26T07:11:03.262" v="28577" actId="408"/>
          <ac:picMkLst>
            <pc:docMk/>
            <pc:sldMk cId="142025012" sldId="928"/>
            <ac:picMk id="51" creationId="{49981026-8763-4B51-B535-1BCFB5E16A3A}"/>
          </ac:picMkLst>
        </pc:picChg>
        <pc:picChg chg="mod">
          <ac:chgData name="Kisliuk, Adrian (ext)" userId="6e619ce3-2643-4cdf-9a13-b4c269650021" providerId="ADAL" clId="{AFCEEFB0-37BC-48D4-B200-D3706B2CD7FE}" dt="2021-05-26T07:05:01.317" v="28563" actId="165"/>
          <ac:picMkLst>
            <pc:docMk/>
            <pc:sldMk cId="142025012" sldId="928"/>
            <ac:picMk id="58" creationId="{B53EB35B-245B-4717-9D9F-90E72710A1DD}"/>
          </ac:picMkLst>
        </pc:picChg>
        <pc:picChg chg="mod">
          <ac:chgData name="Kisliuk, Adrian (ext)" userId="6e619ce3-2643-4cdf-9a13-b4c269650021" providerId="ADAL" clId="{AFCEEFB0-37BC-48D4-B200-D3706B2CD7FE}" dt="2021-05-26T07:11:03.262" v="28577" actId="408"/>
          <ac:picMkLst>
            <pc:docMk/>
            <pc:sldMk cId="142025012" sldId="928"/>
            <ac:picMk id="59" creationId="{5EC473E0-BEFE-489B-962C-70DBB2037E7E}"/>
          </ac:picMkLst>
        </pc:picChg>
        <pc:picChg chg="mod">
          <ac:chgData name="Kisliuk, Adrian (ext)" userId="6e619ce3-2643-4cdf-9a13-b4c269650021" providerId="ADAL" clId="{AFCEEFB0-37BC-48D4-B200-D3706B2CD7FE}" dt="2021-05-26T07:11:03.262" v="28577" actId="408"/>
          <ac:picMkLst>
            <pc:docMk/>
            <pc:sldMk cId="142025012" sldId="928"/>
            <ac:picMk id="66" creationId="{C0D2FEB2-14E5-4A0C-9511-615A7E817CDD}"/>
          </ac:picMkLst>
        </pc:picChg>
        <pc:picChg chg="mod">
          <ac:chgData name="Kisliuk, Adrian (ext)" userId="6e619ce3-2643-4cdf-9a13-b4c269650021" providerId="ADAL" clId="{AFCEEFB0-37BC-48D4-B200-D3706B2CD7FE}" dt="2021-05-26T07:11:03.262" v="28577" actId="408"/>
          <ac:picMkLst>
            <pc:docMk/>
            <pc:sldMk cId="142025012" sldId="928"/>
            <ac:picMk id="67" creationId="{6FE02B7E-2072-4C1E-B712-6DFF68BDD9E3}"/>
          </ac:picMkLst>
        </pc:picChg>
        <pc:cxnChg chg="mod">
          <ac:chgData name="Kisliuk, Adrian (ext)" userId="6e619ce3-2643-4cdf-9a13-b4c269650021" providerId="ADAL" clId="{AFCEEFB0-37BC-48D4-B200-D3706B2CD7FE}" dt="2021-05-26T07:11:03.262" v="28577" actId="408"/>
          <ac:cxnSpMkLst>
            <pc:docMk/>
            <pc:sldMk cId="142025012" sldId="928"/>
            <ac:cxnSpMk id="30" creationId="{35B0A19C-EAE0-4EF2-B1F9-ED92C61EB51E}"/>
          </ac:cxnSpMkLst>
        </pc:cxnChg>
        <pc:cxnChg chg="mod">
          <ac:chgData name="Kisliuk, Adrian (ext)" userId="6e619ce3-2643-4cdf-9a13-b4c269650021" providerId="ADAL" clId="{AFCEEFB0-37BC-48D4-B200-D3706B2CD7FE}" dt="2021-05-26T07:11:03.262" v="28577" actId="408"/>
          <ac:cxnSpMkLst>
            <pc:docMk/>
            <pc:sldMk cId="142025012" sldId="928"/>
            <ac:cxnSpMk id="63" creationId="{B18457CE-F3BD-4D92-88BB-D75AF7BA5ACC}"/>
          </ac:cxnSpMkLst>
        </pc:cxnChg>
        <pc:cxnChg chg="mod">
          <ac:chgData name="Kisliuk, Adrian (ext)" userId="6e619ce3-2643-4cdf-9a13-b4c269650021" providerId="ADAL" clId="{AFCEEFB0-37BC-48D4-B200-D3706B2CD7FE}" dt="2021-05-26T07:11:03.262" v="28577" actId="408"/>
          <ac:cxnSpMkLst>
            <pc:docMk/>
            <pc:sldMk cId="142025012" sldId="928"/>
            <ac:cxnSpMk id="64" creationId="{336E52CE-C7D1-46A0-80F8-EA2C674033A6}"/>
          </ac:cxnSpMkLst>
        </pc:cxnChg>
        <pc:cxnChg chg="mod">
          <ac:chgData name="Kisliuk, Adrian (ext)" userId="6e619ce3-2643-4cdf-9a13-b4c269650021" providerId="ADAL" clId="{AFCEEFB0-37BC-48D4-B200-D3706B2CD7FE}" dt="2021-05-26T07:11:03.262" v="28577" actId="408"/>
          <ac:cxnSpMkLst>
            <pc:docMk/>
            <pc:sldMk cId="142025012" sldId="928"/>
            <ac:cxnSpMk id="74" creationId="{5EC19DA4-57F9-4076-8414-3493206878B9}"/>
          </ac:cxnSpMkLst>
        </pc:cxnChg>
        <pc:cxnChg chg="mod">
          <ac:chgData name="Kisliuk, Adrian (ext)" userId="6e619ce3-2643-4cdf-9a13-b4c269650021" providerId="ADAL" clId="{AFCEEFB0-37BC-48D4-B200-D3706B2CD7FE}" dt="2021-05-26T07:11:03.262" v="28577" actId="408"/>
          <ac:cxnSpMkLst>
            <pc:docMk/>
            <pc:sldMk cId="142025012" sldId="928"/>
            <ac:cxnSpMk id="81" creationId="{65B4736B-2EA2-42F6-9BF4-39E8E210A303}"/>
          </ac:cxnSpMkLst>
        </pc:cxnChg>
        <pc:cxnChg chg="mod">
          <ac:chgData name="Kisliuk, Adrian (ext)" userId="6e619ce3-2643-4cdf-9a13-b4c269650021" providerId="ADAL" clId="{AFCEEFB0-37BC-48D4-B200-D3706B2CD7FE}" dt="2021-05-25T20:33:08.906" v="27878" actId="1076"/>
          <ac:cxnSpMkLst>
            <pc:docMk/>
            <pc:sldMk cId="142025012" sldId="928"/>
            <ac:cxnSpMk id="91" creationId="{2FCD3B2A-5D9D-4852-8306-30C1F838A412}"/>
          </ac:cxnSpMkLst>
        </pc:cxnChg>
      </pc:sldChg>
      <pc:sldChg chg="addSp delSp modSp add del mod ord modTransition modShow">
        <pc:chgData name="Kisliuk, Adrian (ext)" userId="6e619ce3-2643-4cdf-9a13-b4c269650021" providerId="ADAL" clId="{AFCEEFB0-37BC-48D4-B200-D3706B2CD7FE}" dt="2021-05-19T10:51:30.742" v="27806" actId="47"/>
        <pc:sldMkLst>
          <pc:docMk/>
          <pc:sldMk cId="691533762" sldId="928"/>
        </pc:sldMkLst>
        <pc:spChg chg="mod">
          <ac:chgData name="Kisliuk, Adrian (ext)" userId="6e619ce3-2643-4cdf-9a13-b4c269650021" providerId="ADAL" clId="{AFCEEFB0-37BC-48D4-B200-D3706B2CD7FE}" dt="2021-05-19T09:04:11.129" v="27729" actId="948"/>
          <ac:spMkLst>
            <pc:docMk/>
            <pc:sldMk cId="691533762" sldId="928"/>
            <ac:spMk id="2" creationId="{A30CB9C5-1D04-4B1D-9E06-9EECBAD81A55}"/>
          </ac:spMkLst>
        </pc:spChg>
        <pc:spChg chg="add del mod modVis">
          <ac:chgData name="Kisliuk, Adrian (ext)" userId="6e619ce3-2643-4cdf-9a13-b4c269650021" providerId="ADAL" clId="{AFCEEFB0-37BC-48D4-B200-D3706B2CD7FE}" dt="2021-05-19T09:04:04.112" v="27582"/>
          <ac:spMkLst>
            <pc:docMk/>
            <pc:sldMk cId="691533762" sldId="928"/>
            <ac:spMk id="3" creationId="{5CA743DD-DBEF-47ED-9B50-437AC00C1023}"/>
          </ac:spMkLst>
        </pc:spChg>
        <pc:spChg chg="add del mod modVis">
          <ac:chgData name="Kisliuk, Adrian (ext)" userId="6e619ce3-2643-4cdf-9a13-b4c269650021" providerId="ADAL" clId="{AFCEEFB0-37BC-48D4-B200-D3706B2CD7FE}" dt="2021-05-19T09:04:05.191" v="27629"/>
          <ac:spMkLst>
            <pc:docMk/>
            <pc:sldMk cId="691533762" sldId="928"/>
            <ac:spMk id="4" creationId="{F2F7E023-8E45-46AD-A7DB-E628A176AE3F}"/>
          </ac:spMkLst>
        </pc:spChg>
        <pc:spChg chg="add del mod modVis">
          <ac:chgData name="Kisliuk, Adrian (ext)" userId="6e619ce3-2643-4cdf-9a13-b4c269650021" providerId="ADAL" clId="{AFCEEFB0-37BC-48D4-B200-D3706B2CD7FE}" dt="2021-05-19T09:04:06.418" v="27675"/>
          <ac:spMkLst>
            <pc:docMk/>
            <pc:sldMk cId="691533762" sldId="928"/>
            <ac:spMk id="5" creationId="{88A458C8-C03A-4794-AB1E-88021794D09B}"/>
          </ac:spMkLst>
        </pc:spChg>
        <pc:spChg chg="add del mod modVis">
          <ac:chgData name="Kisliuk, Adrian (ext)" userId="6e619ce3-2643-4cdf-9a13-b4c269650021" providerId="ADAL" clId="{AFCEEFB0-37BC-48D4-B200-D3706B2CD7FE}" dt="2021-05-19T09:04:08.057" v="27725"/>
          <ac:spMkLst>
            <pc:docMk/>
            <pc:sldMk cId="691533762" sldId="928"/>
            <ac:spMk id="6" creationId="{7D0279C9-F5D2-4C8A-808A-2AF1584020EB}"/>
          </ac:spMkLst>
        </pc:spChg>
        <pc:spChg chg="add del mod modVis">
          <ac:chgData name="Kisliuk, Adrian (ext)" userId="6e619ce3-2643-4cdf-9a13-b4c269650021" providerId="ADAL" clId="{AFCEEFB0-37BC-48D4-B200-D3706B2CD7FE}" dt="2021-05-19T09:04:11.157" v="27768"/>
          <ac:spMkLst>
            <pc:docMk/>
            <pc:sldMk cId="691533762" sldId="928"/>
            <ac:spMk id="7" creationId="{123D2D2D-8BE9-42E6-A50F-B0A78A24AC24}"/>
          </ac:spMkLst>
        </pc:spChg>
        <pc:grpChg chg="del">
          <ac:chgData name="Kisliuk, Adrian (ext)" userId="6e619ce3-2643-4cdf-9a13-b4c269650021" providerId="ADAL" clId="{AFCEEFB0-37BC-48D4-B200-D3706B2CD7FE}" dt="2021-05-19T08:58:31.663" v="27474" actId="478"/>
          <ac:grpSpMkLst>
            <pc:docMk/>
            <pc:sldMk cId="691533762" sldId="928"/>
            <ac:grpSpMk id="46" creationId="{494554DB-DD51-4544-B796-32E4E2D89C4A}"/>
          </ac:grpSpMkLst>
        </pc:grpChg>
        <pc:graphicFrameChg chg="mod">
          <ac:chgData name="Kisliuk, Adrian (ext)" userId="6e619ce3-2643-4cdf-9a13-b4c269650021" providerId="ADAL" clId="{AFCEEFB0-37BC-48D4-B200-D3706B2CD7FE}" dt="2021-05-19T09:04:11.157" v="27770"/>
          <ac:graphicFrameMkLst>
            <pc:docMk/>
            <pc:sldMk cId="691533762" sldId="928"/>
            <ac:graphicFrameMk id="45" creationId="{249ACC2C-4245-439C-935F-45259A18C20A}"/>
          </ac:graphicFrameMkLst>
        </pc:graphicFrameChg>
        <pc:cxnChg chg="del">
          <ac:chgData name="Kisliuk, Adrian (ext)" userId="6e619ce3-2643-4cdf-9a13-b4c269650021" providerId="ADAL" clId="{AFCEEFB0-37BC-48D4-B200-D3706B2CD7FE}" dt="2021-05-19T08:58:34.691" v="27475" actId="478"/>
          <ac:cxnSpMkLst>
            <pc:docMk/>
            <pc:sldMk cId="691533762" sldId="928"/>
            <ac:cxnSpMk id="42" creationId="{B0826434-DB2B-444C-9A10-69D62294BCA0}"/>
          </ac:cxnSpMkLst>
        </pc:cxnChg>
        <pc:cxnChg chg="del">
          <ac:chgData name="Kisliuk, Adrian (ext)" userId="6e619ce3-2643-4cdf-9a13-b4c269650021" providerId="ADAL" clId="{AFCEEFB0-37BC-48D4-B200-D3706B2CD7FE}" dt="2021-05-19T08:58:34.691" v="27475" actId="478"/>
          <ac:cxnSpMkLst>
            <pc:docMk/>
            <pc:sldMk cId="691533762" sldId="928"/>
            <ac:cxnSpMk id="44" creationId="{7CC4E60B-F81D-4A07-986A-C14EB8D3DA3E}"/>
          </ac:cxnSpMkLst>
        </pc:cxnChg>
      </pc:sldChg>
      <pc:sldChg chg="addSp delSp modSp del mod">
        <pc:chgData name="Kisliuk, Adrian (ext)" userId="6e619ce3-2643-4cdf-9a13-b4c269650021" providerId="ADAL" clId="{AFCEEFB0-37BC-48D4-B200-D3706B2CD7FE}" dt="2021-06-02T09:18:21.875" v="30670" actId="47"/>
        <pc:sldMkLst>
          <pc:docMk/>
          <pc:sldMk cId="3502159208" sldId="929"/>
        </pc:sldMkLst>
        <pc:spChg chg="mod ord">
          <ac:chgData name="Kisliuk, Adrian (ext)" userId="6e619ce3-2643-4cdf-9a13-b4c269650021" providerId="ADAL" clId="{AFCEEFB0-37BC-48D4-B200-D3706B2CD7FE}" dt="2021-05-26T07:25:35.196" v="28784"/>
          <ac:spMkLst>
            <pc:docMk/>
            <pc:sldMk cId="3502159208" sldId="929"/>
            <ac:spMk id="2" creationId="{E5210CAF-3B70-D145-B3CB-0493916C700C}"/>
          </ac:spMkLst>
        </pc:spChg>
        <pc:spChg chg="add del mod modVis">
          <ac:chgData name="Kisliuk, Adrian (ext)" userId="6e619ce3-2643-4cdf-9a13-b4c269650021" providerId="ADAL" clId="{AFCEEFB0-37BC-48D4-B200-D3706B2CD7FE}" dt="2021-05-26T06:27:46.065" v="28024"/>
          <ac:spMkLst>
            <pc:docMk/>
            <pc:sldMk cId="3502159208" sldId="929"/>
            <ac:spMk id="3" creationId="{D84C4113-BB38-4055-9338-D94BBC7737D1}"/>
          </ac:spMkLst>
        </pc:spChg>
        <pc:spChg chg="add del mod modVis">
          <ac:chgData name="Kisliuk, Adrian (ext)" userId="6e619ce3-2643-4cdf-9a13-b4c269650021" providerId="ADAL" clId="{AFCEEFB0-37BC-48D4-B200-D3706B2CD7FE}" dt="2021-05-26T07:21:16.420" v="28685"/>
          <ac:spMkLst>
            <pc:docMk/>
            <pc:sldMk cId="3502159208" sldId="929"/>
            <ac:spMk id="33" creationId="{77067E92-E0A3-4446-B618-2C94BE9C4212}"/>
          </ac:spMkLst>
        </pc:spChg>
        <pc:spChg chg="mod ord">
          <ac:chgData name="Kisliuk, Adrian (ext)" userId="6e619ce3-2643-4cdf-9a13-b4c269650021" providerId="ADAL" clId="{AFCEEFB0-37BC-48D4-B200-D3706B2CD7FE}" dt="2021-05-26T07:25:24.489" v="28779" actId="14100"/>
          <ac:spMkLst>
            <pc:docMk/>
            <pc:sldMk cId="3502159208" sldId="929"/>
            <ac:spMk id="79" creationId="{BB97C451-4A7F-E547-BC46-79E64B4ECF79}"/>
          </ac:spMkLst>
        </pc:spChg>
        <pc:spChg chg="mod ord">
          <ac:chgData name="Kisliuk, Adrian (ext)" userId="6e619ce3-2643-4cdf-9a13-b4c269650021" providerId="ADAL" clId="{AFCEEFB0-37BC-48D4-B200-D3706B2CD7FE}" dt="2021-05-26T07:25:13.483" v="28777" actId="14100"/>
          <ac:spMkLst>
            <pc:docMk/>
            <pc:sldMk cId="3502159208" sldId="929"/>
            <ac:spMk id="82" creationId="{15C51B73-B59D-D243-A220-50341A96F5D6}"/>
          </ac:spMkLst>
        </pc:spChg>
        <pc:spChg chg="mod ord">
          <ac:chgData name="Kisliuk, Adrian (ext)" userId="6e619ce3-2643-4cdf-9a13-b4c269650021" providerId="ADAL" clId="{AFCEEFB0-37BC-48D4-B200-D3706B2CD7FE}" dt="2021-05-26T07:25:05.537" v="28776" actId="14100"/>
          <ac:spMkLst>
            <pc:docMk/>
            <pc:sldMk cId="3502159208" sldId="929"/>
            <ac:spMk id="87" creationId="{F420BA09-432A-C849-A1E7-66280567A6FB}"/>
          </ac:spMkLst>
        </pc:spChg>
        <pc:spChg chg="mod ord">
          <ac:chgData name="Kisliuk, Adrian (ext)" userId="6e619ce3-2643-4cdf-9a13-b4c269650021" providerId="ADAL" clId="{AFCEEFB0-37BC-48D4-B200-D3706B2CD7FE}" dt="2021-05-26T07:24:58.523" v="28775" actId="14100"/>
          <ac:spMkLst>
            <pc:docMk/>
            <pc:sldMk cId="3502159208" sldId="929"/>
            <ac:spMk id="89" creationId="{8243CA44-2C81-284D-BA1C-4057C76BD448}"/>
          </ac:spMkLst>
        </pc:spChg>
        <pc:spChg chg="mod ord">
          <ac:chgData name="Kisliuk, Adrian (ext)" userId="6e619ce3-2643-4cdf-9a13-b4c269650021" providerId="ADAL" clId="{AFCEEFB0-37BC-48D4-B200-D3706B2CD7FE}" dt="2021-05-26T07:25:18.750" v="28778" actId="14100"/>
          <ac:spMkLst>
            <pc:docMk/>
            <pc:sldMk cId="3502159208" sldId="929"/>
            <ac:spMk id="124" creationId="{973D2607-E672-B747-ABAD-C1A1EEFA08F1}"/>
          </ac:spMkLst>
        </pc:spChg>
        <pc:spChg chg="mod ord">
          <ac:chgData name="Kisliuk, Adrian (ext)" userId="6e619ce3-2643-4cdf-9a13-b4c269650021" providerId="ADAL" clId="{AFCEEFB0-37BC-48D4-B200-D3706B2CD7FE}" dt="2021-05-26T08:03:54.915" v="28854" actId="20577"/>
          <ac:spMkLst>
            <pc:docMk/>
            <pc:sldMk cId="3502159208" sldId="929"/>
            <ac:spMk id="131" creationId="{0F690CB5-F657-5A40-9840-4AE55C6DEDE2}"/>
          </ac:spMkLst>
        </pc:spChg>
        <pc:spChg chg="mod ord">
          <ac:chgData name="Kisliuk, Adrian (ext)" userId="6e619ce3-2643-4cdf-9a13-b4c269650021" providerId="ADAL" clId="{AFCEEFB0-37BC-48D4-B200-D3706B2CD7FE}" dt="2021-05-26T08:04:05.467" v="28863" actId="20577"/>
          <ac:spMkLst>
            <pc:docMk/>
            <pc:sldMk cId="3502159208" sldId="929"/>
            <ac:spMk id="133" creationId="{E7CC82BE-5B5B-9D4B-A6EF-A31253F70834}"/>
          </ac:spMkLst>
        </pc:spChg>
        <pc:spChg chg="mod ord">
          <ac:chgData name="Kisliuk, Adrian (ext)" userId="6e619ce3-2643-4cdf-9a13-b4c269650021" providerId="ADAL" clId="{AFCEEFB0-37BC-48D4-B200-D3706B2CD7FE}" dt="2021-05-26T08:03:58.474" v="28857" actId="20577"/>
          <ac:spMkLst>
            <pc:docMk/>
            <pc:sldMk cId="3502159208" sldId="929"/>
            <ac:spMk id="135" creationId="{56A129E0-114D-CC44-9C8B-B8DBC9E6C030}"/>
          </ac:spMkLst>
        </pc:spChg>
        <pc:spChg chg="mod ord">
          <ac:chgData name="Kisliuk, Adrian (ext)" userId="6e619ce3-2643-4cdf-9a13-b4c269650021" providerId="ADAL" clId="{AFCEEFB0-37BC-48D4-B200-D3706B2CD7FE}" dt="2021-05-26T08:04:01.963" v="28860" actId="20577"/>
          <ac:spMkLst>
            <pc:docMk/>
            <pc:sldMk cId="3502159208" sldId="929"/>
            <ac:spMk id="137" creationId="{4B5ADA30-2052-014D-9D98-F9C8FA935973}"/>
          </ac:spMkLst>
        </pc:spChg>
        <pc:spChg chg="mod ord">
          <ac:chgData name="Kisliuk, Adrian (ext)" userId="6e619ce3-2643-4cdf-9a13-b4c269650021" providerId="ADAL" clId="{AFCEEFB0-37BC-48D4-B200-D3706B2CD7FE}" dt="2021-05-26T07:25:58.876" v="28790" actId="14100"/>
          <ac:spMkLst>
            <pc:docMk/>
            <pc:sldMk cId="3502159208" sldId="929"/>
            <ac:spMk id="147" creationId="{6E8A3235-127B-9342-9B45-9DAF0CC1A111}"/>
          </ac:spMkLst>
        </pc:spChg>
        <pc:spChg chg="mod ord">
          <ac:chgData name="Kisliuk, Adrian (ext)" userId="6e619ce3-2643-4cdf-9a13-b4c269650021" providerId="ADAL" clId="{AFCEEFB0-37BC-48D4-B200-D3706B2CD7FE}" dt="2021-05-26T07:26:15.380" v="28792" actId="14100"/>
          <ac:spMkLst>
            <pc:docMk/>
            <pc:sldMk cId="3502159208" sldId="929"/>
            <ac:spMk id="149" creationId="{4684F8FE-561C-F14C-B606-B93C7694916C}"/>
          </ac:spMkLst>
        </pc:spChg>
        <pc:spChg chg="add del mod ord">
          <ac:chgData name="Kisliuk, Adrian (ext)" userId="6e619ce3-2643-4cdf-9a13-b4c269650021" providerId="ADAL" clId="{AFCEEFB0-37BC-48D4-B200-D3706B2CD7FE}" dt="2021-05-26T07:27:58.778" v="28807" actId="14100"/>
          <ac:spMkLst>
            <pc:docMk/>
            <pc:sldMk cId="3502159208" sldId="929"/>
            <ac:spMk id="161" creationId="{0D682E14-72EF-FF4A-9764-8715445B75D3}"/>
          </ac:spMkLst>
        </pc:spChg>
        <pc:spChg chg="mod ord">
          <ac:chgData name="Kisliuk, Adrian (ext)" userId="6e619ce3-2643-4cdf-9a13-b4c269650021" providerId="ADAL" clId="{AFCEEFB0-37BC-48D4-B200-D3706B2CD7FE}" dt="2021-05-26T07:28:21.580" v="28808" actId="14100"/>
          <ac:spMkLst>
            <pc:docMk/>
            <pc:sldMk cId="3502159208" sldId="929"/>
            <ac:spMk id="162" creationId="{D0D3882A-6BC4-B94A-B2F1-C4D9F0E64A6C}"/>
          </ac:spMkLst>
        </pc:spChg>
        <pc:spChg chg="mod ord">
          <ac:chgData name="Kisliuk, Adrian (ext)" userId="6e619ce3-2643-4cdf-9a13-b4c269650021" providerId="ADAL" clId="{AFCEEFB0-37BC-48D4-B200-D3706B2CD7FE}" dt="2021-05-26T07:25:35.196" v="28786"/>
          <ac:spMkLst>
            <pc:docMk/>
            <pc:sldMk cId="3502159208" sldId="929"/>
            <ac:spMk id="165" creationId="{A16EC9AA-0E11-5A41-BB28-5DF00C91EAB3}"/>
          </ac:spMkLst>
        </pc:spChg>
        <pc:grpChg chg="add mod">
          <ac:chgData name="Kisliuk, Adrian (ext)" userId="6e619ce3-2643-4cdf-9a13-b4c269650021" providerId="ADAL" clId="{AFCEEFB0-37BC-48D4-B200-D3706B2CD7FE}" dt="2021-05-26T06:50:40.409" v="28431" actId="164"/>
          <ac:grpSpMkLst>
            <pc:docMk/>
            <pc:sldMk cId="3502159208" sldId="929"/>
            <ac:grpSpMk id="13" creationId="{1ED7CB5D-C5B9-4E2F-8628-DE64B6DDEF2E}"/>
          </ac:grpSpMkLst>
        </pc:grpChg>
        <pc:grpChg chg="add mod">
          <ac:chgData name="Kisliuk, Adrian (ext)" userId="6e619ce3-2643-4cdf-9a13-b4c269650021" providerId="ADAL" clId="{AFCEEFB0-37BC-48D4-B200-D3706B2CD7FE}" dt="2021-05-26T06:50:40.409" v="28431" actId="164"/>
          <ac:grpSpMkLst>
            <pc:docMk/>
            <pc:sldMk cId="3502159208" sldId="929"/>
            <ac:grpSpMk id="14" creationId="{29B119CE-DA92-4AAF-B705-F69253FEC710}"/>
          </ac:grpSpMkLst>
        </pc:grpChg>
        <pc:grpChg chg="add mod">
          <ac:chgData name="Kisliuk, Adrian (ext)" userId="6e619ce3-2643-4cdf-9a13-b4c269650021" providerId="ADAL" clId="{AFCEEFB0-37BC-48D4-B200-D3706B2CD7FE}" dt="2021-05-26T06:50:40.409" v="28431" actId="164"/>
          <ac:grpSpMkLst>
            <pc:docMk/>
            <pc:sldMk cId="3502159208" sldId="929"/>
            <ac:grpSpMk id="16" creationId="{A6FF4E63-0A7A-4B56-BF9D-0337406AD1F9}"/>
          </ac:grpSpMkLst>
        </pc:grpChg>
        <pc:grpChg chg="add mod">
          <ac:chgData name="Kisliuk, Adrian (ext)" userId="6e619ce3-2643-4cdf-9a13-b4c269650021" providerId="ADAL" clId="{AFCEEFB0-37BC-48D4-B200-D3706B2CD7FE}" dt="2021-05-26T06:50:40.409" v="28431" actId="164"/>
          <ac:grpSpMkLst>
            <pc:docMk/>
            <pc:sldMk cId="3502159208" sldId="929"/>
            <ac:grpSpMk id="25" creationId="{30E58CF9-114A-4043-BBCF-B7DCB0B170AF}"/>
          </ac:grpSpMkLst>
        </pc:grpChg>
        <pc:grpChg chg="add mod">
          <ac:chgData name="Kisliuk, Adrian (ext)" userId="6e619ce3-2643-4cdf-9a13-b4c269650021" providerId="ADAL" clId="{AFCEEFB0-37BC-48D4-B200-D3706B2CD7FE}" dt="2021-05-26T06:50:40.409" v="28431" actId="164"/>
          <ac:grpSpMkLst>
            <pc:docMk/>
            <pc:sldMk cId="3502159208" sldId="929"/>
            <ac:grpSpMk id="26" creationId="{8912C36C-FE3F-4B9D-9090-79509469F0B9}"/>
          </ac:grpSpMkLst>
        </pc:grpChg>
        <pc:grpChg chg="add mod">
          <ac:chgData name="Kisliuk, Adrian (ext)" userId="6e619ce3-2643-4cdf-9a13-b4c269650021" providerId="ADAL" clId="{AFCEEFB0-37BC-48D4-B200-D3706B2CD7FE}" dt="2021-05-26T06:50:40.409" v="28431" actId="164"/>
          <ac:grpSpMkLst>
            <pc:docMk/>
            <pc:sldMk cId="3502159208" sldId="929"/>
            <ac:grpSpMk id="27" creationId="{CC25C4C6-3217-4760-AFD7-B24C995A999F}"/>
          </ac:grpSpMkLst>
        </pc:grpChg>
        <pc:grpChg chg="add mod">
          <ac:chgData name="Kisliuk, Adrian (ext)" userId="6e619ce3-2643-4cdf-9a13-b4c269650021" providerId="ADAL" clId="{AFCEEFB0-37BC-48D4-B200-D3706B2CD7FE}" dt="2021-05-26T06:50:40.409" v="28431" actId="164"/>
          <ac:grpSpMkLst>
            <pc:docMk/>
            <pc:sldMk cId="3502159208" sldId="929"/>
            <ac:grpSpMk id="29" creationId="{CFD9B7E2-3CA6-4BA7-AF8F-D03F0BEFB275}"/>
          </ac:grpSpMkLst>
        </pc:grpChg>
        <pc:grpChg chg="add mod">
          <ac:chgData name="Kisliuk, Adrian (ext)" userId="6e619ce3-2643-4cdf-9a13-b4c269650021" providerId="ADAL" clId="{AFCEEFB0-37BC-48D4-B200-D3706B2CD7FE}" dt="2021-05-26T06:50:40.409" v="28431" actId="164"/>
          <ac:grpSpMkLst>
            <pc:docMk/>
            <pc:sldMk cId="3502159208" sldId="929"/>
            <ac:grpSpMk id="30" creationId="{8727FE7A-1983-4124-8209-0A75F0FA63EC}"/>
          </ac:grpSpMkLst>
        </pc:grpChg>
        <pc:grpChg chg="add mod ord">
          <ac:chgData name="Kisliuk, Adrian (ext)" userId="6e619ce3-2643-4cdf-9a13-b4c269650021" providerId="ADAL" clId="{AFCEEFB0-37BC-48D4-B200-D3706B2CD7FE}" dt="2021-05-26T07:25:35.196" v="28782"/>
          <ac:grpSpMkLst>
            <pc:docMk/>
            <pc:sldMk cId="3502159208" sldId="929"/>
            <ac:grpSpMk id="31" creationId="{26FCC69D-9B4A-4820-ABBD-444A1F163BEA}"/>
          </ac:grpSpMkLst>
        </pc:grpChg>
        <pc:grpChg chg="mod ord">
          <ac:chgData name="Kisliuk, Adrian (ext)" userId="6e619ce3-2643-4cdf-9a13-b4c269650021" providerId="ADAL" clId="{AFCEEFB0-37BC-48D4-B200-D3706B2CD7FE}" dt="2021-05-26T06:49:17.630" v="28384" actId="164"/>
          <ac:grpSpMkLst>
            <pc:docMk/>
            <pc:sldMk cId="3502159208" sldId="929"/>
            <ac:grpSpMk id="38" creationId="{8F726E9C-EA17-3F42-8547-C41B6055EFD5}"/>
          </ac:grpSpMkLst>
        </pc:grpChg>
        <pc:grpChg chg="mod ord">
          <ac:chgData name="Kisliuk, Adrian (ext)" userId="6e619ce3-2643-4cdf-9a13-b4c269650021" providerId="ADAL" clId="{AFCEEFB0-37BC-48D4-B200-D3706B2CD7FE}" dt="2021-05-26T06:49:26.072" v="28386" actId="164"/>
          <ac:grpSpMkLst>
            <pc:docMk/>
            <pc:sldMk cId="3502159208" sldId="929"/>
            <ac:grpSpMk id="39" creationId="{06367F7D-4E37-E04D-BE60-AC00405345FE}"/>
          </ac:grpSpMkLst>
        </pc:grpChg>
        <pc:grpChg chg="mod ord">
          <ac:chgData name="Kisliuk, Adrian (ext)" userId="6e619ce3-2643-4cdf-9a13-b4c269650021" providerId="ADAL" clId="{AFCEEFB0-37BC-48D4-B200-D3706B2CD7FE}" dt="2021-05-26T06:49:21.435" v="28385" actId="164"/>
          <ac:grpSpMkLst>
            <pc:docMk/>
            <pc:sldMk cId="3502159208" sldId="929"/>
            <ac:grpSpMk id="59" creationId="{495E45F4-5B69-D04B-A078-D60F6E439CCE}"/>
          </ac:grpSpMkLst>
        </pc:grpChg>
        <pc:grpChg chg="mod ord">
          <ac:chgData name="Kisliuk, Adrian (ext)" userId="6e619ce3-2643-4cdf-9a13-b4c269650021" providerId="ADAL" clId="{AFCEEFB0-37BC-48D4-B200-D3706B2CD7FE}" dt="2021-05-26T06:49:30.650" v="28387" actId="164"/>
          <ac:grpSpMkLst>
            <pc:docMk/>
            <pc:sldMk cId="3502159208" sldId="929"/>
            <ac:grpSpMk id="92" creationId="{4D349277-7D41-E149-A286-40802279666B}"/>
          </ac:grpSpMkLst>
        </pc:grpChg>
        <pc:graphicFrameChg chg="add mod ord modVis">
          <ac:chgData name="Kisliuk, Adrian (ext)" userId="6e619ce3-2643-4cdf-9a13-b4c269650021" providerId="ADAL" clId="{AFCEEFB0-37BC-48D4-B200-D3706B2CD7FE}" dt="2021-05-26T07:25:35.212" v="28788"/>
          <ac:graphicFrameMkLst>
            <pc:docMk/>
            <pc:sldMk cId="3502159208" sldId="929"/>
            <ac:graphicFrameMk id="12" creationId="{16991DC8-4FEE-4F75-BCAA-1ECDD94783EC}"/>
          </ac:graphicFrameMkLst>
        </pc:graphicFrameChg>
        <pc:cxnChg chg="mod">
          <ac:chgData name="Kisliuk, Adrian (ext)" userId="6e619ce3-2643-4cdf-9a13-b4c269650021" providerId="ADAL" clId="{AFCEEFB0-37BC-48D4-B200-D3706B2CD7FE}" dt="2021-05-26T07:09:28.676" v="28575" actId="14100"/>
          <ac:cxnSpMkLst>
            <pc:docMk/>
            <pc:sldMk cId="3502159208" sldId="929"/>
            <ac:cxnSpMk id="74" creationId="{911E0E8E-9E25-8142-8589-6EA1A1C48E68}"/>
          </ac:cxnSpMkLst>
        </pc:cxnChg>
        <pc:cxnChg chg="mod ord">
          <ac:chgData name="Kisliuk, Adrian (ext)" userId="6e619ce3-2643-4cdf-9a13-b4c269650021" providerId="ADAL" clId="{AFCEEFB0-37BC-48D4-B200-D3706B2CD7FE}" dt="2021-05-26T07:25:13.483" v="28777" actId="14100"/>
          <ac:cxnSpMkLst>
            <pc:docMk/>
            <pc:sldMk cId="3502159208" sldId="929"/>
            <ac:cxnSpMk id="80" creationId="{FAA1F292-9419-DE43-9E0F-032DE9DF46E1}"/>
          </ac:cxnSpMkLst>
        </pc:cxnChg>
        <pc:cxnChg chg="mod ord">
          <ac:chgData name="Kisliuk, Adrian (ext)" userId="6e619ce3-2643-4cdf-9a13-b4c269650021" providerId="ADAL" clId="{AFCEEFB0-37BC-48D4-B200-D3706B2CD7FE}" dt="2021-05-26T07:26:05.729" v="28791" actId="14100"/>
          <ac:cxnSpMkLst>
            <pc:docMk/>
            <pc:sldMk cId="3502159208" sldId="929"/>
            <ac:cxnSpMk id="86" creationId="{6E78639C-F2D5-464D-80AD-F31DFEB0E687}"/>
          </ac:cxnSpMkLst>
        </pc:cxnChg>
        <pc:cxnChg chg="mod ord">
          <ac:chgData name="Kisliuk, Adrian (ext)" userId="6e619ce3-2643-4cdf-9a13-b4c269650021" providerId="ADAL" clId="{AFCEEFB0-37BC-48D4-B200-D3706B2CD7FE}" dt="2021-05-26T07:25:24.489" v="28779" actId="14100"/>
          <ac:cxnSpMkLst>
            <pc:docMk/>
            <pc:sldMk cId="3502159208" sldId="929"/>
            <ac:cxnSpMk id="88" creationId="{945B2A11-926F-2C4F-B700-644A90434B49}"/>
          </ac:cxnSpMkLst>
        </pc:cxnChg>
        <pc:cxnChg chg="mod ord">
          <ac:chgData name="Kisliuk, Adrian (ext)" userId="6e619ce3-2643-4cdf-9a13-b4c269650021" providerId="ADAL" clId="{AFCEEFB0-37BC-48D4-B200-D3706B2CD7FE}" dt="2021-05-26T07:25:24.489" v="28779" actId="14100"/>
          <ac:cxnSpMkLst>
            <pc:docMk/>
            <pc:sldMk cId="3502159208" sldId="929"/>
            <ac:cxnSpMk id="115" creationId="{D3C93696-8C60-804E-AC6F-D53EABC75BDD}"/>
          </ac:cxnSpMkLst>
        </pc:cxnChg>
        <pc:cxnChg chg="mod ord">
          <ac:chgData name="Kisliuk, Adrian (ext)" userId="6e619ce3-2643-4cdf-9a13-b4c269650021" providerId="ADAL" clId="{AFCEEFB0-37BC-48D4-B200-D3706B2CD7FE}" dt="2021-05-26T07:25:24.489" v="28779" actId="14100"/>
          <ac:cxnSpMkLst>
            <pc:docMk/>
            <pc:sldMk cId="3502159208" sldId="929"/>
            <ac:cxnSpMk id="119" creationId="{9614280E-EF1E-3545-A2BC-180BD37AB56F}"/>
          </ac:cxnSpMkLst>
        </pc:cxnChg>
        <pc:cxnChg chg="mod ord">
          <ac:chgData name="Kisliuk, Adrian (ext)" userId="6e619ce3-2643-4cdf-9a13-b4c269650021" providerId="ADAL" clId="{AFCEEFB0-37BC-48D4-B200-D3706B2CD7FE}" dt="2021-05-26T07:27:34.252" v="28805" actId="14100"/>
          <ac:cxnSpMkLst>
            <pc:docMk/>
            <pc:sldMk cId="3502159208" sldId="929"/>
            <ac:cxnSpMk id="123" creationId="{1A758ED4-2421-DE4C-BA43-F0712CF8DA57}"/>
          </ac:cxnSpMkLst>
        </pc:cxnChg>
        <pc:cxnChg chg="mod ord">
          <ac:chgData name="Kisliuk, Adrian (ext)" userId="6e619ce3-2643-4cdf-9a13-b4c269650021" providerId="ADAL" clId="{AFCEEFB0-37BC-48D4-B200-D3706B2CD7FE}" dt="2021-05-26T07:27:40.505" v="28806" actId="14100"/>
          <ac:cxnSpMkLst>
            <pc:docMk/>
            <pc:sldMk cId="3502159208" sldId="929"/>
            <ac:cxnSpMk id="126" creationId="{3B5CF78E-8ABE-104B-B165-B37086430899}"/>
          </ac:cxnSpMkLst>
        </pc:cxnChg>
        <pc:cxnChg chg="mod ord">
          <ac:chgData name="Kisliuk, Adrian (ext)" userId="6e619ce3-2643-4cdf-9a13-b4c269650021" providerId="ADAL" clId="{AFCEEFB0-37BC-48D4-B200-D3706B2CD7FE}" dt="2021-05-26T06:49:10.926" v="28383" actId="164"/>
          <ac:cxnSpMkLst>
            <pc:docMk/>
            <pc:sldMk cId="3502159208" sldId="929"/>
            <ac:cxnSpMk id="130" creationId="{374B8861-81BC-B643-B1A7-F37479C80FBB}"/>
          </ac:cxnSpMkLst>
        </pc:cxnChg>
        <pc:cxnChg chg="mod ord">
          <ac:chgData name="Kisliuk, Adrian (ext)" userId="6e619ce3-2643-4cdf-9a13-b4c269650021" providerId="ADAL" clId="{AFCEEFB0-37BC-48D4-B200-D3706B2CD7FE}" dt="2021-05-26T06:48:54.146" v="28380" actId="164"/>
          <ac:cxnSpMkLst>
            <pc:docMk/>
            <pc:sldMk cId="3502159208" sldId="929"/>
            <ac:cxnSpMk id="132" creationId="{C2F05F44-33CE-CB43-AD94-9D0BFA699DA5}"/>
          </ac:cxnSpMkLst>
        </pc:cxnChg>
        <pc:cxnChg chg="mod ord">
          <ac:chgData name="Kisliuk, Adrian (ext)" userId="6e619ce3-2643-4cdf-9a13-b4c269650021" providerId="ADAL" clId="{AFCEEFB0-37BC-48D4-B200-D3706B2CD7FE}" dt="2021-05-26T06:49:06.173" v="28382" actId="164"/>
          <ac:cxnSpMkLst>
            <pc:docMk/>
            <pc:sldMk cId="3502159208" sldId="929"/>
            <ac:cxnSpMk id="134" creationId="{4BA52B57-295E-0A46-880A-678AD0B07869}"/>
          </ac:cxnSpMkLst>
        </pc:cxnChg>
        <pc:cxnChg chg="mod ord">
          <ac:chgData name="Kisliuk, Adrian (ext)" userId="6e619ce3-2643-4cdf-9a13-b4c269650021" providerId="ADAL" clId="{AFCEEFB0-37BC-48D4-B200-D3706B2CD7FE}" dt="2021-05-26T06:49:01.702" v="28381" actId="164"/>
          <ac:cxnSpMkLst>
            <pc:docMk/>
            <pc:sldMk cId="3502159208" sldId="929"/>
            <ac:cxnSpMk id="136" creationId="{DC1F5577-CEC0-8242-B2E7-393AEC76C9FF}"/>
          </ac:cxnSpMkLst>
        </pc:cxnChg>
        <pc:cxnChg chg="mod ord">
          <ac:chgData name="Kisliuk, Adrian (ext)" userId="6e619ce3-2643-4cdf-9a13-b4c269650021" providerId="ADAL" clId="{AFCEEFB0-37BC-48D4-B200-D3706B2CD7FE}" dt="2021-05-26T07:29:04.080" v="28814" actId="692"/>
          <ac:cxnSpMkLst>
            <pc:docMk/>
            <pc:sldMk cId="3502159208" sldId="929"/>
            <ac:cxnSpMk id="164" creationId="{C360D0DE-D503-AC4E-8FE5-179DA748EE4F}"/>
          </ac:cxnSpMkLst>
        </pc:cxnChg>
      </pc:sldChg>
      <pc:sldChg chg="addSp delSp modSp add del mod">
        <pc:chgData name="Kisliuk, Adrian (ext)" userId="6e619ce3-2643-4cdf-9a13-b4c269650021" providerId="ADAL" clId="{AFCEEFB0-37BC-48D4-B200-D3706B2CD7FE}" dt="2021-05-25T20:38:21.676" v="27912" actId="47"/>
        <pc:sldMkLst>
          <pc:docMk/>
          <pc:sldMk cId="3846129823" sldId="929"/>
        </pc:sldMkLst>
        <pc:spChg chg="add del mod">
          <ac:chgData name="Kisliuk, Adrian (ext)" userId="6e619ce3-2643-4cdf-9a13-b4c269650021" providerId="ADAL" clId="{AFCEEFB0-37BC-48D4-B200-D3706B2CD7FE}" dt="2021-05-25T20:38:04.003" v="27911"/>
          <ac:spMkLst>
            <pc:docMk/>
            <pc:sldMk cId="3846129823" sldId="929"/>
            <ac:spMk id="35" creationId="{84FA0022-A5F5-4584-8033-4549ACE218DC}"/>
          </ac:spMkLst>
        </pc:spChg>
        <pc:spChg chg="mod">
          <ac:chgData name="Kisliuk, Adrian (ext)" userId="6e619ce3-2643-4cdf-9a13-b4c269650021" providerId="ADAL" clId="{AFCEEFB0-37BC-48D4-B200-D3706B2CD7FE}" dt="2021-05-25T20:36:48.813" v="27892" actId="1076"/>
          <ac:spMkLst>
            <pc:docMk/>
            <pc:sldMk cId="3846129823" sldId="929"/>
            <ac:spMk id="48" creationId="{4FBA9904-6A82-4A29-BF91-C1AA40CDECE4}"/>
          </ac:spMkLst>
        </pc:spChg>
        <pc:spChg chg="mod">
          <ac:chgData name="Kisliuk, Adrian (ext)" userId="6e619ce3-2643-4cdf-9a13-b4c269650021" providerId="ADAL" clId="{AFCEEFB0-37BC-48D4-B200-D3706B2CD7FE}" dt="2021-05-25T20:36:48.813" v="27892" actId="1076"/>
          <ac:spMkLst>
            <pc:docMk/>
            <pc:sldMk cId="3846129823" sldId="929"/>
            <ac:spMk id="52" creationId="{0CB8B495-1E79-48A5-BB9E-7EDCA656390A}"/>
          </ac:spMkLst>
        </pc:spChg>
        <pc:spChg chg="mod">
          <ac:chgData name="Kisliuk, Adrian (ext)" userId="6e619ce3-2643-4cdf-9a13-b4c269650021" providerId="ADAL" clId="{AFCEEFB0-37BC-48D4-B200-D3706B2CD7FE}" dt="2021-05-25T20:36:48.813" v="27892" actId="1076"/>
          <ac:spMkLst>
            <pc:docMk/>
            <pc:sldMk cId="3846129823" sldId="929"/>
            <ac:spMk id="53" creationId="{9DAF4614-7CAC-4566-836A-6297BB5A1B8E}"/>
          </ac:spMkLst>
        </pc:spChg>
        <pc:spChg chg="mod">
          <ac:chgData name="Kisliuk, Adrian (ext)" userId="6e619ce3-2643-4cdf-9a13-b4c269650021" providerId="ADAL" clId="{AFCEEFB0-37BC-48D4-B200-D3706B2CD7FE}" dt="2021-05-25T20:36:48.813" v="27892" actId="1076"/>
          <ac:spMkLst>
            <pc:docMk/>
            <pc:sldMk cId="3846129823" sldId="929"/>
            <ac:spMk id="57" creationId="{EFC84A4A-4FE5-49DC-B84B-27F2B817E3C9}"/>
          </ac:spMkLst>
        </pc:spChg>
        <pc:spChg chg="mod">
          <ac:chgData name="Kisliuk, Adrian (ext)" userId="6e619ce3-2643-4cdf-9a13-b4c269650021" providerId="ADAL" clId="{AFCEEFB0-37BC-48D4-B200-D3706B2CD7FE}" dt="2021-05-25T20:38:02.678" v="27908" actId="20577"/>
          <ac:spMkLst>
            <pc:docMk/>
            <pc:sldMk cId="3846129823" sldId="929"/>
            <ac:spMk id="65" creationId="{5CE31B73-FC53-4158-AC73-306DE0CD3659}"/>
          </ac:spMkLst>
        </pc:spChg>
        <pc:spChg chg="mod">
          <ac:chgData name="Kisliuk, Adrian (ext)" userId="6e619ce3-2643-4cdf-9a13-b4c269650021" providerId="ADAL" clId="{AFCEEFB0-37BC-48D4-B200-D3706B2CD7FE}" dt="2021-05-25T20:36:48.813" v="27892" actId="1076"/>
          <ac:spMkLst>
            <pc:docMk/>
            <pc:sldMk cId="3846129823" sldId="929"/>
            <ac:spMk id="68" creationId="{A73BB615-1F77-4CBC-AC4D-2E55A06615D0}"/>
          </ac:spMkLst>
        </pc:spChg>
        <pc:spChg chg="mod">
          <ac:chgData name="Kisliuk, Adrian (ext)" userId="6e619ce3-2643-4cdf-9a13-b4c269650021" providerId="ADAL" clId="{AFCEEFB0-37BC-48D4-B200-D3706B2CD7FE}" dt="2021-05-25T20:36:48.813" v="27892" actId="1076"/>
          <ac:spMkLst>
            <pc:docMk/>
            <pc:sldMk cId="3846129823" sldId="929"/>
            <ac:spMk id="69" creationId="{1F72FDFB-7544-46B8-986C-D7ED0DA95F1D}"/>
          </ac:spMkLst>
        </pc:spChg>
        <pc:spChg chg="mod">
          <ac:chgData name="Kisliuk, Adrian (ext)" userId="6e619ce3-2643-4cdf-9a13-b4c269650021" providerId="ADAL" clId="{AFCEEFB0-37BC-48D4-B200-D3706B2CD7FE}" dt="2021-05-25T20:36:48.813" v="27892" actId="1076"/>
          <ac:spMkLst>
            <pc:docMk/>
            <pc:sldMk cId="3846129823" sldId="929"/>
            <ac:spMk id="72" creationId="{B48A4D1C-6816-4026-B308-6DCAED4D46C1}"/>
          </ac:spMkLst>
        </pc:spChg>
        <pc:spChg chg="mod">
          <ac:chgData name="Kisliuk, Adrian (ext)" userId="6e619ce3-2643-4cdf-9a13-b4c269650021" providerId="ADAL" clId="{AFCEEFB0-37BC-48D4-B200-D3706B2CD7FE}" dt="2021-05-25T20:36:11.803" v="27889" actId="1076"/>
          <ac:spMkLst>
            <pc:docMk/>
            <pc:sldMk cId="3846129823" sldId="929"/>
            <ac:spMk id="80" creationId="{53C2F809-4460-4609-B8E0-E75972015D50}"/>
          </ac:spMkLst>
        </pc:spChg>
        <pc:spChg chg="mod">
          <ac:chgData name="Kisliuk, Adrian (ext)" userId="6e619ce3-2643-4cdf-9a13-b4c269650021" providerId="ADAL" clId="{AFCEEFB0-37BC-48D4-B200-D3706B2CD7FE}" dt="2021-05-25T20:36:17.168" v="27890" actId="465"/>
          <ac:spMkLst>
            <pc:docMk/>
            <pc:sldMk cId="3846129823" sldId="929"/>
            <ac:spMk id="83" creationId="{27888BFA-6B01-4803-8D07-234D2D7D8C32}"/>
          </ac:spMkLst>
        </pc:spChg>
        <pc:spChg chg="mod">
          <ac:chgData name="Kisliuk, Adrian (ext)" userId="6e619ce3-2643-4cdf-9a13-b4c269650021" providerId="ADAL" clId="{AFCEEFB0-37BC-48D4-B200-D3706B2CD7FE}" dt="2021-05-25T20:36:17.168" v="27890" actId="465"/>
          <ac:spMkLst>
            <pc:docMk/>
            <pc:sldMk cId="3846129823" sldId="929"/>
            <ac:spMk id="86" creationId="{BE9D4A58-CE32-405F-B210-C37982E3B28E}"/>
          </ac:spMkLst>
        </pc:spChg>
        <pc:spChg chg="mod">
          <ac:chgData name="Kisliuk, Adrian (ext)" userId="6e619ce3-2643-4cdf-9a13-b4c269650021" providerId="ADAL" clId="{AFCEEFB0-37BC-48D4-B200-D3706B2CD7FE}" dt="2021-05-25T20:36:48.813" v="27892" actId="1076"/>
          <ac:spMkLst>
            <pc:docMk/>
            <pc:sldMk cId="3846129823" sldId="929"/>
            <ac:spMk id="89" creationId="{5C4196D5-D435-4D80-8E13-D51A877059E1}"/>
          </ac:spMkLst>
        </pc:spChg>
        <pc:spChg chg="mod">
          <ac:chgData name="Kisliuk, Adrian (ext)" userId="6e619ce3-2643-4cdf-9a13-b4c269650021" providerId="ADAL" clId="{AFCEEFB0-37BC-48D4-B200-D3706B2CD7FE}" dt="2021-05-25T20:35:57.465" v="27887" actId="3064"/>
          <ac:spMkLst>
            <pc:docMk/>
            <pc:sldMk cId="3846129823" sldId="929"/>
            <ac:spMk id="93" creationId="{921CA851-6A85-45C1-88E8-D36A4BA1529B}"/>
          </ac:spMkLst>
        </pc:spChg>
        <pc:grpChg chg="mod topLvl">
          <ac:chgData name="Kisliuk, Adrian (ext)" userId="6e619ce3-2643-4cdf-9a13-b4c269650021" providerId="ADAL" clId="{AFCEEFB0-37BC-48D4-B200-D3706B2CD7FE}" dt="2021-05-25T20:36:48.813" v="27892" actId="1076"/>
          <ac:grpSpMkLst>
            <pc:docMk/>
            <pc:sldMk cId="3846129823" sldId="929"/>
            <ac:grpSpMk id="5" creationId="{51E0CF8D-47C8-4405-AC68-1F40384972CD}"/>
          </ac:grpSpMkLst>
        </pc:grpChg>
        <pc:grpChg chg="mod topLvl">
          <ac:chgData name="Kisliuk, Adrian (ext)" userId="6e619ce3-2643-4cdf-9a13-b4c269650021" providerId="ADAL" clId="{AFCEEFB0-37BC-48D4-B200-D3706B2CD7FE}" dt="2021-05-25T20:36:35.790" v="27891" actId="1076"/>
          <ac:grpSpMkLst>
            <pc:docMk/>
            <pc:sldMk cId="3846129823" sldId="929"/>
            <ac:grpSpMk id="6" creationId="{DD86BE4B-A48F-4AED-84F4-6F4C5DC90B67}"/>
          </ac:grpSpMkLst>
        </pc:grpChg>
        <pc:grpChg chg="mod topLvl">
          <ac:chgData name="Kisliuk, Adrian (ext)" userId="6e619ce3-2643-4cdf-9a13-b4c269650021" providerId="ADAL" clId="{AFCEEFB0-37BC-48D4-B200-D3706B2CD7FE}" dt="2021-05-25T20:37:55.872" v="27902" actId="1076"/>
          <ac:grpSpMkLst>
            <pc:docMk/>
            <pc:sldMk cId="3846129823" sldId="929"/>
            <ac:grpSpMk id="7" creationId="{41766015-E513-4FCD-A524-DB0549912BF9}"/>
          </ac:grpSpMkLst>
        </pc:grpChg>
        <pc:grpChg chg="del">
          <ac:chgData name="Kisliuk, Adrian (ext)" userId="6e619ce3-2643-4cdf-9a13-b4c269650021" providerId="ADAL" clId="{AFCEEFB0-37BC-48D4-B200-D3706B2CD7FE}" dt="2021-05-25T20:35:14.883" v="27882" actId="165"/>
          <ac:grpSpMkLst>
            <pc:docMk/>
            <pc:sldMk cId="3846129823" sldId="929"/>
            <ac:grpSpMk id="8" creationId="{778BA15D-BE05-4258-B47B-4BA3CED9C395}"/>
          </ac:grpSpMkLst>
        </pc:grpChg>
        <pc:picChg chg="mod">
          <ac:chgData name="Kisliuk, Adrian (ext)" userId="6e619ce3-2643-4cdf-9a13-b4c269650021" providerId="ADAL" clId="{AFCEEFB0-37BC-48D4-B200-D3706B2CD7FE}" dt="2021-05-25T20:36:48.813" v="27892" actId="1076"/>
          <ac:picMkLst>
            <pc:docMk/>
            <pc:sldMk cId="3846129823" sldId="929"/>
            <ac:picMk id="4" creationId="{61ACAC43-3400-4E05-8F8D-315313219E61}"/>
          </ac:picMkLst>
        </pc:picChg>
        <pc:picChg chg="mod">
          <ac:chgData name="Kisliuk, Adrian (ext)" userId="6e619ce3-2643-4cdf-9a13-b4c269650021" providerId="ADAL" clId="{AFCEEFB0-37BC-48D4-B200-D3706B2CD7FE}" dt="2021-05-25T20:36:48.813" v="27892" actId="1076"/>
          <ac:picMkLst>
            <pc:docMk/>
            <pc:sldMk cId="3846129823" sldId="929"/>
            <ac:picMk id="49" creationId="{33DC515C-7C44-4B90-AF89-433E4FE763E8}"/>
          </ac:picMkLst>
        </pc:picChg>
        <pc:picChg chg="mod">
          <ac:chgData name="Kisliuk, Adrian (ext)" userId="6e619ce3-2643-4cdf-9a13-b4c269650021" providerId="ADAL" clId="{AFCEEFB0-37BC-48D4-B200-D3706B2CD7FE}" dt="2021-05-25T20:36:48.813" v="27892" actId="1076"/>
          <ac:picMkLst>
            <pc:docMk/>
            <pc:sldMk cId="3846129823" sldId="929"/>
            <ac:picMk id="50" creationId="{F3EFB0F5-B62C-49C8-9879-2D62DDB7D8E3}"/>
          </ac:picMkLst>
        </pc:picChg>
        <pc:picChg chg="mod">
          <ac:chgData name="Kisliuk, Adrian (ext)" userId="6e619ce3-2643-4cdf-9a13-b4c269650021" providerId="ADAL" clId="{AFCEEFB0-37BC-48D4-B200-D3706B2CD7FE}" dt="2021-05-25T20:36:48.813" v="27892" actId="1076"/>
          <ac:picMkLst>
            <pc:docMk/>
            <pc:sldMk cId="3846129823" sldId="929"/>
            <ac:picMk id="51" creationId="{49981026-8763-4B51-B535-1BCFB5E16A3A}"/>
          </ac:picMkLst>
        </pc:picChg>
        <pc:picChg chg="mod">
          <ac:chgData name="Kisliuk, Adrian (ext)" userId="6e619ce3-2643-4cdf-9a13-b4c269650021" providerId="ADAL" clId="{AFCEEFB0-37BC-48D4-B200-D3706B2CD7FE}" dt="2021-05-25T20:38:01.920" v="27904" actId="1076"/>
          <ac:picMkLst>
            <pc:docMk/>
            <pc:sldMk cId="3846129823" sldId="929"/>
            <ac:picMk id="58" creationId="{B53EB35B-245B-4717-9D9F-90E72710A1DD}"/>
          </ac:picMkLst>
        </pc:picChg>
        <pc:picChg chg="mod">
          <ac:chgData name="Kisliuk, Adrian (ext)" userId="6e619ce3-2643-4cdf-9a13-b4c269650021" providerId="ADAL" clId="{AFCEEFB0-37BC-48D4-B200-D3706B2CD7FE}" dt="2021-05-25T20:36:48.813" v="27892" actId="1076"/>
          <ac:picMkLst>
            <pc:docMk/>
            <pc:sldMk cId="3846129823" sldId="929"/>
            <ac:picMk id="59" creationId="{5EC473E0-BEFE-489B-962C-70DBB2037E7E}"/>
          </ac:picMkLst>
        </pc:picChg>
        <pc:picChg chg="mod">
          <ac:chgData name="Kisliuk, Adrian (ext)" userId="6e619ce3-2643-4cdf-9a13-b4c269650021" providerId="ADAL" clId="{AFCEEFB0-37BC-48D4-B200-D3706B2CD7FE}" dt="2021-05-25T20:36:48.813" v="27892" actId="1076"/>
          <ac:picMkLst>
            <pc:docMk/>
            <pc:sldMk cId="3846129823" sldId="929"/>
            <ac:picMk id="66" creationId="{C0D2FEB2-14E5-4A0C-9511-615A7E817CDD}"/>
          </ac:picMkLst>
        </pc:picChg>
        <pc:picChg chg="mod">
          <ac:chgData name="Kisliuk, Adrian (ext)" userId="6e619ce3-2643-4cdf-9a13-b4c269650021" providerId="ADAL" clId="{AFCEEFB0-37BC-48D4-B200-D3706B2CD7FE}" dt="2021-05-25T20:36:48.813" v="27892" actId="1076"/>
          <ac:picMkLst>
            <pc:docMk/>
            <pc:sldMk cId="3846129823" sldId="929"/>
            <ac:picMk id="67" creationId="{6FE02B7E-2072-4C1E-B712-6DFF68BDD9E3}"/>
          </ac:picMkLst>
        </pc:picChg>
        <pc:cxnChg chg="mod">
          <ac:chgData name="Kisliuk, Adrian (ext)" userId="6e619ce3-2643-4cdf-9a13-b4c269650021" providerId="ADAL" clId="{AFCEEFB0-37BC-48D4-B200-D3706B2CD7FE}" dt="2021-05-25T20:36:48.813" v="27892" actId="1076"/>
          <ac:cxnSpMkLst>
            <pc:docMk/>
            <pc:sldMk cId="3846129823" sldId="929"/>
            <ac:cxnSpMk id="30" creationId="{35B0A19C-EAE0-4EF2-B1F9-ED92C61EB51E}"/>
          </ac:cxnSpMkLst>
        </pc:cxnChg>
        <pc:cxnChg chg="mod">
          <ac:chgData name="Kisliuk, Adrian (ext)" userId="6e619ce3-2643-4cdf-9a13-b4c269650021" providerId="ADAL" clId="{AFCEEFB0-37BC-48D4-B200-D3706B2CD7FE}" dt="2021-05-25T20:36:48.813" v="27892" actId="1076"/>
          <ac:cxnSpMkLst>
            <pc:docMk/>
            <pc:sldMk cId="3846129823" sldId="929"/>
            <ac:cxnSpMk id="63" creationId="{B18457CE-F3BD-4D92-88BB-D75AF7BA5ACC}"/>
          </ac:cxnSpMkLst>
        </pc:cxnChg>
        <pc:cxnChg chg="mod">
          <ac:chgData name="Kisliuk, Adrian (ext)" userId="6e619ce3-2643-4cdf-9a13-b4c269650021" providerId="ADAL" clId="{AFCEEFB0-37BC-48D4-B200-D3706B2CD7FE}" dt="2021-05-25T20:36:48.813" v="27892" actId="1076"/>
          <ac:cxnSpMkLst>
            <pc:docMk/>
            <pc:sldMk cId="3846129823" sldId="929"/>
            <ac:cxnSpMk id="64" creationId="{336E52CE-C7D1-46A0-80F8-EA2C674033A6}"/>
          </ac:cxnSpMkLst>
        </pc:cxnChg>
        <pc:cxnChg chg="mod">
          <ac:chgData name="Kisliuk, Adrian (ext)" userId="6e619ce3-2643-4cdf-9a13-b4c269650021" providerId="ADAL" clId="{AFCEEFB0-37BC-48D4-B200-D3706B2CD7FE}" dt="2021-05-25T20:36:48.813" v="27892" actId="1076"/>
          <ac:cxnSpMkLst>
            <pc:docMk/>
            <pc:sldMk cId="3846129823" sldId="929"/>
            <ac:cxnSpMk id="74" creationId="{5EC19DA4-57F9-4076-8414-3493206878B9}"/>
          </ac:cxnSpMkLst>
        </pc:cxnChg>
        <pc:cxnChg chg="mod">
          <ac:chgData name="Kisliuk, Adrian (ext)" userId="6e619ce3-2643-4cdf-9a13-b4c269650021" providerId="ADAL" clId="{AFCEEFB0-37BC-48D4-B200-D3706B2CD7FE}" dt="2021-05-25T20:36:48.813" v="27892" actId="1076"/>
          <ac:cxnSpMkLst>
            <pc:docMk/>
            <pc:sldMk cId="3846129823" sldId="929"/>
            <ac:cxnSpMk id="81" creationId="{65B4736B-2EA2-42F6-9BF4-39E8E210A303}"/>
          </ac:cxnSpMkLst>
        </pc:cxnChg>
        <pc:cxnChg chg="mod">
          <ac:chgData name="Kisliuk, Adrian (ext)" userId="6e619ce3-2643-4cdf-9a13-b4c269650021" providerId="ADAL" clId="{AFCEEFB0-37BC-48D4-B200-D3706B2CD7FE}" dt="2021-05-25T20:36:48.813" v="27892" actId="1076"/>
          <ac:cxnSpMkLst>
            <pc:docMk/>
            <pc:sldMk cId="3846129823" sldId="929"/>
            <ac:cxnSpMk id="91" creationId="{2FCD3B2A-5D9D-4852-8306-30C1F838A412}"/>
          </ac:cxnSpMkLst>
        </pc:cxnChg>
      </pc:sldChg>
      <pc:sldChg chg="addSp delSp modSp add del mod">
        <pc:chgData name="Kisliuk, Adrian (ext)" userId="6e619ce3-2643-4cdf-9a13-b4c269650021" providerId="ADAL" clId="{AFCEEFB0-37BC-48D4-B200-D3706B2CD7FE}" dt="2021-05-26T07:17:21.124" v="28594" actId="47"/>
        <pc:sldMkLst>
          <pc:docMk/>
          <pc:sldMk cId="852781669" sldId="930"/>
        </pc:sldMkLst>
        <pc:spChg chg="topLvl">
          <ac:chgData name="Kisliuk, Adrian (ext)" userId="6e619ce3-2643-4cdf-9a13-b4c269650021" providerId="ADAL" clId="{AFCEEFB0-37BC-48D4-B200-D3706B2CD7FE}" dt="2021-05-26T07:16:28.171" v="28592" actId="478"/>
          <ac:spMkLst>
            <pc:docMk/>
            <pc:sldMk cId="852781669" sldId="930"/>
            <ac:spMk id="65" creationId="{5CE31B73-FC53-4158-AC73-306DE0CD3659}"/>
          </ac:spMkLst>
        </pc:spChg>
        <pc:grpChg chg="del">
          <ac:chgData name="Kisliuk, Adrian (ext)" userId="6e619ce3-2643-4cdf-9a13-b4c269650021" providerId="ADAL" clId="{AFCEEFB0-37BC-48D4-B200-D3706B2CD7FE}" dt="2021-05-26T07:16:28.171" v="28592" actId="478"/>
          <ac:grpSpMkLst>
            <pc:docMk/>
            <pc:sldMk cId="852781669" sldId="930"/>
            <ac:grpSpMk id="7" creationId="{41766015-E513-4FCD-A524-DB0549912BF9}"/>
          </ac:grpSpMkLst>
        </pc:grpChg>
        <pc:picChg chg="del mod">
          <ac:chgData name="Kisliuk, Adrian (ext)" userId="6e619ce3-2643-4cdf-9a13-b4c269650021" providerId="ADAL" clId="{AFCEEFB0-37BC-48D4-B200-D3706B2CD7FE}" dt="2021-05-26T07:16:25.543" v="28591" actId="21"/>
          <ac:picMkLst>
            <pc:docMk/>
            <pc:sldMk cId="852781669" sldId="930"/>
            <ac:picMk id="13" creationId="{30666C22-BCF6-4492-8F3C-768F8A5FF798}"/>
          </ac:picMkLst>
        </pc:picChg>
        <pc:picChg chg="add mod">
          <ac:chgData name="Kisliuk, Adrian (ext)" userId="6e619ce3-2643-4cdf-9a13-b4c269650021" providerId="ADAL" clId="{AFCEEFB0-37BC-48D4-B200-D3706B2CD7FE}" dt="2021-05-26T07:16:28.664" v="28593"/>
          <ac:picMkLst>
            <pc:docMk/>
            <pc:sldMk cId="852781669" sldId="930"/>
            <ac:picMk id="31" creationId="{ED2B58AA-0D20-482D-BB5D-2687A3845111}"/>
          </ac:picMkLst>
        </pc:picChg>
        <pc:picChg chg="del topLvl">
          <ac:chgData name="Kisliuk, Adrian (ext)" userId="6e619ce3-2643-4cdf-9a13-b4c269650021" providerId="ADAL" clId="{AFCEEFB0-37BC-48D4-B200-D3706B2CD7FE}" dt="2021-05-26T07:16:28.171" v="28592" actId="478"/>
          <ac:picMkLst>
            <pc:docMk/>
            <pc:sldMk cId="852781669" sldId="930"/>
            <ac:picMk id="58" creationId="{B53EB35B-245B-4717-9D9F-90E72710A1DD}"/>
          </ac:picMkLst>
        </pc:picChg>
      </pc:sldChg>
      <pc:sldChg chg="addSp delSp modSp add del mod">
        <pc:chgData name="Kisliuk, Adrian (ext)" userId="6e619ce3-2643-4cdf-9a13-b4c269650021" providerId="ADAL" clId="{AFCEEFB0-37BC-48D4-B200-D3706B2CD7FE}" dt="2021-05-26T09:22:02.947" v="30649" actId="47"/>
        <pc:sldMkLst>
          <pc:docMk/>
          <pc:sldMk cId="3627523013" sldId="930"/>
        </pc:sldMkLst>
        <pc:spChg chg="mod ord">
          <ac:chgData name="Kisliuk, Adrian (ext)" userId="6e619ce3-2643-4cdf-9a13-b4c269650021" providerId="ADAL" clId="{AFCEEFB0-37BC-48D4-B200-D3706B2CD7FE}" dt="2021-05-26T08:45:34.459" v="29498"/>
          <ac:spMkLst>
            <pc:docMk/>
            <pc:sldMk cId="3627523013" sldId="930"/>
            <ac:spMk id="2" creationId="{A30CB9C5-1D04-4B1D-9E06-9EECBAD81A55}"/>
          </ac:spMkLst>
        </pc:spChg>
        <pc:spChg chg="mod ord">
          <ac:chgData name="Kisliuk, Adrian (ext)" userId="6e619ce3-2643-4cdf-9a13-b4c269650021" providerId="ADAL" clId="{AFCEEFB0-37BC-48D4-B200-D3706B2CD7FE}" dt="2021-05-26T08:45:34.459" v="29504"/>
          <ac:spMkLst>
            <pc:docMk/>
            <pc:sldMk cId="3627523013" sldId="930"/>
            <ac:spMk id="9" creationId="{10D492AC-7302-7F40-9856-1C3A15C51313}"/>
          </ac:spMkLst>
        </pc:spChg>
        <pc:spChg chg="add del mod modVis">
          <ac:chgData name="Kisliuk, Adrian (ext)" userId="6e619ce3-2643-4cdf-9a13-b4c269650021" providerId="ADAL" clId="{AFCEEFB0-37BC-48D4-B200-D3706B2CD7FE}" dt="2021-05-26T08:13:28.788" v="29015"/>
          <ac:spMkLst>
            <pc:docMk/>
            <pc:sldMk cId="3627523013" sldId="930"/>
            <ac:spMk id="19" creationId="{5782BF5D-002F-4615-BA91-621111E9AE57}"/>
          </ac:spMkLst>
        </pc:spChg>
        <pc:spChg chg="mod ord">
          <ac:chgData name="Kisliuk, Adrian (ext)" userId="6e619ce3-2643-4cdf-9a13-b4c269650021" providerId="ADAL" clId="{AFCEEFB0-37BC-48D4-B200-D3706B2CD7FE}" dt="2021-05-26T08:45:34.459" v="29506"/>
          <ac:spMkLst>
            <pc:docMk/>
            <pc:sldMk cId="3627523013" sldId="930"/>
            <ac:spMk id="29" creationId="{C5F44FDB-48C3-4DFF-8524-33255793A18E}"/>
          </ac:spMkLst>
        </pc:spChg>
        <pc:spChg chg="add del mod ord">
          <ac:chgData name="Kisliuk, Adrian (ext)" userId="6e619ce3-2643-4cdf-9a13-b4c269650021" providerId="ADAL" clId="{AFCEEFB0-37BC-48D4-B200-D3706B2CD7FE}" dt="2021-05-26T08:49:01.735" v="29593" actId="478"/>
          <ac:spMkLst>
            <pc:docMk/>
            <pc:sldMk cId="3627523013" sldId="930"/>
            <ac:spMk id="46" creationId="{418F7EA4-46EF-44AB-9B32-18FFB989A7E9}"/>
          </ac:spMkLst>
        </pc:spChg>
        <pc:spChg chg="mod ord topLvl">
          <ac:chgData name="Kisliuk, Adrian (ext)" userId="6e619ce3-2643-4cdf-9a13-b4c269650021" providerId="ADAL" clId="{AFCEEFB0-37BC-48D4-B200-D3706B2CD7FE}" dt="2021-05-26T08:31:04.286" v="29374" actId="12788"/>
          <ac:spMkLst>
            <pc:docMk/>
            <pc:sldMk cId="3627523013" sldId="930"/>
            <ac:spMk id="48" creationId="{4FBA9904-6A82-4A29-BF91-C1AA40CDECE4}"/>
          </ac:spMkLst>
        </pc:spChg>
        <pc:spChg chg="del">
          <ac:chgData name="Kisliuk, Adrian (ext)" userId="6e619ce3-2643-4cdf-9a13-b4c269650021" providerId="ADAL" clId="{AFCEEFB0-37BC-48D4-B200-D3706B2CD7FE}" dt="2021-05-26T08:10:06.560" v="28943" actId="478"/>
          <ac:spMkLst>
            <pc:docMk/>
            <pc:sldMk cId="3627523013" sldId="930"/>
            <ac:spMk id="52" creationId="{0CB8B495-1E79-48A5-BB9E-7EDCA656390A}"/>
          </ac:spMkLst>
        </pc:spChg>
        <pc:spChg chg="mod ord topLvl">
          <ac:chgData name="Kisliuk, Adrian (ext)" userId="6e619ce3-2643-4cdf-9a13-b4c269650021" providerId="ADAL" clId="{AFCEEFB0-37BC-48D4-B200-D3706B2CD7FE}" dt="2021-05-26T08:31:04.286" v="29374" actId="12788"/>
          <ac:spMkLst>
            <pc:docMk/>
            <pc:sldMk cId="3627523013" sldId="930"/>
            <ac:spMk id="53" creationId="{9DAF4614-7CAC-4566-836A-6297BB5A1B8E}"/>
          </ac:spMkLst>
        </pc:spChg>
        <pc:spChg chg="mod ord topLvl">
          <ac:chgData name="Kisliuk, Adrian (ext)" userId="6e619ce3-2643-4cdf-9a13-b4c269650021" providerId="ADAL" clId="{AFCEEFB0-37BC-48D4-B200-D3706B2CD7FE}" dt="2021-05-26T08:31:04.286" v="29374" actId="12788"/>
          <ac:spMkLst>
            <pc:docMk/>
            <pc:sldMk cId="3627523013" sldId="930"/>
            <ac:spMk id="57" creationId="{EFC84A4A-4FE5-49DC-B84B-27F2B817E3C9}"/>
          </ac:spMkLst>
        </pc:spChg>
        <pc:spChg chg="mod">
          <ac:chgData name="Kisliuk, Adrian (ext)" userId="6e619ce3-2643-4cdf-9a13-b4c269650021" providerId="ADAL" clId="{AFCEEFB0-37BC-48D4-B200-D3706B2CD7FE}" dt="2021-05-26T08:54:04.982" v="29628" actId="948"/>
          <ac:spMkLst>
            <pc:docMk/>
            <pc:sldMk cId="3627523013" sldId="930"/>
            <ac:spMk id="65" creationId="{5CE31B73-FC53-4158-AC73-306DE0CD3659}"/>
          </ac:spMkLst>
        </pc:spChg>
        <pc:spChg chg="mod ord topLvl">
          <ac:chgData name="Kisliuk, Adrian (ext)" userId="6e619ce3-2643-4cdf-9a13-b4c269650021" providerId="ADAL" clId="{AFCEEFB0-37BC-48D4-B200-D3706B2CD7FE}" dt="2021-05-26T08:56:53.106" v="29710" actId="164"/>
          <ac:spMkLst>
            <pc:docMk/>
            <pc:sldMk cId="3627523013" sldId="930"/>
            <ac:spMk id="68" creationId="{A73BB615-1F77-4CBC-AC4D-2E55A06615D0}"/>
          </ac:spMkLst>
        </pc:spChg>
        <pc:spChg chg="mod ord topLvl">
          <ac:chgData name="Kisliuk, Adrian (ext)" userId="6e619ce3-2643-4cdf-9a13-b4c269650021" providerId="ADAL" clId="{AFCEEFB0-37BC-48D4-B200-D3706B2CD7FE}" dt="2021-05-26T08:56:53.106" v="29710" actId="164"/>
          <ac:spMkLst>
            <pc:docMk/>
            <pc:sldMk cId="3627523013" sldId="930"/>
            <ac:spMk id="69" creationId="{1F72FDFB-7544-46B8-986C-D7ED0DA95F1D}"/>
          </ac:spMkLst>
        </pc:spChg>
        <pc:spChg chg="mod ord topLvl">
          <ac:chgData name="Kisliuk, Adrian (ext)" userId="6e619ce3-2643-4cdf-9a13-b4c269650021" providerId="ADAL" clId="{AFCEEFB0-37BC-48D4-B200-D3706B2CD7FE}" dt="2021-05-26T08:56:53.106" v="29710" actId="164"/>
          <ac:spMkLst>
            <pc:docMk/>
            <pc:sldMk cId="3627523013" sldId="930"/>
            <ac:spMk id="72" creationId="{B48A4D1C-6816-4026-B308-6DCAED4D46C1}"/>
          </ac:spMkLst>
        </pc:spChg>
        <pc:spChg chg="mod ord">
          <ac:chgData name="Kisliuk, Adrian (ext)" userId="6e619ce3-2643-4cdf-9a13-b4c269650021" providerId="ADAL" clId="{AFCEEFB0-37BC-48D4-B200-D3706B2CD7FE}" dt="2021-05-26T08:51:01.514" v="29609" actId="207"/>
          <ac:spMkLst>
            <pc:docMk/>
            <pc:sldMk cId="3627523013" sldId="930"/>
            <ac:spMk id="80" creationId="{53C2F809-4460-4609-B8E0-E75972015D50}"/>
          </ac:spMkLst>
        </pc:spChg>
        <pc:spChg chg="add mod">
          <ac:chgData name="Kisliuk, Adrian (ext)" userId="6e619ce3-2643-4cdf-9a13-b4c269650021" providerId="ADAL" clId="{AFCEEFB0-37BC-48D4-B200-D3706B2CD7FE}" dt="2021-05-26T08:31:04.286" v="29374" actId="12788"/>
          <ac:spMkLst>
            <pc:docMk/>
            <pc:sldMk cId="3627523013" sldId="930"/>
            <ac:spMk id="97" creationId="{C8663F80-9E7C-4F22-BC13-1B804DB7D971}"/>
          </ac:spMkLst>
        </pc:spChg>
        <pc:spChg chg="add del mod">
          <ac:chgData name="Kisliuk, Adrian (ext)" userId="6e619ce3-2643-4cdf-9a13-b4c269650021" providerId="ADAL" clId="{AFCEEFB0-37BC-48D4-B200-D3706B2CD7FE}" dt="2021-05-26T08:48:25.345" v="29582"/>
          <ac:spMkLst>
            <pc:docMk/>
            <pc:sldMk cId="3627523013" sldId="930"/>
            <ac:spMk id="143" creationId="{DEE559C7-8E38-4E41-A6A3-D8E175B362EE}"/>
          </ac:spMkLst>
        </pc:spChg>
        <pc:spChg chg="add mod">
          <ac:chgData name="Kisliuk, Adrian (ext)" userId="6e619ce3-2643-4cdf-9a13-b4c269650021" providerId="ADAL" clId="{AFCEEFB0-37BC-48D4-B200-D3706B2CD7FE}" dt="2021-05-26T08:56:53.106" v="29710" actId="164"/>
          <ac:spMkLst>
            <pc:docMk/>
            <pc:sldMk cId="3627523013" sldId="930"/>
            <ac:spMk id="150" creationId="{0D3AC484-30B0-4887-8C14-60C26F47B057}"/>
          </ac:spMkLst>
        </pc:spChg>
        <pc:spChg chg="add mod">
          <ac:chgData name="Kisliuk, Adrian (ext)" userId="6e619ce3-2643-4cdf-9a13-b4c269650021" providerId="ADAL" clId="{AFCEEFB0-37BC-48D4-B200-D3706B2CD7FE}" dt="2021-05-26T08:54:55.145" v="29639" actId="164"/>
          <ac:spMkLst>
            <pc:docMk/>
            <pc:sldMk cId="3627523013" sldId="930"/>
            <ac:spMk id="156" creationId="{6D5B3600-8CA0-4844-A480-E58E6D123A70}"/>
          </ac:spMkLst>
        </pc:spChg>
        <pc:spChg chg="add del mod">
          <ac:chgData name="Kisliuk, Adrian (ext)" userId="6e619ce3-2643-4cdf-9a13-b4c269650021" providerId="ADAL" clId="{AFCEEFB0-37BC-48D4-B200-D3706B2CD7FE}" dt="2021-05-26T08:58:16.379" v="29728" actId="478"/>
          <ac:spMkLst>
            <pc:docMk/>
            <pc:sldMk cId="3627523013" sldId="930"/>
            <ac:spMk id="168" creationId="{AA5B4A0D-4DC3-4682-88DC-322EE039F029}"/>
          </ac:spMkLst>
        </pc:spChg>
        <pc:grpChg chg="del mod">
          <ac:chgData name="Kisliuk, Adrian (ext)" userId="6e619ce3-2643-4cdf-9a13-b4c269650021" providerId="ADAL" clId="{AFCEEFB0-37BC-48D4-B200-D3706B2CD7FE}" dt="2021-05-26T08:14:16.952" v="29107" actId="165"/>
          <ac:grpSpMkLst>
            <pc:docMk/>
            <pc:sldMk cId="3627523013" sldId="930"/>
            <ac:grpSpMk id="5" creationId="{51E0CF8D-47C8-4405-AC68-1F40384972CD}"/>
          </ac:grpSpMkLst>
        </pc:grpChg>
        <pc:grpChg chg="mod ord">
          <ac:chgData name="Kisliuk, Adrian (ext)" userId="6e619ce3-2643-4cdf-9a13-b4c269650021" providerId="ADAL" clId="{AFCEEFB0-37BC-48D4-B200-D3706B2CD7FE}" dt="2021-05-26T08:45:34.459" v="29500"/>
          <ac:grpSpMkLst>
            <pc:docMk/>
            <pc:sldMk cId="3627523013" sldId="930"/>
            <ac:grpSpMk id="7" creationId="{41766015-E513-4FCD-A524-DB0549912BF9}"/>
          </ac:grpSpMkLst>
        </pc:grpChg>
        <pc:grpChg chg="add del mod ord">
          <ac:chgData name="Kisliuk, Adrian (ext)" userId="6e619ce3-2643-4cdf-9a13-b4c269650021" providerId="ADAL" clId="{AFCEEFB0-37BC-48D4-B200-D3706B2CD7FE}" dt="2021-05-26T08:49:38.261" v="29599" actId="165"/>
          <ac:grpSpMkLst>
            <pc:docMk/>
            <pc:sldMk cId="3627523013" sldId="930"/>
            <ac:grpSpMk id="106" creationId="{AEB359D9-9598-4F98-B5F9-03163FE31098}"/>
          </ac:grpSpMkLst>
        </pc:grpChg>
        <pc:grpChg chg="add mod">
          <ac:chgData name="Kisliuk, Adrian (ext)" userId="6e619ce3-2643-4cdf-9a13-b4c269650021" providerId="ADAL" clId="{AFCEEFB0-37BC-48D4-B200-D3706B2CD7FE}" dt="2021-05-26T08:45:34.459" v="29507"/>
          <ac:grpSpMkLst>
            <pc:docMk/>
            <pc:sldMk cId="3627523013" sldId="930"/>
            <ac:grpSpMk id="107" creationId="{8BACA672-E4A0-4210-A1F0-2F516D2D822E}"/>
          </ac:grpSpMkLst>
        </pc:grpChg>
        <pc:grpChg chg="add mod">
          <ac:chgData name="Kisliuk, Adrian (ext)" userId="6e619ce3-2643-4cdf-9a13-b4c269650021" providerId="ADAL" clId="{AFCEEFB0-37BC-48D4-B200-D3706B2CD7FE}" dt="2021-05-26T08:54:55.145" v="29639" actId="164"/>
          <ac:grpSpMkLst>
            <pc:docMk/>
            <pc:sldMk cId="3627523013" sldId="930"/>
            <ac:grpSpMk id="157" creationId="{639F09D8-A42F-4364-B2C3-F1608B2341AC}"/>
          </ac:grpSpMkLst>
        </pc:grpChg>
        <pc:grpChg chg="add mod">
          <ac:chgData name="Kisliuk, Adrian (ext)" userId="6e619ce3-2643-4cdf-9a13-b4c269650021" providerId="ADAL" clId="{AFCEEFB0-37BC-48D4-B200-D3706B2CD7FE}" dt="2021-05-26T08:57:16.023" v="29718" actId="1076"/>
          <ac:grpSpMkLst>
            <pc:docMk/>
            <pc:sldMk cId="3627523013" sldId="930"/>
            <ac:grpSpMk id="163" creationId="{13829D68-32AA-44AD-A16C-8A3D480757FE}"/>
          </ac:grpSpMkLst>
        </pc:grpChg>
        <pc:graphicFrameChg chg="mod">
          <ac:chgData name="Kisliuk, Adrian (ext)" userId="6e619ce3-2643-4cdf-9a13-b4c269650021" providerId="ADAL" clId="{AFCEEFB0-37BC-48D4-B200-D3706B2CD7FE}" dt="2021-05-26T08:45:34.459" v="29523"/>
          <ac:graphicFrameMkLst>
            <pc:docMk/>
            <pc:sldMk cId="3627523013" sldId="930"/>
            <ac:graphicFrameMk id="45" creationId="{249ACC2C-4245-439C-935F-45259A18C20A}"/>
          </ac:graphicFrameMkLst>
        </pc:graphicFrameChg>
        <pc:picChg chg="del mod ord topLvl">
          <ac:chgData name="Kisliuk, Adrian (ext)" userId="6e619ce3-2643-4cdf-9a13-b4c269650021" providerId="ADAL" clId="{AFCEEFB0-37BC-48D4-B200-D3706B2CD7FE}" dt="2021-05-26T08:35:11.780" v="29446" actId="478"/>
          <ac:picMkLst>
            <pc:docMk/>
            <pc:sldMk cId="3627523013" sldId="930"/>
            <ac:picMk id="4" creationId="{61ACAC43-3400-4E05-8F8D-315313219E61}"/>
          </ac:picMkLst>
        </pc:picChg>
        <pc:picChg chg="add mod ord">
          <ac:chgData name="Kisliuk, Adrian (ext)" userId="6e619ce3-2643-4cdf-9a13-b4c269650021" providerId="ADAL" clId="{AFCEEFB0-37BC-48D4-B200-D3706B2CD7FE}" dt="2021-05-26T08:31:04.286" v="29374" actId="12788"/>
          <ac:picMkLst>
            <pc:docMk/>
            <pc:sldMk cId="3627523013" sldId="930"/>
            <ac:picMk id="38" creationId="{256570E5-C911-47F7-A976-98D1630AFAC8}"/>
          </ac:picMkLst>
        </pc:picChg>
        <pc:picChg chg="add mod ord">
          <ac:chgData name="Kisliuk, Adrian (ext)" userId="6e619ce3-2643-4cdf-9a13-b4c269650021" providerId="ADAL" clId="{AFCEEFB0-37BC-48D4-B200-D3706B2CD7FE}" dt="2021-05-26T08:31:04.286" v="29374" actId="12788"/>
          <ac:picMkLst>
            <pc:docMk/>
            <pc:sldMk cId="3627523013" sldId="930"/>
            <ac:picMk id="39" creationId="{EA7E8D05-F39B-48D8-AD80-24C27C6E470D}"/>
          </ac:picMkLst>
        </pc:picChg>
        <pc:picChg chg="mod topLvl">
          <ac:chgData name="Kisliuk, Adrian (ext)" userId="6e619ce3-2643-4cdf-9a13-b4c269650021" providerId="ADAL" clId="{AFCEEFB0-37BC-48D4-B200-D3706B2CD7FE}" dt="2021-05-26T08:31:04.286" v="29374" actId="12788"/>
          <ac:picMkLst>
            <pc:docMk/>
            <pc:sldMk cId="3627523013" sldId="930"/>
            <ac:picMk id="49" creationId="{33DC515C-7C44-4B90-AF89-433E4FE763E8}"/>
          </ac:picMkLst>
        </pc:picChg>
        <pc:picChg chg="mod topLvl">
          <ac:chgData name="Kisliuk, Adrian (ext)" userId="6e619ce3-2643-4cdf-9a13-b4c269650021" providerId="ADAL" clId="{AFCEEFB0-37BC-48D4-B200-D3706B2CD7FE}" dt="2021-05-26T08:31:04.286" v="29374" actId="12788"/>
          <ac:picMkLst>
            <pc:docMk/>
            <pc:sldMk cId="3627523013" sldId="930"/>
            <ac:picMk id="50" creationId="{F3EFB0F5-B62C-49C8-9879-2D62DDB7D8E3}"/>
          </ac:picMkLst>
        </pc:picChg>
        <pc:picChg chg="mod topLvl">
          <ac:chgData name="Kisliuk, Adrian (ext)" userId="6e619ce3-2643-4cdf-9a13-b4c269650021" providerId="ADAL" clId="{AFCEEFB0-37BC-48D4-B200-D3706B2CD7FE}" dt="2021-05-26T08:31:04.286" v="29374" actId="12788"/>
          <ac:picMkLst>
            <pc:docMk/>
            <pc:sldMk cId="3627523013" sldId="930"/>
            <ac:picMk id="51" creationId="{49981026-8763-4B51-B535-1BCFB5E16A3A}"/>
          </ac:picMkLst>
        </pc:picChg>
        <pc:picChg chg="del mod">
          <ac:chgData name="Kisliuk, Adrian (ext)" userId="6e619ce3-2643-4cdf-9a13-b4c269650021" providerId="ADAL" clId="{AFCEEFB0-37BC-48D4-B200-D3706B2CD7FE}" dt="2021-05-26T08:09:33.577" v="28934" actId="478"/>
          <ac:picMkLst>
            <pc:docMk/>
            <pc:sldMk cId="3627523013" sldId="930"/>
            <ac:picMk id="59" creationId="{5EC473E0-BEFE-489B-962C-70DBB2037E7E}"/>
          </ac:picMkLst>
        </pc:picChg>
        <pc:picChg chg="del mod ord topLvl">
          <ac:chgData name="Kisliuk, Adrian (ext)" userId="6e619ce3-2643-4cdf-9a13-b4c269650021" providerId="ADAL" clId="{AFCEEFB0-37BC-48D4-B200-D3706B2CD7FE}" dt="2021-05-26T08:52:28.484" v="29611" actId="478"/>
          <ac:picMkLst>
            <pc:docMk/>
            <pc:sldMk cId="3627523013" sldId="930"/>
            <ac:picMk id="66" creationId="{C0D2FEB2-14E5-4A0C-9511-615A7E817CDD}"/>
          </ac:picMkLst>
        </pc:picChg>
        <pc:picChg chg="mod ord topLvl">
          <ac:chgData name="Kisliuk, Adrian (ext)" userId="6e619ce3-2643-4cdf-9a13-b4c269650021" providerId="ADAL" clId="{AFCEEFB0-37BC-48D4-B200-D3706B2CD7FE}" dt="2021-05-26T08:31:04.286" v="29374" actId="12788"/>
          <ac:picMkLst>
            <pc:docMk/>
            <pc:sldMk cId="3627523013" sldId="930"/>
            <ac:picMk id="67" creationId="{6FE02B7E-2072-4C1E-B712-6DFF68BDD9E3}"/>
          </ac:picMkLst>
        </pc:picChg>
        <pc:picChg chg="add del mod ord">
          <ac:chgData name="Kisliuk, Adrian (ext)" userId="6e619ce3-2643-4cdf-9a13-b4c269650021" providerId="ADAL" clId="{AFCEEFB0-37BC-48D4-B200-D3706B2CD7FE}" dt="2021-05-26T08:41:48.987" v="29469" actId="478"/>
          <ac:picMkLst>
            <pc:docMk/>
            <pc:sldMk cId="3627523013" sldId="930"/>
            <ac:picMk id="109" creationId="{1B3EA692-1C1D-4EAC-825A-FA8011AD238A}"/>
          </ac:picMkLst>
        </pc:picChg>
        <pc:picChg chg="add mod ord modCrop">
          <ac:chgData name="Kisliuk, Adrian (ext)" userId="6e619ce3-2643-4cdf-9a13-b4c269650021" providerId="ADAL" clId="{AFCEEFB0-37BC-48D4-B200-D3706B2CD7FE}" dt="2021-05-26T08:56:53.106" v="29710" actId="164"/>
          <ac:picMkLst>
            <pc:docMk/>
            <pc:sldMk cId="3627523013" sldId="930"/>
            <ac:picMk id="119" creationId="{79249960-90F4-40B9-B694-A5E00627EC0D}"/>
          </ac:picMkLst>
        </pc:picChg>
        <pc:picChg chg="add mod ord">
          <ac:chgData name="Kisliuk, Adrian (ext)" userId="6e619ce3-2643-4cdf-9a13-b4c269650021" providerId="ADAL" clId="{AFCEEFB0-37BC-48D4-B200-D3706B2CD7FE}" dt="2021-05-26T08:56:53.106" v="29710" actId="164"/>
          <ac:picMkLst>
            <pc:docMk/>
            <pc:sldMk cId="3627523013" sldId="930"/>
            <ac:picMk id="121" creationId="{65718ECB-1A21-4DC3-AB57-AE907FC5AD89}"/>
          </ac:picMkLst>
        </pc:picChg>
        <pc:picChg chg="add del mod">
          <ac:chgData name="Kisliuk, Adrian (ext)" userId="6e619ce3-2643-4cdf-9a13-b4c269650021" providerId="ADAL" clId="{AFCEEFB0-37BC-48D4-B200-D3706B2CD7FE}" dt="2021-05-26T08:43:41.291" v="29474" actId="478"/>
          <ac:picMkLst>
            <pc:docMk/>
            <pc:sldMk cId="3627523013" sldId="930"/>
            <ac:picMk id="127" creationId="{9D311AB1-3AFF-4A0D-942C-22DF8023507A}"/>
          </ac:picMkLst>
        </pc:picChg>
        <pc:picChg chg="add mod ord modCrop">
          <ac:chgData name="Kisliuk, Adrian (ext)" userId="6e619ce3-2643-4cdf-9a13-b4c269650021" providerId="ADAL" clId="{AFCEEFB0-37BC-48D4-B200-D3706B2CD7FE}" dt="2021-05-26T08:56:53.106" v="29710" actId="164"/>
          <ac:picMkLst>
            <pc:docMk/>
            <pc:sldMk cId="3627523013" sldId="930"/>
            <ac:picMk id="129" creationId="{BDDD1A73-3A01-4CFC-B49A-4CB7A0BBA115}"/>
          </ac:picMkLst>
        </pc:picChg>
        <pc:picChg chg="add mod modCrop">
          <ac:chgData name="Kisliuk, Adrian (ext)" userId="6e619ce3-2643-4cdf-9a13-b4c269650021" providerId="ADAL" clId="{AFCEEFB0-37BC-48D4-B200-D3706B2CD7FE}" dt="2021-05-26T08:54:55.145" v="29639" actId="164"/>
          <ac:picMkLst>
            <pc:docMk/>
            <pc:sldMk cId="3627523013" sldId="930"/>
            <ac:picMk id="155" creationId="{380A12CF-68DA-4618-9AEB-7F6D83ED0518}"/>
          </ac:picMkLst>
        </pc:picChg>
        <pc:cxnChg chg="del mod ord topLvl">
          <ac:chgData name="Kisliuk, Adrian (ext)" userId="6e619ce3-2643-4cdf-9a13-b4c269650021" providerId="ADAL" clId="{AFCEEFB0-37BC-48D4-B200-D3706B2CD7FE}" dt="2021-05-26T08:28:54.051" v="29350" actId="478"/>
          <ac:cxnSpMkLst>
            <pc:docMk/>
            <pc:sldMk cId="3627523013" sldId="930"/>
            <ac:cxnSpMk id="30" creationId="{35B0A19C-EAE0-4EF2-B1F9-ED92C61EB51E}"/>
          </ac:cxnSpMkLst>
        </pc:cxnChg>
        <pc:cxnChg chg="add del mod ord">
          <ac:chgData name="Kisliuk, Adrian (ext)" userId="6e619ce3-2643-4cdf-9a13-b4c269650021" providerId="ADAL" clId="{AFCEEFB0-37BC-48D4-B200-D3706B2CD7FE}" dt="2021-05-26T08:28:56.388" v="29353" actId="478"/>
          <ac:cxnSpMkLst>
            <pc:docMk/>
            <pc:sldMk cId="3627523013" sldId="930"/>
            <ac:cxnSpMk id="47" creationId="{A9AA964C-EE29-4451-A3D0-7ABF946DEBA9}"/>
          </ac:cxnSpMkLst>
        </pc:cxnChg>
        <pc:cxnChg chg="add del mod ord topLvl">
          <ac:chgData name="Kisliuk, Adrian (ext)" userId="6e619ce3-2643-4cdf-9a13-b4c269650021" providerId="ADAL" clId="{AFCEEFB0-37BC-48D4-B200-D3706B2CD7FE}" dt="2021-05-26T08:22:26.995" v="29288" actId="478"/>
          <ac:cxnSpMkLst>
            <pc:docMk/>
            <pc:sldMk cId="3627523013" sldId="930"/>
            <ac:cxnSpMk id="63" creationId="{B18457CE-F3BD-4D92-88BB-D75AF7BA5ACC}"/>
          </ac:cxnSpMkLst>
        </pc:cxnChg>
        <pc:cxnChg chg="del mod ord topLvl">
          <ac:chgData name="Kisliuk, Adrian (ext)" userId="6e619ce3-2643-4cdf-9a13-b4c269650021" providerId="ADAL" clId="{AFCEEFB0-37BC-48D4-B200-D3706B2CD7FE}" dt="2021-05-26T08:22:30.655" v="29289" actId="478"/>
          <ac:cxnSpMkLst>
            <pc:docMk/>
            <pc:sldMk cId="3627523013" sldId="930"/>
            <ac:cxnSpMk id="64" creationId="{336E52CE-C7D1-46A0-80F8-EA2C674033A6}"/>
          </ac:cxnSpMkLst>
        </pc:cxnChg>
        <pc:cxnChg chg="del mod">
          <ac:chgData name="Kisliuk, Adrian (ext)" userId="6e619ce3-2643-4cdf-9a13-b4c269650021" providerId="ADAL" clId="{AFCEEFB0-37BC-48D4-B200-D3706B2CD7FE}" dt="2021-05-26T08:10:09.945" v="28944" actId="478"/>
          <ac:cxnSpMkLst>
            <pc:docMk/>
            <pc:sldMk cId="3627523013" sldId="930"/>
            <ac:cxnSpMk id="74" creationId="{5EC19DA4-57F9-4076-8414-3493206878B9}"/>
          </ac:cxnSpMkLst>
        </pc:cxnChg>
        <pc:cxnChg chg="del mod ord topLvl">
          <ac:chgData name="Kisliuk, Adrian (ext)" userId="6e619ce3-2643-4cdf-9a13-b4c269650021" providerId="ADAL" clId="{AFCEEFB0-37BC-48D4-B200-D3706B2CD7FE}" dt="2021-05-26T08:28:55.307" v="29351" actId="478"/>
          <ac:cxnSpMkLst>
            <pc:docMk/>
            <pc:sldMk cId="3627523013" sldId="930"/>
            <ac:cxnSpMk id="81" creationId="{65B4736B-2EA2-42F6-9BF4-39E8E210A303}"/>
          </ac:cxnSpMkLst>
        </pc:cxnChg>
        <pc:cxnChg chg="add mod topLvl">
          <ac:chgData name="Kisliuk, Adrian (ext)" userId="6e619ce3-2643-4cdf-9a13-b4c269650021" providerId="ADAL" clId="{AFCEEFB0-37BC-48D4-B200-D3706B2CD7FE}" dt="2021-05-26T08:56:53.106" v="29710" actId="164"/>
          <ac:cxnSpMkLst>
            <pc:docMk/>
            <pc:sldMk cId="3627523013" sldId="930"/>
            <ac:cxnSpMk id="82" creationId="{33A30B93-4D79-453E-A192-BA19EC4F14D6}"/>
          </ac:cxnSpMkLst>
        </pc:cxnChg>
        <pc:cxnChg chg="add mod topLvl">
          <ac:chgData name="Kisliuk, Adrian (ext)" userId="6e619ce3-2643-4cdf-9a13-b4c269650021" providerId="ADAL" clId="{AFCEEFB0-37BC-48D4-B200-D3706B2CD7FE}" dt="2021-05-26T08:56:53.106" v="29710" actId="164"/>
          <ac:cxnSpMkLst>
            <pc:docMk/>
            <pc:sldMk cId="3627523013" sldId="930"/>
            <ac:cxnSpMk id="83" creationId="{8BAA5FF4-3A23-4BB2-A151-87D8C3ADE460}"/>
          </ac:cxnSpMkLst>
        </pc:cxnChg>
        <pc:cxnChg chg="add mod topLvl">
          <ac:chgData name="Kisliuk, Adrian (ext)" userId="6e619ce3-2643-4cdf-9a13-b4c269650021" providerId="ADAL" clId="{AFCEEFB0-37BC-48D4-B200-D3706B2CD7FE}" dt="2021-05-26T08:56:53.106" v="29710" actId="164"/>
          <ac:cxnSpMkLst>
            <pc:docMk/>
            <pc:sldMk cId="3627523013" sldId="930"/>
            <ac:cxnSpMk id="87" creationId="{83AFE746-6FE9-40DC-A404-509172C06106}"/>
          </ac:cxnSpMkLst>
        </pc:cxnChg>
        <pc:cxnChg chg="add mod ord">
          <ac:chgData name="Kisliuk, Adrian (ext)" userId="6e619ce3-2643-4cdf-9a13-b4c269650021" providerId="ADAL" clId="{AFCEEFB0-37BC-48D4-B200-D3706B2CD7FE}" dt="2021-05-26T08:52:28.484" v="29611" actId="478"/>
          <ac:cxnSpMkLst>
            <pc:docMk/>
            <pc:sldMk cId="3627523013" sldId="930"/>
            <ac:cxnSpMk id="98" creationId="{879994A3-A812-495D-8128-70FD15CDFBE5}"/>
          </ac:cxnSpMkLst>
        </pc:cxnChg>
        <pc:cxnChg chg="add mod ord">
          <ac:chgData name="Kisliuk, Adrian (ext)" userId="6e619ce3-2643-4cdf-9a13-b4c269650021" providerId="ADAL" clId="{AFCEEFB0-37BC-48D4-B200-D3706B2CD7FE}" dt="2021-05-26T08:57:18.926" v="29719" actId="14100"/>
          <ac:cxnSpMkLst>
            <pc:docMk/>
            <pc:sldMk cId="3627523013" sldId="930"/>
            <ac:cxnSpMk id="102" creationId="{927E4E31-06DC-4CE0-B109-574E0013E74A}"/>
          </ac:cxnSpMkLst>
        </pc:cxnChg>
        <pc:cxnChg chg="add del mod ord">
          <ac:chgData name="Kisliuk, Adrian (ext)" userId="6e619ce3-2643-4cdf-9a13-b4c269650021" providerId="ADAL" clId="{AFCEEFB0-37BC-48D4-B200-D3706B2CD7FE}" dt="2021-05-26T08:35:06.079" v="29445" actId="478"/>
          <ac:cxnSpMkLst>
            <pc:docMk/>
            <pc:sldMk cId="3627523013" sldId="930"/>
            <ac:cxnSpMk id="112" creationId="{39CA0CB3-BD0D-40A1-A41B-524436756DE1}"/>
          </ac:cxnSpMkLst>
        </pc:cxnChg>
        <pc:cxnChg chg="add mod ord">
          <ac:chgData name="Kisliuk, Adrian (ext)" userId="6e619ce3-2643-4cdf-9a13-b4c269650021" providerId="ADAL" clId="{AFCEEFB0-37BC-48D4-B200-D3706B2CD7FE}" dt="2021-05-26T08:56:53.106" v="29710" actId="164"/>
          <ac:cxnSpMkLst>
            <pc:docMk/>
            <pc:sldMk cId="3627523013" sldId="930"/>
            <ac:cxnSpMk id="133" creationId="{8A6BA531-BCF9-451C-A532-BAFF0422FE34}"/>
          </ac:cxnSpMkLst>
        </pc:cxnChg>
        <pc:cxnChg chg="add mod">
          <ac:chgData name="Kisliuk, Adrian (ext)" userId="6e619ce3-2643-4cdf-9a13-b4c269650021" providerId="ADAL" clId="{AFCEEFB0-37BC-48D4-B200-D3706B2CD7FE}" dt="2021-05-26T08:56:53.106" v="29710" actId="164"/>
          <ac:cxnSpMkLst>
            <pc:docMk/>
            <pc:sldMk cId="3627523013" sldId="930"/>
            <ac:cxnSpMk id="137" creationId="{EB481F6C-ADA2-412B-9815-5039201A1E76}"/>
          </ac:cxnSpMkLst>
        </pc:cxnChg>
        <pc:cxnChg chg="add mod">
          <ac:chgData name="Kisliuk, Adrian (ext)" userId="6e619ce3-2643-4cdf-9a13-b4c269650021" providerId="ADAL" clId="{AFCEEFB0-37BC-48D4-B200-D3706B2CD7FE}" dt="2021-05-26T08:56:53.106" v="29710" actId="164"/>
          <ac:cxnSpMkLst>
            <pc:docMk/>
            <pc:sldMk cId="3627523013" sldId="930"/>
            <ac:cxnSpMk id="140" creationId="{CEFEE7A8-ACA0-499D-B0E1-768EB2251DBD}"/>
          </ac:cxnSpMkLst>
        </pc:cxnChg>
      </pc:sldChg>
      <pc:sldChg chg="addSp delSp modSp add del mod">
        <pc:chgData name="Kisliuk, Adrian (ext)" userId="6e619ce3-2643-4cdf-9a13-b4c269650021" providerId="ADAL" clId="{AFCEEFB0-37BC-48D4-B200-D3706B2CD7FE}" dt="2021-05-26T09:22:04.327" v="30650" actId="47"/>
        <pc:sldMkLst>
          <pc:docMk/>
          <pc:sldMk cId="3136735722" sldId="931"/>
        </pc:sldMkLst>
        <pc:spChg chg="mod ord">
          <ac:chgData name="Kisliuk, Adrian (ext)" userId="6e619ce3-2643-4cdf-9a13-b4c269650021" providerId="ADAL" clId="{AFCEEFB0-37BC-48D4-B200-D3706B2CD7FE}" dt="2021-05-26T09:15:37.740" v="30625" actId="948"/>
          <ac:spMkLst>
            <pc:docMk/>
            <pc:sldMk cId="3136735722" sldId="931"/>
            <ac:spMk id="2" creationId="{A30CB9C5-1D04-4B1D-9E06-9EECBAD81A55}"/>
          </ac:spMkLst>
        </pc:spChg>
        <pc:spChg chg="del">
          <ac:chgData name="Kisliuk, Adrian (ext)" userId="6e619ce3-2643-4cdf-9a13-b4c269650021" providerId="ADAL" clId="{AFCEEFB0-37BC-48D4-B200-D3706B2CD7FE}" dt="2021-05-26T09:02:58.980" v="29792" actId="478"/>
          <ac:spMkLst>
            <pc:docMk/>
            <pc:sldMk cId="3136735722" sldId="931"/>
            <ac:spMk id="9" creationId="{10D492AC-7302-7F40-9856-1C3A15C51313}"/>
          </ac:spMkLst>
        </pc:spChg>
        <pc:spChg chg="mod ord">
          <ac:chgData name="Kisliuk, Adrian (ext)" userId="6e619ce3-2643-4cdf-9a13-b4c269650021" providerId="ADAL" clId="{AFCEEFB0-37BC-48D4-B200-D3706B2CD7FE}" dt="2021-05-26T09:15:37.509" v="30586"/>
          <ac:spMkLst>
            <pc:docMk/>
            <pc:sldMk cId="3136735722" sldId="931"/>
            <ac:spMk id="29" creationId="{C5F44FDB-48C3-4DFF-8524-33255793A18E}"/>
          </ac:spMkLst>
        </pc:spChg>
        <pc:spChg chg="add mod topLvl">
          <ac:chgData name="Kisliuk, Adrian (ext)" userId="6e619ce3-2643-4cdf-9a13-b4c269650021" providerId="ADAL" clId="{AFCEEFB0-37BC-48D4-B200-D3706B2CD7FE}" dt="2021-05-26T09:11:30.255" v="29932" actId="164"/>
          <ac:spMkLst>
            <pc:docMk/>
            <pc:sldMk cId="3136735722" sldId="931"/>
            <ac:spMk id="42" creationId="{5894D347-93B4-4D7D-9904-4D1347EE7755}"/>
          </ac:spMkLst>
        </pc:spChg>
        <pc:spChg chg="add mod topLvl">
          <ac:chgData name="Kisliuk, Adrian (ext)" userId="6e619ce3-2643-4cdf-9a13-b4c269650021" providerId="ADAL" clId="{AFCEEFB0-37BC-48D4-B200-D3706B2CD7FE}" dt="2021-05-26T09:11:30.255" v="29932" actId="164"/>
          <ac:spMkLst>
            <pc:docMk/>
            <pc:sldMk cId="3136735722" sldId="931"/>
            <ac:spMk id="43" creationId="{260DFFC8-016D-4025-B64E-1EC7E7888955}"/>
          </ac:spMkLst>
        </pc:spChg>
        <pc:spChg chg="mod ord topLvl">
          <ac:chgData name="Kisliuk, Adrian (ext)" userId="6e619ce3-2643-4cdf-9a13-b4c269650021" providerId="ADAL" clId="{AFCEEFB0-37BC-48D4-B200-D3706B2CD7FE}" dt="2021-05-26T09:15:37.076" v="30575" actId="207"/>
          <ac:spMkLst>
            <pc:docMk/>
            <pc:sldMk cId="3136735722" sldId="931"/>
            <ac:spMk id="48" creationId="{4FBA9904-6A82-4A29-BF91-C1AA40CDECE4}"/>
          </ac:spMkLst>
        </pc:spChg>
        <pc:spChg chg="mod ord topLvl">
          <ac:chgData name="Kisliuk, Adrian (ext)" userId="6e619ce3-2643-4cdf-9a13-b4c269650021" providerId="ADAL" clId="{AFCEEFB0-37BC-48D4-B200-D3706B2CD7FE}" dt="2021-05-26T09:15:36.569" v="30573" actId="165"/>
          <ac:spMkLst>
            <pc:docMk/>
            <pc:sldMk cId="3136735722" sldId="931"/>
            <ac:spMk id="53" creationId="{9DAF4614-7CAC-4566-836A-6297BB5A1B8E}"/>
          </ac:spMkLst>
        </pc:spChg>
        <pc:spChg chg="add del mod modVis">
          <ac:chgData name="Kisliuk, Adrian (ext)" userId="6e619ce3-2643-4cdf-9a13-b4c269650021" providerId="ADAL" clId="{AFCEEFB0-37BC-48D4-B200-D3706B2CD7FE}" dt="2021-05-26T09:11:37.838" v="30013" actId="962"/>
          <ac:spMkLst>
            <pc:docMk/>
            <pc:sldMk cId="3136735722" sldId="931"/>
            <ac:spMk id="56" creationId="{F7A848A0-1379-40D4-8FC3-31360A844468}"/>
          </ac:spMkLst>
        </pc:spChg>
        <pc:spChg chg="mod ord topLvl">
          <ac:chgData name="Kisliuk, Adrian (ext)" userId="6e619ce3-2643-4cdf-9a13-b4c269650021" providerId="ADAL" clId="{AFCEEFB0-37BC-48D4-B200-D3706B2CD7FE}" dt="2021-05-26T09:15:36.569" v="30573" actId="165"/>
          <ac:spMkLst>
            <pc:docMk/>
            <pc:sldMk cId="3136735722" sldId="931"/>
            <ac:spMk id="57" creationId="{EFC84A4A-4FE5-49DC-B84B-27F2B817E3C9}"/>
          </ac:spMkLst>
        </pc:spChg>
        <pc:spChg chg="mod">
          <ac:chgData name="Kisliuk, Adrian (ext)" userId="6e619ce3-2643-4cdf-9a13-b4c269650021" providerId="ADAL" clId="{AFCEEFB0-37BC-48D4-B200-D3706B2CD7FE}" dt="2021-05-26T09:12:25.692" v="30190" actId="207"/>
          <ac:spMkLst>
            <pc:docMk/>
            <pc:sldMk cId="3136735722" sldId="931"/>
            <ac:spMk id="64" creationId="{CDD9E82D-776B-4665-999A-C9F9E9F89CA2}"/>
          </ac:spMkLst>
        </pc:spChg>
        <pc:spChg chg="mod">
          <ac:chgData name="Kisliuk, Adrian (ext)" userId="6e619ce3-2643-4cdf-9a13-b4c269650021" providerId="ADAL" clId="{AFCEEFB0-37BC-48D4-B200-D3706B2CD7FE}" dt="2021-05-26T09:11:09.235" v="29928" actId="165"/>
          <ac:spMkLst>
            <pc:docMk/>
            <pc:sldMk cId="3136735722" sldId="931"/>
            <ac:spMk id="65" creationId="{5CE31B73-FC53-4158-AC73-306DE0CD3659}"/>
          </ac:spMkLst>
        </pc:spChg>
        <pc:spChg chg="mod">
          <ac:chgData name="Kisliuk, Adrian (ext)" userId="6e619ce3-2643-4cdf-9a13-b4c269650021" providerId="ADAL" clId="{AFCEEFB0-37BC-48D4-B200-D3706B2CD7FE}" dt="2021-05-26T09:12:25.692" v="30190" actId="207"/>
          <ac:spMkLst>
            <pc:docMk/>
            <pc:sldMk cId="3136735722" sldId="931"/>
            <ac:spMk id="66" creationId="{92FBF4F6-A203-47C3-8FAC-CE4502202F2D}"/>
          </ac:spMkLst>
        </pc:spChg>
        <pc:spChg chg="del mod topLvl">
          <ac:chgData name="Kisliuk, Adrian (ext)" userId="6e619ce3-2643-4cdf-9a13-b4c269650021" providerId="ADAL" clId="{AFCEEFB0-37BC-48D4-B200-D3706B2CD7FE}" dt="2021-05-26T09:05:52.072" v="29862" actId="478"/>
          <ac:spMkLst>
            <pc:docMk/>
            <pc:sldMk cId="3136735722" sldId="931"/>
            <ac:spMk id="68" creationId="{A73BB615-1F77-4CBC-AC4D-2E55A06615D0}"/>
          </ac:spMkLst>
        </pc:spChg>
        <pc:spChg chg="mod topLvl">
          <ac:chgData name="Kisliuk, Adrian (ext)" userId="6e619ce3-2643-4cdf-9a13-b4c269650021" providerId="ADAL" clId="{AFCEEFB0-37BC-48D4-B200-D3706B2CD7FE}" dt="2021-05-26T09:05:39.695" v="29856" actId="164"/>
          <ac:spMkLst>
            <pc:docMk/>
            <pc:sldMk cId="3136735722" sldId="931"/>
            <ac:spMk id="69" creationId="{1F72FDFB-7544-46B8-986C-D7ED0DA95F1D}"/>
          </ac:spMkLst>
        </pc:spChg>
        <pc:spChg chg="add del mod">
          <ac:chgData name="Kisliuk, Adrian (ext)" userId="6e619ce3-2643-4cdf-9a13-b4c269650021" providerId="ADAL" clId="{AFCEEFB0-37BC-48D4-B200-D3706B2CD7FE}" dt="2021-05-26T09:17:14.433" v="30640" actId="2085"/>
          <ac:spMkLst>
            <pc:docMk/>
            <pc:sldMk cId="3136735722" sldId="931"/>
            <ac:spMk id="70" creationId="{EF7B2896-2ACA-4E48-9B3B-D45AB1BB087A}"/>
          </ac:spMkLst>
        </pc:spChg>
        <pc:spChg chg="mod topLvl">
          <ac:chgData name="Kisliuk, Adrian (ext)" userId="6e619ce3-2643-4cdf-9a13-b4c269650021" providerId="ADAL" clId="{AFCEEFB0-37BC-48D4-B200-D3706B2CD7FE}" dt="2021-05-26T09:05:39.924" v="29857" actId="164"/>
          <ac:spMkLst>
            <pc:docMk/>
            <pc:sldMk cId="3136735722" sldId="931"/>
            <ac:spMk id="72" creationId="{B48A4D1C-6816-4026-B308-6DCAED4D46C1}"/>
          </ac:spMkLst>
        </pc:spChg>
        <pc:spChg chg="mod">
          <ac:chgData name="Kisliuk, Adrian (ext)" userId="6e619ce3-2643-4cdf-9a13-b4c269650021" providerId="ADAL" clId="{AFCEEFB0-37BC-48D4-B200-D3706B2CD7FE}" dt="2021-05-26T09:12:25.692" v="30190" actId="207"/>
          <ac:spMkLst>
            <pc:docMk/>
            <pc:sldMk cId="3136735722" sldId="931"/>
            <ac:spMk id="77" creationId="{72B168CB-E0FF-4C8E-9637-AA13876DAB68}"/>
          </ac:spMkLst>
        </pc:spChg>
        <pc:spChg chg="add del mod modVis">
          <ac:chgData name="Kisliuk, Adrian (ext)" userId="6e619ce3-2643-4cdf-9a13-b4c269650021" providerId="ADAL" clId="{AFCEEFB0-37BC-48D4-B200-D3706B2CD7FE}" dt="2021-05-26T09:12:24.861" v="30187" actId="962"/>
          <ac:spMkLst>
            <pc:docMk/>
            <pc:sldMk cId="3136735722" sldId="931"/>
            <ac:spMk id="78" creationId="{CE292E69-9BF6-4498-9ED9-D49577C0E6AE}"/>
          </ac:spMkLst>
        </pc:spChg>
        <pc:spChg chg="add del mod modVis">
          <ac:chgData name="Kisliuk, Adrian (ext)" userId="6e619ce3-2643-4cdf-9a13-b4c269650021" providerId="ADAL" clId="{AFCEEFB0-37BC-48D4-B200-D3706B2CD7FE}" dt="2021-05-26T09:15:37.740" v="30624" actId="962"/>
          <ac:spMkLst>
            <pc:docMk/>
            <pc:sldMk cId="3136735722" sldId="931"/>
            <ac:spMk id="79" creationId="{8F0A60F5-A0F3-405F-84E1-753D172D83A4}"/>
          </ac:spMkLst>
        </pc:spChg>
        <pc:spChg chg="mod topLvl">
          <ac:chgData name="Kisliuk, Adrian (ext)" userId="6e619ce3-2643-4cdf-9a13-b4c269650021" providerId="ADAL" clId="{AFCEEFB0-37BC-48D4-B200-D3706B2CD7FE}" dt="2021-05-26T09:11:30.255" v="29932" actId="164"/>
          <ac:spMkLst>
            <pc:docMk/>
            <pc:sldMk cId="3136735722" sldId="931"/>
            <ac:spMk id="80" creationId="{53C2F809-4460-4609-B8E0-E75972015D50}"/>
          </ac:spMkLst>
        </pc:spChg>
        <pc:spChg chg="add del mod modVis">
          <ac:chgData name="Kisliuk, Adrian (ext)" userId="6e619ce3-2643-4cdf-9a13-b4c269650021" providerId="ADAL" clId="{AFCEEFB0-37BC-48D4-B200-D3706B2CD7FE}" dt="2021-05-26T09:13:37.704" v="30424" actId="962"/>
          <ac:spMkLst>
            <pc:docMk/>
            <pc:sldMk cId="3136735722" sldId="931"/>
            <ac:spMk id="81" creationId="{59A59667-3A19-4DD4-87A1-20C4E97BFB8A}"/>
          </ac:spMkLst>
        </pc:spChg>
        <pc:spChg chg="add del mod modVis">
          <ac:chgData name="Kisliuk, Adrian (ext)" userId="6e619ce3-2643-4cdf-9a13-b4c269650021" providerId="ADAL" clId="{AFCEEFB0-37BC-48D4-B200-D3706B2CD7FE}" dt="2021-05-26T09:15:36.408" v="30570" actId="962"/>
          <ac:spMkLst>
            <pc:docMk/>
            <pc:sldMk cId="3136735722" sldId="931"/>
            <ac:spMk id="86" creationId="{B41BF4D1-CDC0-4639-B8C1-73060A8F4F7A}"/>
          </ac:spMkLst>
        </pc:spChg>
        <pc:spChg chg="add del mod">
          <ac:chgData name="Kisliuk, Adrian (ext)" userId="6e619ce3-2643-4cdf-9a13-b4c269650021" providerId="ADAL" clId="{AFCEEFB0-37BC-48D4-B200-D3706B2CD7FE}" dt="2021-05-26T09:17:37.736" v="30648" actId="478"/>
          <ac:spMkLst>
            <pc:docMk/>
            <pc:sldMk cId="3136735722" sldId="931"/>
            <ac:spMk id="88" creationId="{4ECC9E5E-4485-4675-BE89-19EFF39063D0}"/>
          </ac:spMkLst>
        </pc:spChg>
        <pc:spChg chg="add del mod ord topLvl">
          <ac:chgData name="Kisliuk, Adrian (ext)" userId="6e619ce3-2643-4cdf-9a13-b4c269650021" providerId="ADAL" clId="{AFCEEFB0-37BC-48D4-B200-D3706B2CD7FE}" dt="2021-05-26T09:17:16.407" v="30646" actId="478"/>
          <ac:spMkLst>
            <pc:docMk/>
            <pc:sldMk cId="3136735722" sldId="931"/>
            <ac:spMk id="97" creationId="{C8663F80-9E7C-4F22-BC13-1B804DB7D971}"/>
          </ac:spMkLst>
        </pc:spChg>
        <pc:spChg chg="add del mod">
          <ac:chgData name="Kisliuk, Adrian (ext)" userId="6e619ce3-2643-4cdf-9a13-b4c269650021" providerId="ADAL" clId="{AFCEEFB0-37BC-48D4-B200-D3706B2CD7FE}" dt="2021-05-26T09:17:15.501" v="30644"/>
          <ac:spMkLst>
            <pc:docMk/>
            <pc:sldMk cId="3136735722" sldId="931"/>
            <ac:spMk id="104" creationId="{5262EB48-4358-4C1F-86B4-C4B9DEEF6923}"/>
          </ac:spMkLst>
        </pc:spChg>
        <pc:spChg chg="mod topLvl">
          <ac:chgData name="Kisliuk, Adrian (ext)" userId="6e619ce3-2643-4cdf-9a13-b4c269650021" providerId="ADAL" clId="{AFCEEFB0-37BC-48D4-B200-D3706B2CD7FE}" dt="2021-05-26T09:05:39.512" v="29855" actId="164"/>
          <ac:spMkLst>
            <pc:docMk/>
            <pc:sldMk cId="3136735722" sldId="931"/>
            <ac:spMk id="150" creationId="{0D3AC484-30B0-4887-8C14-60C26F47B057}"/>
          </ac:spMkLst>
        </pc:spChg>
        <pc:spChg chg="mod">
          <ac:chgData name="Kisliuk, Adrian (ext)" userId="6e619ce3-2643-4cdf-9a13-b4c269650021" providerId="ADAL" clId="{AFCEEFB0-37BC-48D4-B200-D3706B2CD7FE}" dt="2021-05-26T09:15:35.269" v="30511" actId="207"/>
          <ac:spMkLst>
            <pc:docMk/>
            <pc:sldMk cId="3136735722" sldId="931"/>
            <ac:spMk id="156" creationId="{6D5B3600-8CA0-4844-A480-E58E6D123A70}"/>
          </ac:spMkLst>
        </pc:spChg>
        <pc:grpChg chg="mod topLvl">
          <ac:chgData name="Kisliuk, Adrian (ext)" userId="6e619ce3-2643-4cdf-9a13-b4c269650021" providerId="ADAL" clId="{AFCEEFB0-37BC-48D4-B200-D3706B2CD7FE}" dt="2021-05-26T09:11:30.255" v="29932" actId="164"/>
          <ac:grpSpMkLst>
            <pc:docMk/>
            <pc:sldMk cId="3136735722" sldId="931"/>
            <ac:grpSpMk id="7" creationId="{41766015-E513-4FCD-A524-DB0549912BF9}"/>
          </ac:grpSpMkLst>
        </pc:grpChg>
        <pc:grpChg chg="add del mod">
          <ac:chgData name="Kisliuk, Adrian (ext)" userId="6e619ce3-2643-4cdf-9a13-b4c269650021" providerId="ADAL" clId="{AFCEEFB0-37BC-48D4-B200-D3706B2CD7FE}" dt="2021-05-26T09:05:52.072" v="29862" actId="478"/>
          <ac:grpSpMkLst>
            <pc:docMk/>
            <pc:sldMk cId="3136735722" sldId="931"/>
            <ac:grpSpMk id="17" creationId="{8F06C91C-FAB5-4DEA-9365-BF5A2E6F5E73}"/>
          </ac:grpSpMkLst>
        </pc:grpChg>
        <pc:grpChg chg="add del mod">
          <ac:chgData name="Kisliuk, Adrian (ext)" userId="6e619ce3-2643-4cdf-9a13-b4c269650021" providerId="ADAL" clId="{AFCEEFB0-37BC-48D4-B200-D3706B2CD7FE}" dt="2021-05-26T09:05:52.072" v="29862" actId="478"/>
          <ac:grpSpMkLst>
            <pc:docMk/>
            <pc:sldMk cId="3136735722" sldId="931"/>
            <ac:grpSpMk id="18" creationId="{E5F09CCC-273E-4914-9601-89A224BDC326}"/>
          </ac:grpSpMkLst>
        </pc:grpChg>
        <pc:grpChg chg="add del mod">
          <ac:chgData name="Kisliuk, Adrian (ext)" userId="6e619ce3-2643-4cdf-9a13-b4c269650021" providerId="ADAL" clId="{AFCEEFB0-37BC-48D4-B200-D3706B2CD7FE}" dt="2021-05-26T09:05:52.072" v="29862" actId="478"/>
          <ac:grpSpMkLst>
            <pc:docMk/>
            <pc:sldMk cId="3136735722" sldId="931"/>
            <ac:grpSpMk id="19" creationId="{F2DA959A-25E8-41C5-AEA6-8E81305E042B}"/>
          </ac:grpSpMkLst>
        </pc:grpChg>
        <pc:grpChg chg="add del mod">
          <ac:chgData name="Kisliuk, Adrian (ext)" userId="6e619ce3-2643-4cdf-9a13-b4c269650021" providerId="ADAL" clId="{AFCEEFB0-37BC-48D4-B200-D3706B2CD7FE}" dt="2021-05-26T09:11:09.235" v="29928" actId="165"/>
          <ac:grpSpMkLst>
            <pc:docMk/>
            <pc:sldMk cId="3136735722" sldId="931"/>
            <ac:grpSpMk id="54" creationId="{45CB23ED-FF15-45B6-8C70-0C19D532648A}"/>
          </ac:grpSpMkLst>
        </pc:grpChg>
        <pc:grpChg chg="add mod ord">
          <ac:chgData name="Kisliuk, Adrian (ext)" userId="6e619ce3-2643-4cdf-9a13-b4c269650021" providerId="ADAL" clId="{AFCEEFB0-37BC-48D4-B200-D3706B2CD7FE}" dt="2021-05-26T09:15:37.509" v="30586"/>
          <ac:grpSpMkLst>
            <pc:docMk/>
            <pc:sldMk cId="3136735722" sldId="931"/>
            <ac:grpSpMk id="55" creationId="{884C5324-83E8-4457-A192-61AFF4D0D4DC}"/>
          </ac:grpSpMkLst>
        </pc:grpChg>
        <pc:grpChg chg="add mod ord">
          <ac:chgData name="Kisliuk, Adrian (ext)" userId="6e619ce3-2643-4cdf-9a13-b4c269650021" providerId="ADAL" clId="{AFCEEFB0-37BC-48D4-B200-D3706B2CD7FE}" dt="2021-05-26T09:15:37.509" v="30586"/>
          <ac:grpSpMkLst>
            <pc:docMk/>
            <pc:sldMk cId="3136735722" sldId="931"/>
            <ac:grpSpMk id="59" creationId="{48B2EECF-28C8-4958-A88C-F236BA788E50}"/>
          </ac:grpSpMkLst>
        </pc:grpChg>
        <pc:grpChg chg="add del mod">
          <ac:chgData name="Kisliuk, Adrian (ext)" userId="6e619ce3-2643-4cdf-9a13-b4c269650021" providerId="ADAL" clId="{AFCEEFB0-37BC-48D4-B200-D3706B2CD7FE}" dt="2021-05-26T09:15:36.569" v="30573" actId="165"/>
          <ac:grpSpMkLst>
            <pc:docMk/>
            <pc:sldMk cId="3136735722" sldId="931"/>
            <ac:grpSpMk id="107" creationId="{8BACA672-E4A0-4210-A1F0-2F516D2D822E}"/>
          </ac:grpSpMkLst>
        </pc:grpChg>
        <pc:grpChg chg="mod ord">
          <ac:chgData name="Kisliuk, Adrian (ext)" userId="6e619ce3-2643-4cdf-9a13-b4c269650021" providerId="ADAL" clId="{AFCEEFB0-37BC-48D4-B200-D3706B2CD7FE}" dt="2021-05-26T09:15:37.509" v="30586"/>
          <ac:grpSpMkLst>
            <pc:docMk/>
            <pc:sldMk cId="3136735722" sldId="931"/>
            <ac:grpSpMk id="157" creationId="{639F09D8-A42F-4364-B2C3-F1608B2341AC}"/>
          </ac:grpSpMkLst>
        </pc:grpChg>
        <pc:grpChg chg="add del mod">
          <ac:chgData name="Kisliuk, Adrian (ext)" userId="6e619ce3-2643-4cdf-9a13-b4c269650021" providerId="ADAL" clId="{AFCEEFB0-37BC-48D4-B200-D3706B2CD7FE}" dt="2021-05-26T09:05:39.343" v="29854" actId="165"/>
          <ac:grpSpMkLst>
            <pc:docMk/>
            <pc:sldMk cId="3136735722" sldId="931"/>
            <ac:grpSpMk id="163" creationId="{13829D68-32AA-44AD-A16C-8A3D480757FE}"/>
          </ac:grpSpMkLst>
        </pc:grpChg>
        <pc:graphicFrameChg chg="mod">
          <ac:chgData name="Kisliuk, Adrian (ext)" userId="6e619ce3-2643-4cdf-9a13-b4c269650021" providerId="ADAL" clId="{AFCEEFB0-37BC-48D4-B200-D3706B2CD7FE}" dt="2021-05-26T09:15:37.725" v="30589" actId="1076"/>
          <ac:graphicFrameMkLst>
            <pc:docMk/>
            <pc:sldMk cId="3136735722" sldId="931"/>
            <ac:graphicFrameMk id="45" creationId="{249ACC2C-4245-439C-935F-45259A18C20A}"/>
          </ac:graphicFrameMkLst>
        </pc:graphicFrameChg>
        <pc:picChg chg="mod ord topLvl">
          <ac:chgData name="Kisliuk, Adrian (ext)" userId="6e619ce3-2643-4cdf-9a13-b4c269650021" providerId="ADAL" clId="{AFCEEFB0-37BC-48D4-B200-D3706B2CD7FE}" dt="2021-05-26T09:15:36.569" v="30573" actId="165"/>
          <ac:picMkLst>
            <pc:docMk/>
            <pc:sldMk cId="3136735722" sldId="931"/>
            <ac:picMk id="38" creationId="{256570E5-C911-47F7-A976-98D1630AFAC8}"/>
          </ac:picMkLst>
        </pc:picChg>
        <pc:picChg chg="mod ord topLvl">
          <ac:chgData name="Kisliuk, Adrian (ext)" userId="6e619ce3-2643-4cdf-9a13-b4c269650021" providerId="ADAL" clId="{AFCEEFB0-37BC-48D4-B200-D3706B2CD7FE}" dt="2021-05-26T09:15:36.569" v="30573" actId="165"/>
          <ac:picMkLst>
            <pc:docMk/>
            <pc:sldMk cId="3136735722" sldId="931"/>
            <ac:picMk id="39" creationId="{EA7E8D05-F39B-48D8-AD80-24C27C6E470D}"/>
          </ac:picMkLst>
        </pc:picChg>
        <pc:picChg chg="mod topLvl">
          <ac:chgData name="Kisliuk, Adrian (ext)" userId="6e619ce3-2643-4cdf-9a13-b4c269650021" providerId="ADAL" clId="{AFCEEFB0-37BC-48D4-B200-D3706B2CD7FE}" dt="2021-05-26T09:15:36.569" v="30573" actId="165"/>
          <ac:picMkLst>
            <pc:docMk/>
            <pc:sldMk cId="3136735722" sldId="931"/>
            <ac:picMk id="49" creationId="{33DC515C-7C44-4B90-AF89-433E4FE763E8}"/>
          </ac:picMkLst>
        </pc:picChg>
        <pc:picChg chg="mod topLvl">
          <ac:chgData name="Kisliuk, Adrian (ext)" userId="6e619ce3-2643-4cdf-9a13-b4c269650021" providerId="ADAL" clId="{AFCEEFB0-37BC-48D4-B200-D3706B2CD7FE}" dt="2021-05-26T09:15:36.569" v="30573" actId="165"/>
          <ac:picMkLst>
            <pc:docMk/>
            <pc:sldMk cId="3136735722" sldId="931"/>
            <ac:picMk id="50" creationId="{F3EFB0F5-B62C-49C8-9879-2D62DDB7D8E3}"/>
          </ac:picMkLst>
        </pc:picChg>
        <pc:picChg chg="mod topLvl">
          <ac:chgData name="Kisliuk, Adrian (ext)" userId="6e619ce3-2643-4cdf-9a13-b4c269650021" providerId="ADAL" clId="{AFCEEFB0-37BC-48D4-B200-D3706B2CD7FE}" dt="2021-05-26T09:15:36.569" v="30573" actId="165"/>
          <ac:picMkLst>
            <pc:docMk/>
            <pc:sldMk cId="3136735722" sldId="931"/>
            <ac:picMk id="51" creationId="{49981026-8763-4B51-B535-1BCFB5E16A3A}"/>
          </ac:picMkLst>
        </pc:picChg>
        <pc:picChg chg="mod">
          <ac:chgData name="Kisliuk, Adrian (ext)" userId="6e619ce3-2643-4cdf-9a13-b4c269650021" providerId="ADAL" clId="{AFCEEFB0-37BC-48D4-B200-D3706B2CD7FE}" dt="2021-05-26T09:11:09.235" v="29928" actId="165"/>
          <ac:picMkLst>
            <pc:docMk/>
            <pc:sldMk cId="3136735722" sldId="931"/>
            <ac:picMk id="58" creationId="{B53EB35B-245B-4717-9D9F-90E72710A1DD}"/>
          </ac:picMkLst>
        </pc:picChg>
        <pc:picChg chg="mod">
          <ac:chgData name="Kisliuk, Adrian (ext)" userId="6e619ce3-2643-4cdf-9a13-b4c269650021" providerId="ADAL" clId="{AFCEEFB0-37BC-48D4-B200-D3706B2CD7FE}" dt="2021-05-26T09:12:25.692" v="30190" actId="207"/>
          <ac:picMkLst>
            <pc:docMk/>
            <pc:sldMk cId="3136735722" sldId="931"/>
            <ac:picMk id="60" creationId="{5B69DC60-1A4F-422C-9C71-CE38DAC8EE46}"/>
          </ac:picMkLst>
        </pc:picChg>
        <pc:picChg chg="mod">
          <ac:chgData name="Kisliuk, Adrian (ext)" userId="6e619ce3-2643-4cdf-9a13-b4c269650021" providerId="ADAL" clId="{AFCEEFB0-37BC-48D4-B200-D3706B2CD7FE}" dt="2021-05-26T09:12:25.692" v="30190" actId="207"/>
          <ac:picMkLst>
            <pc:docMk/>
            <pc:sldMk cId="3136735722" sldId="931"/>
            <ac:picMk id="61" creationId="{CED09A75-DD46-40BF-87BB-9FC52367499D}"/>
          </ac:picMkLst>
        </pc:picChg>
        <pc:picChg chg="mod">
          <ac:chgData name="Kisliuk, Adrian (ext)" userId="6e619ce3-2643-4cdf-9a13-b4c269650021" providerId="ADAL" clId="{AFCEEFB0-37BC-48D4-B200-D3706B2CD7FE}" dt="2021-05-26T09:12:25.692" v="30190" actId="207"/>
          <ac:picMkLst>
            <pc:docMk/>
            <pc:sldMk cId="3136735722" sldId="931"/>
            <ac:picMk id="62" creationId="{4D435643-1745-4B59-954C-0EB9DF7655C2}"/>
          </ac:picMkLst>
        </pc:picChg>
        <pc:picChg chg="mod ord topLvl">
          <ac:chgData name="Kisliuk, Adrian (ext)" userId="6e619ce3-2643-4cdf-9a13-b4c269650021" providerId="ADAL" clId="{AFCEEFB0-37BC-48D4-B200-D3706B2CD7FE}" dt="2021-05-26T09:15:36.569" v="30573" actId="165"/>
          <ac:picMkLst>
            <pc:docMk/>
            <pc:sldMk cId="3136735722" sldId="931"/>
            <ac:picMk id="67" creationId="{6FE02B7E-2072-4C1E-B712-6DFF68BDD9E3}"/>
          </ac:picMkLst>
        </pc:picChg>
        <pc:picChg chg="mod topLvl">
          <ac:chgData name="Kisliuk, Adrian (ext)" userId="6e619ce3-2643-4cdf-9a13-b4c269650021" providerId="ADAL" clId="{AFCEEFB0-37BC-48D4-B200-D3706B2CD7FE}" dt="2021-05-26T09:05:39.512" v="29855" actId="164"/>
          <ac:picMkLst>
            <pc:docMk/>
            <pc:sldMk cId="3136735722" sldId="931"/>
            <ac:picMk id="119" creationId="{79249960-90F4-40B9-B694-A5E00627EC0D}"/>
          </ac:picMkLst>
        </pc:picChg>
        <pc:picChg chg="mod topLvl">
          <ac:chgData name="Kisliuk, Adrian (ext)" userId="6e619ce3-2643-4cdf-9a13-b4c269650021" providerId="ADAL" clId="{AFCEEFB0-37BC-48D4-B200-D3706B2CD7FE}" dt="2021-05-26T09:05:39.924" v="29857" actId="164"/>
          <ac:picMkLst>
            <pc:docMk/>
            <pc:sldMk cId="3136735722" sldId="931"/>
            <ac:picMk id="121" creationId="{65718ECB-1A21-4DC3-AB57-AE907FC5AD89}"/>
          </ac:picMkLst>
        </pc:picChg>
        <pc:picChg chg="mod topLvl">
          <ac:chgData name="Kisliuk, Adrian (ext)" userId="6e619ce3-2643-4cdf-9a13-b4c269650021" providerId="ADAL" clId="{AFCEEFB0-37BC-48D4-B200-D3706B2CD7FE}" dt="2021-05-26T09:05:39.695" v="29856" actId="164"/>
          <ac:picMkLst>
            <pc:docMk/>
            <pc:sldMk cId="3136735722" sldId="931"/>
            <ac:picMk id="129" creationId="{BDDD1A73-3A01-4CFC-B49A-4CB7A0BBA115}"/>
          </ac:picMkLst>
        </pc:picChg>
        <pc:picChg chg="mod">
          <ac:chgData name="Kisliuk, Adrian (ext)" userId="6e619ce3-2643-4cdf-9a13-b4c269650021" providerId="ADAL" clId="{AFCEEFB0-37BC-48D4-B200-D3706B2CD7FE}" dt="2021-05-26T09:15:35.269" v="30511" actId="207"/>
          <ac:picMkLst>
            <pc:docMk/>
            <pc:sldMk cId="3136735722" sldId="931"/>
            <ac:picMk id="155" creationId="{380A12CF-68DA-4618-9AEB-7F6D83ED0518}"/>
          </ac:picMkLst>
        </pc:picChg>
        <pc:cxnChg chg="add del mod">
          <ac:chgData name="Kisliuk, Adrian (ext)" userId="6e619ce3-2643-4cdf-9a13-b4c269650021" providerId="ADAL" clId="{AFCEEFB0-37BC-48D4-B200-D3706B2CD7FE}" dt="2021-05-26T09:06:51.018" v="29870" actId="478"/>
          <ac:cxnSpMkLst>
            <pc:docMk/>
            <pc:sldMk cId="3136735722" sldId="931"/>
            <ac:cxnSpMk id="23" creationId="{B5C38F7E-90D5-4DBB-BD8F-FFF5D860CB39}"/>
          </ac:cxnSpMkLst>
        </pc:cxnChg>
        <pc:cxnChg chg="mod">
          <ac:chgData name="Kisliuk, Adrian (ext)" userId="6e619ce3-2643-4cdf-9a13-b4c269650021" providerId="ADAL" clId="{AFCEEFB0-37BC-48D4-B200-D3706B2CD7FE}" dt="2021-05-26T09:12:25.692" v="30190" actId="207"/>
          <ac:cxnSpMkLst>
            <pc:docMk/>
            <pc:sldMk cId="3136735722" sldId="931"/>
            <ac:cxnSpMk id="63" creationId="{9B69FC55-2317-48C8-873E-1C970A9B2BB1}"/>
          </ac:cxnSpMkLst>
        </pc:cxnChg>
        <pc:cxnChg chg="del mod">
          <ac:chgData name="Kisliuk, Adrian (ext)" userId="6e619ce3-2643-4cdf-9a13-b4c269650021" providerId="ADAL" clId="{AFCEEFB0-37BC-48D4-B200-D3706B2CD7FE}" dt="2021-05-26T09:08:31.460" v="29890" actId="478"/>
          <ac:cxnSpMkLst>
            <pc:docMk/>
            <pc:sldMk cId="3136735722" sldId="931"/>
            <ac:cxnSpMk id="71" creationId="{04F7B6B1-013B-4408-A8BB-DBFCEB5D7E66}"/>
          </ac:cxnSpMkLst>
        </pc:cxnChg>
        <pc:cxnChg chg="del mod">
          <ac:chgData name="Kisliuk, Adrian (ext)" userId="6e619ce3-2643-4cdf-9a13-b4c269650021" providerId="ADAL" clId="{AFCEEFB0-37BC-48D4-B200-D3706B2CD7FE}" dt="2021-05-26T09:08:33.727" v="29891" actId="478"/>
          <ac:cxnSpMkLst>
            <pc:docMk/>
            <pc:sldMk cId="3136735722" sldId="931"/>
            <ac:cxnSpMk id="73" creationId="{C461260F-E9B7-4B54-AB4A-C3EB84594C19}"/>
          </ac:cxnSpMkLst>
        </pc:cxnChg>
        <pc:cxnChg chg="add del mod">
          <ac:chgData name="Kisliuk, Adrian (ext)" userId="6e619ce3-2643-4cdf-9a13-b4c269650021" providerId="ADAL" clId="{AFCEEFB0-37BC-48D4-B200-D3706B2CD7FE}" dt="2021-05-26T09:08:45.379" v="29896" actId="478"/>
          <ac:cxnSpMkLst>
            <pc:docMk/>
            <pc:sldMk cId="3136735722" sldId="931"/>
            <ac:cxnSpMk id="74" creationId="{CB95FDE1-0235-423C-B0A9-76B6DCFCD9BD}"/>
          </ac:cxnSpMkLst>
        </pc:cxnChg>
        <pc:cxnChg chg="mod">
          <ac:chgData name="Kisliuk, Adrian (ext)" userId="6e619ce3-2643-4cdf-9a13-b4c269650021" providerId="ADAL" clId="{AFCEEFB0-37BC-48D4-B200-D3706B2CD7FE}" dt="2021-05-26T09:12:25.692" v="30190" actId="207"/>
          <ac:cxnSpMkLst>
            <pc:docMk/>
            <pc:sldMk cId="3136735722" sldId="931"/>
            <ac:cxnSpMk id="75" creationId="{CE13D48D-DF47-4C91-8625-37C57663D472}"/>
          </ac:cxnSpMkLst>
        </pc:cxnChg>
        <pc:cxnChg chg="mod">
          <ac:chgData name="Kisliuk, Adrian (ext)" userId="6e619ce3-2643-4cdf-9a13-b4c269650021" providerId="ADAL" clId="{AFCEEFB0-37BC-48D4-B200-D3706B2CD7FE}" dt="2021-05-26T09:12:25.692" v="30190" actId="207"/>
          <ac:cxnSpMkLst>
            <pc:docMk/>
            <pc:sldMk cId="3136735722" sldId="931"/>
            <ac:cxnSpMk id="76" creationId="{63F6CF29-2F1D-4CE6-82C7-78485580D555}"/>
          </ac:cxnSpMkLst>
        </pc:cxnChg>
        <pc:cxnChg chg="del mod topLvl">
          <ac:chgData name="Kisliuk, Adrian (ext)" userId="6e619ce3-2643-4cdf-9a13-b4c269650021" providerId="ADAL" clId="{AFCEEFB0-37BC-48D4-B200-D3706B2CD7FE}" dt="2021-05-26T09:05:52.072" v="29862" actId="478"/>
          <ac:cxnSpMkLst>
            <pc:docMk/>
            <pc:sldMk cId="3136735722" sldId="931"/>
            <ac:cxnSpMk id="82" creationId="{33A30B93-4D79-453E-A192-BA19EC4F14D6}"/>
          </ac:cxnSpMkLst>
        </pc:cxnChg>
        <pc:cxnChg chg="del mod topLvl">
          <ac:chgData name="Kisliuk, Adrian (ext)" userId="6e619ce3-2643-4cdf-9a13-b4c269650021" providerId="ADAL" clId="{AFCEEFB0-37BC-48D4-B200-D3706B2CD7FE}" dt="2021-05-26T09:05:52.072" v="29862" actId="478"/>
          <ac:cxnSpMkLst>
            <pc:docMk/>
            <pc:sldMk cId="3136735722" sldId="931"/>
            <ac:cxnSpMk id="83" creationId="{8BAA5FF4-3A23-4BB2-A151-87D8C3ADE460}"/>
          </ac:cxnSpMkLst>
        </pc:cxnChg>
        <pc:cxnChg chg="add mod ord">
          <ac:chgData name="Kisliuk, Adrian (ext)" userId="6e619ce3-2643-4cdf-9a13-b4c269650021" providerId="ADAL" clId="{AFCEEFB0-37BC-48D4-B200-D3706B2CD7FE}" dt="2021-05-26T09:16:53.573" v="30638" actId="478"/>
          <ac:cxnSpMkLst>
            <pc:docMk/>
            <pc:sldMk cId="3136735722" sldId="931"/>
            <ac:cxnSpMk id="84" creationId="{3993D247-F036-4BC4-AE5F-695913544D34}"/>
          </ac:cxnSpMkLst>
        </pc:cxnChg>
        <pc:cxnChg chg="del mod topLvl">
          <ac:chgData name="Kisliuk, Adrian (ext)" userId="6e619ce3-2643-4cdf-9a13-b4c269650021" providerId="ADAL" clId="{AFCEEFB0-37BC-48D4-B200-D3706B2CD7FE}" dt="2021-05-26T09:05:52.072" v="29862" actId="478"/>
          <ac:cxnSpMkLst>
            <pc:docMk/>
            <pc:sldMk cId="3136735722" sldId="931"/>
            <ac:cxnSpMk id="87" creationId="{83AFE746-6FE9-40DC-A404-509172C06106}"/>
          </ac:cxnSpMkLst>
        </pc:cxnChg>
        <pc:cxnChg chg="mod ord">
          <ac:chgData name="Kisliuk, Adrian (ext)" userId="6e619ce3-2643-4cdf-9a13-b4c269650021" providerId="ADAL" clId="{AFCEEFB0-37BC-48D4-B200-D3706B2CD7FE}" dt="2021-05-26T09:17:16.407" v="30646" actId="478"/>
          <ac:cxnSpMkLst>
            <pc:docMk/>
            <pc:sldMk cId="3136735722" sldId="931"/>
            <ac:cxnSpMk id="98" creationId="{879994A3-A812-495D-8128-70FD15CDFBE5}"/>
          </ac:cxnSpMkLst>
        </pc:cxnChg>
        <pc:cxnChg chg="del mod">
          <ac:chgData name="Kisliuk, Adrian (ext)" userId="6e619ce3-2643-4cdf-9a13-b4c269650021" providerId="ADAL" clId="{AFCEEFB0-37BC-48D4-B200-D3706B2CD7FE}" dt="2021-05-26T09:06:56.126" v="29872" actId="478"/>
          <ac:cxnSpMkLst>
            <pc:docMk/>
            <pc:sldMk cId="3136735722" sldId="931"/>
            <ac:cxnSpMk id="102" creationId="{927E4E31-06DC-4CE0-B109-574E0013E74A}"/>
          </ac:cxnSpMkLst>
        </pc:cxnChg>
        <pc:cxnChg chg="del mod topLvl">
          <ac:chgData name="Kisliuk, Adrian (ext)" userId="6e619ce3-2643-4cdf-9a13-b4c269650021" providerId="ADAL" clId="{AFCEEFB0-37BC-48D4-B200-D3706B2CD7FE}" dt="2021-05-26T09:05:52.072" v="29862" actId="478"/>
          <ac:cxnSpMkLst>
            <pc:docMk/>
            <pc:sldMk cId="3136735722" sldId="931"/>
            <ac:cxnSpMk id="133" creationId="{8A6BA531-BCF9-451C-A532-BAFF0422FE34}"/>
          </ac:cxnSpMkLst>
        </pc:cxnChg>
        <pc:cxnChg chg="del mod topLvl">
          <ac:chgData name="Kisliuk, Adrian (ext)" userId="6e619ce3-2643-4cdf-9a13-b4c269650021" providerId="ADAL" clId="{AFCEEFB0-37BC-48D4-B200-D3706B2CD7FE}" dt="2021-05-26T09:05:52.072" v="29862" actId="478"/>
          <ac:cxnSpMkLst>
            <pc:docMk/>
            <pc:sldMk cId="3136735722" sldId="931"/>
            <ac:cxnSpMk id="137" creationId="{EB481F6C-ADA2-412B-9815-5039201A1E76}"/>
          </ac:cxnSpMkLst>
        </pc:cxnChg>
        <pc:cxnChg chg="del mod topLvl">
          <ac:chgData name="Kisliuk, Adrian (ext)" userId="6e619ce3-2643-4cdf-9a13-b4c269650021" providerId="ADAL" clId="{AFCEEFB0-37BC-48D4-B200-D3706B2CD7FE}" dt="2021-05-26T09:05:52.072" v="29862" actId="478"/>
          <ac:cxnSpMkLst>
            <pc:docMk/>
            <pc:sldMk cId="3136735722" sldId="931"/>
            <ac:cxnSpMk id="140" creationId="{CEFEE7A8-ACA0-499D-B0E1-768EB2251DBD}"/>
          </ac:cxnSpMkLst>
        </pc:cxnChg>
      </pc:sldChg>
      <pc:sldChg chg="modSp add del mod">
        <pc:chgData name="Kisliuk, Adrian (ext)" userId="6e619ce3-2643-4cdf-9a13-b4c269650021" providerId="ADAL" clId="{AFCEEFB0-37BC-48D4-B200-D3706B2CD7FE}" dt="2021-05-26T09:22:27.682" v="30661" actId="47"/>
        <pc:sldMkLst>
          <pc:docMk/>
          <pc:sldMk cId="257404617" sldId="932"/>
        </pc:sldMkLst>
        <pc:graphicFrameChg chg="mod">
          <ac:chgData name="Kisliuk, Adrian (ext)" userId="6e619ce3-2643-4cdf-9a13-b4c269650021" providerId="ADAL" clId="{AFCEEFB0-37BC-48D4-B200-D3706B2CD7FE}" dt="2021-05-26T09:22:19.140" v="30656" actId="1076"/>
          <ac:graphicFrameMkLst>
            <pc:docMk/>
            <pc:sldMk cId="257404617" sldId="932"/>
            <ac:graphicFrameMk id="45" creationId="{249ACC2C-4245-439C-935F-45259A18C20A}"/>
          </ac:graphicFrameMkLst>
        </pc:graphicFrameChg>
      </pc:sldChg>
      <pc:sldChg chg="modSp add del mod">
        <pc:chgData name="Kisliuk, Adrian (ext)" userId="6e619ce3-2643-4cdf-9a13-b4c269650021" providerId="ADAL" clId="{AFCEEFB0-37BC-48D4-B200-D3706B2CD7FE}" dt="2021-05-26T09:22:26.748" v="30660" actId="47"/>
        <pc:sldMkLst>
          <pc:docMk/>
          <pc:sldMk cId="1334830856" sldId="933"/>
        </pc:sldMkLst>
        <pc:graphicFrameChg chg="mod">
          <ac:chgData name="Kisliuk, Adrian (ext)" userId="6e619ce3-2643-4cdf-9a13-b4c269650021" providerId="ADAL" clId="{AFCEEFB0-37BC-48D4-B200-D3706B2CD7FE}" dt="2021-05-26T09:22:19.188" v="30659"/>
          <ac:graphicFrameMkLst>
            <pc:docMk/>
            <pc:sldMk cId="1334830856" sldId="933"/>
            <ac:graphicFrameMk id="45" creationId="{249ACC2C-4245-439C-935F-45259A18C20A}"/>
          </ac:graphicFrameMkLst>
        </pc:graphicFrameChg>
      </pc:sldChg>
      <pc:sldMasterChg chg="addSp delSp modSp mod addSldLayout delSldLayout modSldLayout">
        <pc:chgData name="Kisliuk, Adrian (ext)" userId="6e619ce3-2643-4cdf-9a13-b4c269650021" providerId="ADAL" clId="{AFCEEFB0-37BC-48D4-B200-D3706B2CD7FE}" dt="2021-04-26T08:16:47.336" v="25270" actId="47"/>
        <pc:sldMasterMkLst>
          <pc:docMk/>
          <pc:sldMasterMk cId="792883523" sldId="2147483648"/>
        </pc:sldMasterMkLst>
        <pc:spChg chg="mod">
          <ac:chgData name="Kisliuk, Adrian (ext)" userId="6e619ce3-2643-4cdf-9a13-b4c269650021" providerId="ADAL" clId="{AFCEEFB0-37BC-48D4-B200-D3706B2CD7FE}" dt="2021-04-21T12:24:40.510" v="20183" actId="948"/>
          <ac:spMkLst>
            <pc:docMk/>
            <pc:sldMasterMk cId="792883523" sldId="2147483648"/>
            <ac:spMk id="2" creationId="{00000000-0000-0000-0000-000000000000}"/>
          </ac:spMkLst>
        </pc:spChg>
        <pc:spChg chg="mod">
          <ac:chgData name="Kisliuk, Adrian (ext)" userId="6e619ce3-2643-4cdf-9a13-b4c269650021" providerId="ADAL" clId="{AFCEEFB0-37BC-48D4-B200-D3706B2CD7FE}" dt="2021-04-21T12:25:55.295" v="20254" actId="14100"/>
          <ac:spMkLst>
            <pc:docMk/>
            <pc:sldMasterMk cId="792883523" sldId="2147483648"/>
            <ac:spMk id="3" creationId="{00000000-0000-0000-0000-000000000000}"/>
          </ac:spMkLst>
        </pc:spChg>
        <pc:spChg chg="add del mod modVis">
          <ac:chgData name="Kisliuk, Adrian (ext)" userId="6e619ce3-2643-4cdf-9a13-b4c269650021" providerId="ADAL" clId="{AFCEEFB0-37BC-48D4-B200-D3706B2CD7FE}" dt="2021-04-21T12:24:34.291" v="20138"/>
          <ac:spMkLst>
            <pc:docMk/>
            <pc:sldMasterMk cId="792883523" sldId="2147483648"/>
            <ac:spMk id="5" creationId="{95E931A1-6C83-45E5-B6C9-645A4BC94B3F}"/>
          </ac:spMkLst>
        </pc:spChg>
        <pc:spChg chg="add del mod modVis">
          <ac:chgData name="Kisliuk, Adrian (ext)" userId="6e619ce3-2643-4cdf-9a13-b4c269650021" providerId="ADAL" clId="{AFCEEFB0-37BC-48D4-B200-D3706B2CD7FE}" dt="2021-04-21T12:24:35.160" v="20179"/>
          <ac:spMkLst>
            <pc:docMk/>
            <pc:sldMasterMk cId="792883523" sldId="2147483648"/>
            <ac:spMk id="6" creationId="{DBF9DEB8-3C50-4724-9F3E-305CC52C56E1}"/>
          </ac:spMkLst>
        </pc:spChg>
        <pc:spChg chg="add del mod modVis">
          <ac:chgData name="Kisliuk, Adrian (ext)" userId="6e619ce3-2643-4cdf-9a13-b4c269650021" providerId="ADAL" clId="{AFCEEFB0-37BC-48D4-B200-D3706B2CD7FE}" dt="2021-04-21T12:24:40.528" v="20220"/>
          <ac:spMkLst>
            <pc:docMk/>
            <pc:sldMasterMk cId="792883523" sldId="2147483648"/>
            <ac:spMk id="7" creationId="{1D43C57E-7F84-49BC-BBD5-919E7928E686}"/>
          </ac:spMkLst>
        </pc:spChg>
        <pc:spChg chg="add del">
          <ac:chgData name="Kisliuk, Adrian (ext)" userId="6e619ce3-2643-4cdf-9a13-b4c269650021" providerId="ADAL" clId="{AFCEEFB0-37BC-48D4-B200-D3706B2CD7FE}" dt="2021-04-21T12:24:43.094" v="20223" actId="478"/>
          <ac:spMkLst>
            <pc:docMk/>
            <pc:sldMasterMk cId="792883523" sldId="2147483648"/>
            <ac:spMk id="52" creationId="{8623415F-5A9F-4DD2-B971-BF224D1AB1E7}"/>
          </ac:spMkLst>
        </pc:spChg>
        <pc:graphicFrameChg chg="mod">
          <ac:chgData name="Kisliuk, Adrian (ext)" userId="6e619ce3-2643-4cdf-9a13-b4c269650021" providerId="ADAL" clId="{AFCEEFB0-37BC-48D4-B200-D3706B2CD7FE}" dt="2021-04-21T12:24:40.528" v="20222"/>
          <ac:graphicFrameMkLst>
            <pc:docMk/>
            <pc:sldMasterMk cId="792883523" sldId="2147483648"/>
            <ac:graphicFrameMk id="4" creationId="{00000000-0000-0000-0000-000000000000}"/>
          </ac:graphicFrameMkLst>
        </pc:graphicFrameChg>
        <pc:sldLayoutChg chg="del">
          <pc:chgData name="Kisliuk, Adrian (ext)" userId="6e619ce3-2643-4cdf-9a13-b4c269650021" providerId="ADAL" clId="{AFCEEFB0-37BC-48D4-B200-D3706B2CD7FE}" dt="2021-04-21T12:27:41.667" v="20404" actId="2696"/>
          <pc:sldLayoutMkLst>
            <pc:docMk/>
            <pc:sldMasterMk cId="792883523" sldId="2147483648"/>
            <pc:sldLayoutMk cId="1590086391" sldId="2147483656"/>
          </pc:sldLayoutMkLst>
        </pc:sldLayoutChg>
        <pc:sldLayoutChg chg="addSp delSp modSp del mod">
          <pc:chgData name="Kisliuk, Adrian (ext)" userId="6e619ce3-2643-4cdf-9a13-b4c269650021" providerId="ADAL" clId="{AFCEEFB0-37BC-48D4-B200-D3706B2CD7FE}" dt="2021-04-21T12:43:22.855" v="20546" actId="2696"/>
          <pc:sldLayoutMkLst>
            <pc:docMk/>
            <pc:sldMasterMk cId="792883523" sldId="2147483648"/>
            <pc:sldLayoutMk cId="4070037081" sldId="2147483657"/>
          </pc:sldLayoutMkLst>
          <pc:spChg chg="add del mod">
            <ac:chgData name="Kisliuk, Adrian (ext)" userId="6e619ce3-2643-4cdf-9a13-b4c269650021" providerId="ADAL" clId="{AFCEEFB0-37BC-48D4-B200-D3706B2CD7FE}" dt="2021-04-21T12:27:39.200" v="20401" actId="478"/>
            <ac:spMkLst>
              <pc:docMk/>
              <pc:sldMasterMk cId="792883523" sldId="2147483648"/>
              <pc:sldLayoutMk cId="4070037081" sldId="2147483657"/>
              <ac:spMk id="5" creationId="{D67B80D4-6A89-4CEE-8A43-4BC6040745BF}"/>
            </ac:spMkLst>
          </pc:spChg>
          <pc:spChg chg="add del mod">
            <ac:chgData name="Kisliuk, Adrian (ext)" userId="6e619ce3-2643-4cdf-9a13-b4c269650021" providerId="ADAL" clId="{AFCEEFB0-37BC-48D4-B200-D3706B2CD7FE}" dt="2021-04-21T12:27:39.200" v="20401" actId="478"/>
            <ac:spMkLst>
              <pc:docMk/>
              <pc:sldMasterMk cId="792883523" sldId="2147483648"/>
              <pc:sldLayoutMk cId="4070037081" sldId="2147483657"/>
              <ac:spMk id="6" creationId="{644CF921-801C-4128-9E6F-63618D687DBF}"/>
            </ac:spMkLst>
          </pc:spChg>
          <pc:spChg chg="del">
            <ac:chgData name="Kisliuk, Adrian (ext)" userId="6e619ce3-2643-4cdf-9a13-b4c269650021" providerId="ADAL" clId="{AFCEEFB0-37BC-48D4-B200-D3706B2CD7FE}" dt="2021-04-21T12:27:33.748" v="20383" actId="478"/>
            <ac:spMkLst>
              <pc:docMk/>
              <pc:sldMasterMk cId="792883523" sldId="2147483648"/>
              <pc:sldLayoutMk cId="4070037081" sldId="2147483657"/>
              <ac:spMk id="8" creationId="{0237D11F-1AC0-46B5-8679-9AB4FE6CE40A}"/>
            </ac:spMkLst>
          </pc:spChg>
          <pc:spChg chg="del">
            <ac:chgData name="Kisliuk, Adrian (ext)" userId="6e619ce3-2643-4cdf-9a13-b4c269650021" providerId="ADAL" clId="{AFCEEFB0-37BC-48D4-B200-D3706B2CD7FE}" dt="2021-04-21T12:27:35.975" v="20399" actId="478"/>
            <ac:spMkLst>
              <pc:docMk/>
              <pc:sldMasterMk cId="792883523" sldId="2147483648"/>
              <pc:sldLayoutMk cId="4070037081" sldId="2147483657"/>
              <ac:spMk id="9" creationId="{6B12F3A8-C096-4AE4-AB50-71DB35029B0E}"/>
            </ac:spMkLst>
          </pc:spChg>
          <pc:graphicFrameChg chg="add mod ord modVis">
            <ac:chgData name="Kisliuk, Adrian (ext)" userId="6e619ce3-2643-4cdf-9a13-b4c269650021" providerId="ADAL" clId="{AFCEEFB0-37BC-48D4-B200-D3706B2CD7FE}" dt="2021-04-21T12:27:39.716" v="20403"/>
            <ac:graphicFrameMkLst>
              <pc:docMk/>
              <pc:sldMasterMk cId="792883523" sldId="2147483648"/>
              <pc:sldLayoutMk cId="4070037081" sldId="2147483657"/>
              <ac:graphicFrameMk id="2" creationId="{A7AE0114-1A0C-4689-8650-5D147039D3B6}"/>
            </ac:graphicFrameMkLst>
          </pc:graphicFrameChg>
        </pc:sldLayoutChg>
        <pc:sldLayoutChg chg="addSp delSp modSp mod">
          <pc:chgData name="Kisliuk, Adrian (ext)" userId="6e619ce3-2643-4cdf-9a13-b4c269650021" providerId="ADAL" clId="{AFCEEFB0-37BC-48D4-B200-D3706B2CD7FE}" dt="2021-04-21T12:26:05.511" v="20260"/>
          <pc:sldLayoutMkLst>
            <pc:docMk/>
            <pc:sldMasterMk cId="792883523" sldId="2147483648"/>
            <pc:sldLayoutMk cId="3748291341" sldId="2147483658"/>
          </pc:sldLayoutMkLst>
          <pc:spChg chg="add del mod">
            <ac:chgData name="Kisliuk, Adrian (ext)" userId="6e619ce3-2643-4cdf-9a13-b4c269650021" providerId="ADAL" clId="{AFCEEFB0-37BC-48D4-B200-D3706B2CD7FE}" dt="2021-04-21T12:25:32.461" v="20227"/>
            <ac:spMkLst>
              <pc:docMk/>
              <pc:sldMasterMk cId="792883523" sldId="2147483648"/>
              <pc:sldLayoutMk cId="3748291341" sldId="2147483658"/>
              <ac:spMk id="7" creationId="{827650D1-E478-46A6-A984-206ED32BA890}"/>
            </ac:spMkLst>
          </pc:spChg>
          <pc:spChg chg="add del mod">
            <ac:chgData name="Kisliuk, Adrian (ext)" userId="6e619ce3-2643-4cdf-9a13-b4c269650021" providerId="ADAL" clId="{AFCEEFB0-37BC-48D4-B200-D3706B2CD7FE}" dt="2021-04-21T12:25:32.461" v="20227"/>
            <ac:spMkLst>
              <pc:docMk/>
              <pc:sldMasterMk cId="792883523" sldId="2147483648"/>
              <pc:sldLayoutMk cId="3748291341" sldId="2147483658"/>
              <ac:spMk id="8" creationId="{6F32EB7D-120E-49DA-B02E-962A365C7E0A}"/>
            </ac:spMkLst>
          </pc:spChg>
          <pc:spChg chg="add del">
            <ac:chgData name="Kisliuk, Adrian (ext)" userId="6e619ce3-2643-4cdf-9a13-b4c269650021" providerId="ADAL" clId="{AFCEEFB0-37BC-48D4-B200-D3706B2CD7FE}" dt="2021-04-21T12:26:02.553" v="20256" actId="478"/>
            <ac:spMkLst>
              <pc:docMk/>
              <pc:sldMasterMk cId="792883523" sldId="2147483648"/>
              <pc:sldLayoutMk cId="3748291341" sldId="2147483658"/>
              <ac:spMk id="9" creationId="{E5F59B36-8E80-41C9-B1FA-BF832B0AC82C}"/>
            </ac:spMkLst>
          </pc:spChg>
          <pc:spChg chg="add del mod">
            <ac:chgData name="Kisliuk, Adrian (ext)" userId="6e619ce3-2643-4cdf-9a13-b4c269650021" providerId="ADAL" clId="{AFCEEFB0-37BC-48D4-B200-D3706B2CD7FE}" dt="2021-04-21T12:25:41.933" v="20233"/>
            <ac:spMkLst>
              <pc:docMk/>
              <pc:sldMasterMk cId="792883523" sldId="2147483648"/>
              <pc:sldLayoutMk cId="3748291341" sldId="2147483658"/>
              <ac:spMk id="10" creationId="{2F9CDD4C-2604-43C8-AAC2-0A3BC8C03C8D}"/>
            </ac:spMkLst>
          </pc:spChg>
          <pc:spChg chg="add del mod">
            <ac:chgData name="Kisliuk, Adrian (ext)" userId="6e619ce3-2643-4cdf-9a13-b4c269650021" providerId="ADAL" clId="{AFCEEFB0-37BC-48D4-B200-D3706B2CD7FE}" dt="2021-04-21T12:25:41.933" v="20233"/>
            <ac:spMkLst>
              <pc:docMk/>
              <pc:sldMasterMk cId="792883523" sldId="2147483648"/>
              <pc:sldLayoutMk cId="3748291341" sldId="2147483658"/>
              <ac:spMk id="11" creationId="{1852639D-946C-40C7-8651-7D7E5EDCB7DC}"/>
            </ac:spMkLst>
          </pc:spChg>
          <pc:spChg chg="add del mod">
            <ac:chgData name="Kisliuk, Adrian (ext)" userId="6e619ce3-2643-4cdf-9a13-b4c269650021" providerId="ADAL" clId="{AFCEEFB0-37BC-48D4-B200-D3706B2CD7FE}" dt="2021-04-21T12:25:52.776" v="20252"/>
            <ac:spMkLst>
              <pc:docMk/>
              <pc:sldMasterMk cId="792883523" sldId="2147483648"/>
              <pc:sldLayoutMk cId="3748291341" sldId="2147483658"/>
              <ac:spMk id="12" creationId="{BC2A556B-063D-46B5-9134-A26DB83F4705}"/>
            </ac:spMkLst>
          </pc:spChg>
          <pc:spChg chg="add del mod">
            <ac:chgData name="Kisliuk, Adrian (ext)" userId="6e619ce3-2643-4cdf-9a13-b4c269650021" providerId="ADAL" clId="{AFCEEFB0-37BC-48D4-B200-D3706B2CD7FE}" dt="2021-04-21T12:25:52.776" v="20252"/>
            <ac:spMkLst>
              <pc:docMk/>
              <pc:sldMasterMk cId="792883523" sldId="2147483648"/>
              <pc:sldLayoutMk cId="3748291341" sldId="2147483658"/>
              <ac:spMk id="13" creationId="{3975D3F7-CD18-4265-8F55-1CAC8EBAD27C}"/>
            </ac:spMkLst>
          </pc:spChg>
          <pc:spChg chg="add del">
            <ac:chgData name="Kisliuk, Adrian (ext)" userId="6e619ce3-2643-4cdf-9a13-b4c269650021" providerId="ADAL" clId="{AFCEEFB0-37BC-48D4-B200-D3706B2CD7FE}" dt="2021-04-21T12:25:59.802" v="20255" actId="478"/>
            <ac:spMkLst>
              <pc:docMk/>
              <pc:sldMasterMk cId="792883523" sldId="2147483648"/>
              <pc:sldLayoutMk cId="3748291341" sldId="2147483658"/>
              <ac:spMk id="14" creationId="{711AF62B-8ABC-4A3F-91E2-9A233D49A88E}"/>
            </ac:spMkLst>
          </pc:spChg>
          <pc:spChg chg="add del mod">
            <ac:chgData name="Kisliuk, Adrian (ext)" userId="6e619ce3-2643-4cdf-9a13-b4c269650021" providerId="ADAL" clId="{AFCEEFB0-37BC-48D4-B200-D3706B2CD7FE}" dt="2021-04-21T12:25:52.347" v="20251"/>
            <ac:spMkLst>
              <pc:docMk/>
              <pc:sldMasterMk cId="792883523" sldId="2147483648"/>
              <pc:sldLayoutMk cId="3748291341" sldId="2147483658"/>
              <ac:spMk id="15" creationId="{0BCD0482-9486-46FB-A20C-B86CD711072E}"/>
            </ac:spMkLst>
          </pc:spChg>
          <pc:spChg chg="add del mod">
            <ac:chgData name="Kisliuk, Adrian (ext)" userId="6e619ce3-2643-4cdf-9a13-b4c269650021" providerId="ADAL" clId="{AFCEEFB0-37BC-48D4-B200-D3706B2CD7FE}" dt="2021-04-21T12:25:52.347" v="20251"/>
            <ac:spMkLst>
              <pc:docMk/>
              <pc:sldMasterMk cId="792883523" sldId="2147483648"/>
              <pc:sldLayoutMk cId="3748291341" sldId="2147483658"/>
              <ac:spMk id="16" creationId="{977AD8F1-40AF-414B-9624-FBB011CE7F81}"/>
            </ac:spMkLst>
          </pc:spChg>
          <pc:spChg chg="add del mod">
            <ac:chgData name="Kisliuk, Adrian (ext)" userId="6e619ce3-2643-4cdf-9a13-b4c269650021" providerId="ADAL" clId="{AFCEEFB0-37BC-48D4-B200-D3706B2CD7FE}" dt="2021-04-21T12:25:52.203" v="20250"/>
            <ac:spMkLst>
              <pc:docMk/>
              <pc:sldMasterMk cId="792883523" sldId="2147483648"/>
              <pc:sldLayoutMk cId="3748291341" sldId="2147483658"/>
              <ac:spMk id="17" creationId="{A112997E-3717-4759-AAB4-E50CF5AD382E}"/>
            </ac:spMkLst>
          </pc:spChg>
          <pc:spChg chg="add del mod">
            <ac:chgData name="Kisliuk, Adrian (ext)" userId="6e619ce3-2643-4cdf-9a13-b4c269650021" providerId="ADAL" clId="{AFCEEFB0-37BC-48D4-B200-D3706B2CD7FE}" dt="2021-04-21T12:25:52.203" v="20250"/>
            <ac:spMkLst>
              <pc:docMk/>
              <pc:sldMasterMk cId="792883523" sldId="2147483648"/>
              <pc:sldLayoutMk cId="3748291341" sldId="2147483658"/>
              <ac:spMk id="18" creationId="{EAD12FD8-7EFE-46E2-8456-AD6BA0364D90}"/>
            </ac:spMkLst>
          </pc:spChg>
          <pc:spChg chg="add mod">
            <ac:chgData name="Kisliuk, Adrian (ext)" userId="6e619ce3-2643-4cdf-9a13-b4c269650021" providerId="ADAL" clId="{AFCEEFB0-37BC-48D4-B200-D3706B2CD7FE}" dt="2021-04-21T12:26:05.511" v="20260"/>
            <ac:spMkLst>
              <pc:docMk/>
              <pc:sldMasterMk cId="792883523" sldId="2147483648"/>
              <pc:sldLayoutMk cId="3748291341" sldId="2147483658"/>
              <ac:spMk id="19" creationId="{0F872612-C098-46A7-B992-BDA843ECC1EF}"/>
            </ac:spMkLst>
          </pc:spChg>
          <pc:spChg chg="add del">
            <ac:chgData name="Kisliuk, Adrian (ext)" userId="6e619ce3-2643-4cdf-9a13-b4c269650021" providerId="ADAL" clId="{AFCEEFB0-37BC-48D4-B200-D3706B2CD7FE}" dt="2021-04-21T12:26:04.973" v="20259" actId="478"/>
            <ac:spMkLst>
              <pc:docMk/>
              <pc:sldMasterMk cId="792883523" sldId="2147483648"/>
              <pc:sldLayoutMk cId="3748291341" sldId="2147483658"/>
              <ac:spMk id="20" creationId="{00000000-0000-0000-0000-000000000000}"/>
            </ac:spMkLst>
          </pc:spChg>
          <pc:spChg chg="add mod">
            <ac:chgData name="Kisliuk, Adrian (ext)" userId="6e619ce3-2643-4cdf-9a13-b4c269650021" providerId="ADAL" clId="{AFCEEFB0-37BC-48D4-B200-D3706B2CD7FE}" dt="2021-04-21T12:26:05.511" v="20260"/>
            <ac:spMkLst>
              <pc:docMk/>
              <pc:sldMasterMk cId="792883523" sldId="2147483648"/>
              <pc:sldLayoutMk cId="3748291341" sldId="2147483658"/>
              <ac:spMk id="21" creationId="{DFFDA173-07E4-4F86-BA96-2030BDBB80DA}"/>
            </ac:spMkLst>
          </pc:spChg>
          <pc:graphicFrameChg chg="mod">
            <ac:chgData name="Kisliuk, Adrian (ext)" userId="6e619ce3-2643-4cdf-9a13-b4c269650021" providerId="ADAL" clId="{AFCEEFB0-37BC-48D4-B200-D3706B2CD7FE}" dt="2021-04-21T12:26:03.054" v="20258"/>
            <ac:graphicFrameMkLst>
              <pc:docMk/>
              <pc:sldMasterMk cId="792883523" sldId="2147483648"/>
              <pc:sldLayoutMk cId="3748291341" sldId="2147483658"/>
              <ac:graphicFrameMk id="6" creationId="{00000000-0000-0000-0000-000000000000}"/>
            </ac:graphicFrameMkLst>
          </pc:graphicFrameChg>
        </pc:sldLayoutChg>
        <pc:sldLayoutChg chg="addSp delSp modSp mod">
          <pc:chgData name="Kisliuk, Adrian (ext)" userId="6e619ce3-2643-4cdf-9a13-b4c269650021" providerId="ADAL" clId="{AFCEEFB0-37BC-48D4-B200-D3706B2CD7FE}" dt="2021-04-21T12:26:33.294" v="20281" actId="478"/>
          <pc:sldLayoutMkLst>
            <pc:docMk/>
            <pc:sldMasterMk cId="792883523" sldId="2147483648"/>
            <pc:sldLayoutMk cId="2394391421" sldId="2147483659"/>
          </pc:sldLayoutMkLst>
          <pc:spChg chg="add mod">
            <ac:chgData name="Kisliuk, Adrian (ext)" userId="6e619ce3-2643-4cdf-9a13-b4c269650021" providerId="ADAL" clId="{AFCEEFB0-37BC-48D4-B200-D3706B2CD7FE}" dt="2021-04-21T12:26:15.335" v="20278"/>
            <ac:spMkLst>
              <pc:docMk/>
              <pc:sldMasterMk cId="792883523" sldId="2147483648"/>
              <pc:sldLayoutMk cId="2394391421" sldId="2147483659"/>
              <ac:spMk id="7" creationId="{A88AF1C7-4A37-4EB5-9A34-595164DD37F7}"/>
            </ac:spMkLst>
          </pc:spChg>
          <pc:spChg chg="del">
            <ac:chgData name="Kisliuk, Adrian (ext)" userId="6e619ce3-2643-4cdf-9a13-b4c269650021" providerId="ADAL" clId="{AFCEEFB0-37BC-48D4-B200-D3706B2CD7FE}" dt="2021-04-21T12:26:12.459" v="20261" actId="478"/>
            <ac:spMkLst>
              <pc:docMk/>
              <pc:sldMasterMk cId="792883523" sldId="2147483648"/>
              <pc:sldLayoutMk cId="2394391421" sldId="2147483659"/>
              <ac:spMk id="8" creationId="{01F567C3-1452-4A6B-89DA-C9F183D5CC96}"/>
            </ac:spMkLst>
          </pc:spChg>
          <pc:spChg chg="del">
            <ac:chgData name="Kisliuk, Adrian (ext)" userId="6e619ce3-2643-4cdf-9a13-b4c269650021" providerId="ADAL" clId="{AFCEEFB0-37BC-48D4-B200-D3706B2CD7FE}" dt="2021-04-21T12:26:14.818" v="20277" actId="478"/>
            <ac:spMkLst>
              <pc:docMk/>
              <pc:sldMasterMk cId="792883523" sldId="2147483648"/>
              <pc:sldLayoutMk cId="2394391421" sldId="2147483659"/>
              <ac:spMk id="9" creationId="{F92BFA13-E9A0-4EEA-A037-F19F33C4851A}"/>
            </ac:spMkLst>
          </pc:spChg>
          <pc:spChg chg="add del mod">
            <ac:chgData name="Kisliuk, Adrian (ext)" userId="6e619ce3-2643-4cdf-9a13-b4c269650021" providerId="ADAL" clId="{AFCEEFB0-37BC-48D4-B200-D3706B2CD7FE}" dt="2021-04-21T12:26:33.294" v="20281" actId="478"/>
            <ac:spMkLst>
              <pc:docMk/>
              <pc:sldMasterMk cId="792883523" sldId="2147483648"/>
              <pc:sldLayoutMk cId="2394391421" sldId="2147483659"/>
              <ac:spMk id="10" creationId="{B0953129-6FCD-4C58-85AA-C525CD6904FD}"/>
            </ac:spMkLst>
          </pc:spChg>
          <pc:spChg chg="mod">
            <ac:chgData name="Kisliuk, Adrian (ext)" userId="6e619ce3-2643-4cdf-9a13-b4c269650021" providerId="ADAL" clId="{AFCEEFB0-37BC-48D4-B200-D3706B2CD7FE}" dt="2021-04-21T12:26:24.971" v="20279" actId="14100"/>
            <ac:spMkLst>
              <pc:docMk/>
              <pc:sldMasterMk cId="792883523" sldId="2147483648"/>
              <pc:sldLayoutMk cId="2394391421" sldId="2147483659"/>
              <ac:spMk id="23" creationId="{00000000-0000-0000-0000-000000000000}"/>
            </ac:spMkLst>
          </pc:spChg>
          <pc:spChg chg="mod">
            <ac:chgData name="Kisliuk, Adrian (ext)" userId="6e619ce3-2643-4cdf-9a13-b4c269650021" providerId="ADAL" clId="{AFCEEFB0-37BC-48D4-B200-D3706B2CD7FE}" dt="2021-04-21T12:26:27.864" v="20280" actId="14100"/>
            <ac:spMkLst>
              <pc:docMk/>
              <pc:sldMasterMk cId="792883523" sldId="2147483648"/>
              <pc:sldLayoutMk cId="2394391421" sldId="2147483659"/>
              <ac:spMk id="24" creationId="{00000000-0000-0000-0000-000000000000}"/>
            </ac:spMkLst>
          </pc:spChg>
          <pc:graphicFrameChg chg="add mod ord modVis">
            <ac:chgData name="Kisliuk, Adrian (ext)" userId="6e619ce3-2643-4cdf-9a13-b4c269650021" providerId="ADAL" clId="{AFCEEFB0-37BC-48D4-B200-D3706B2CD7FE}" dt="2021-04-21T12:26:12.985" v="20276"/>
            <ac:graphicFrameMkLst>
              <pc:docMk/>
              <pc:sldMasterMk cId="792883523" sldId="2147483648"/>
              <pc:sldLayoutMk cId="2394391421" sldId="2147483659"/>
              <ac:graphicFrameMk id="2" creationId="{7EAE4796-7066-42A0-AB5A-8471CD61CABE}"/>
            </ac:graphicFrameMkLst>
          </pc:graphicFrameChg>
        </pc:sldLayoutChg>
        <pc:sldLayoutChg chg="addSp delSp modSp mod">
          <pc:chgData name="Kisliuk, Adrian (ext)" userId="6e619ce3-2643-4cdf-9a13-b4c269650021" providerId="ADAL" clId="{AFCEEFB0-37BC-48D4-B200-D3706B2CD7FE}" dt="2021-04-21T12:26:51.618" v="20303" actId="478"/>
          <pc:sldLayoutMkLst>
            <pc:docMk/>
            <pc:sldMasterMk cId="792883523" sldId="2147483648"/>
            <pc:sldLayoutMk cId="3273949510" sldId="2147483660"/>
          </pc:sldLayoutMkLst>
          <pc:spChg chg="add mod">
            <ac:chgData name="Kisliuk, Adrian (ext)" userId="6e619ce3-2643-4cdf-9a13-b4c269650021" providerId="ADAL" clId="{AFCEEFB0-37BC-48D4-B200-D3706B2CD7FE}" dt="2021-04-21T12:26:41.228" v="20299"/>
            <ac:spMkLst>
              <pc:docMk/>
              <pc:sldMasterMk cId="792883523" sldId="2147483648"/>
              <pc:sldLayoutMk cId="3273949510" sldId="2147483660"/>
              <ac:spMk id="8" creationId="{76BDFE9D-C1F2-4D12-B59C-1EA672C18844}"/>
            </ac:spMkLst>
          </pc:spChg>
          <pc:spChg chg="add del mod">
            <ac:chgData name="Kisliuk, Adrian (ext)" userId="6e619ce3-2643-4cdf-9a13-b4c269650021" providerId="ADAL" clId="{AFCEEFB0-37BC-48D4-B200-D3706B2CD7FE}" dt="2021-04-21T12:26:51.618" v="20303" actId="478"/>
            <ac:spMkLst>
              <pc:docMk/>
              <pc:sldMasterMk cId="792883523" sldId="2147483648"/>
              <pc:sldLayoutMk cId="3273949510" sldId="2147483660"/>
              <ac:spMk id="9" creationId="{E447298F-624B-4EF4-BB09-73C8737A07C6}"/>
            </ac:spMkLst>
          </pc:spChg>
          <pc:spChg chg="del">
            <ac:chgData name="Kisliuk, Adrian (ext)" userId="6e619ce3-2643-4cdf-9a13-b4c269650021" providerId="ADAL" clId="{AFCEEFB0-37BC-48D4-B200-D3706B2CD7FE}" dt="2021-04-21T12:26:37.651" v="20282" actId="478"/>
            <ac:spMkLst>
              <pc:docMk/>
              <pc:sldMasterMk cId="792883523" sldId="2147483648"/>
              <pc:sldLayoutMk cId="3273949510" sldId="2147483660"/>
              <ac:spMk id="10" creationId="{C6F3BD25-1BE6-47C0-BEB5-68C0ED6D3E66}"/>
            </ac:spMkLst>
          </pc:spChg>
          <pc:spChg chg="del">
            <ac:chgData name="Kisliuk, Adrian (ext)" userId="6e619ce3-2643-4cdf-9a13-b4c269650021" providerId="ADAL" clId="{AFCEEFB0-37BC-48D4-B200-D3706B2CD7FE}" dt="2021-04-21T12:26:39.692" v="20298" actId="478"/>
            <ac:spMkLst>
              <pc:docMk/>
              <pc:sldMasterMk cId="792883523" sldId="2147483648"/>
              <pc:sldLayoutMk cId="3273949510" sldId="2147483660"/>
              <ac:spMk id="11" creationId="{A8C3731B-6C9D-4463-A1B6-93A7901A7AC9}"/>
            </ac:spMkLst>
          </pc:spChg>
          <pc:spChg chg="mod">
            <ac:chgData name="Kisliuk, Adrian (ext)" userId="6e619ce3-2643-4cdf-9a13-b4c269650021" providerId="ADAL" clId="{AFCEEFB0-37BC-48D4-B200-D3706B2CD7FE}" dt="2021-04-21T12:26:44.865" v="20300" actId="14100"/>
            <ac:spMkLst>
              <pc:docMk/>
              <pc:sldMasterMk cId="792883523" sldId="2147483648"/>
              <pc:sldLayoutMk cId="3273949510" sldId="2147483660"/>
              <ac:spMk id="19" creationId="{00000000-0000-0000-0000-000000000000}"/>
            </ac:spMkLst>
          </pc:spChg>
          <pc:spChg chg="mod">
            <ac:chgData name="Kisliuk, Adrian (ext)" userId="6e619ce3-2643-4cdf-9a13-b4c269650021" providerId="ADAL" clId="{AFCEEFB0-37BC-48D4-B200-D3706B2CD7FE}" dt="2021-04-21T12:26:46.939" v="20301" actId="14100"/>
            <ac:spMkLst>
              <pc:docMk/>
              <pc:sldMasterMk cId="792883523" sldId="2147483648"/>
              <pc:sldLayoutMk cId="3273949510" sldId="2147483660"/>
              <ac:spMk id="26" creationId="{00000000-0000-0000-0000-000000000000}"/>
            </ac:spMkLst>
          </pc:spChg>
          <pc:spChg chg="mod">
            <ac:chgData name="Kisliuk, Adrian (ext)" userId="6e619ce3-2643-4cdf-9a13-b4c269650021" providerId="ADAL" clId="{AFCEEFB0-37BC-48D4-B200-D3706B2CD7FE}" dt="2021-04-21T12:26:49.328" v="20302" actId="14100"/>
            <ac:spMkLst>
              <pc:docMk/>
              <pc:sldMasterMk cId="792883523" sldId="2147483648"/>
              <pc:sldLayoutMk cId="3273949510" sldId="2147483660"/>
              <ac:spMk id="27" creationId="{00000000-0000-0000-0000-000000000000}"/>
            </ac:spMkLst>
          </pc:spChg>
          <pc:graphicFrameChg chg="add mod ord modVis">
            <ac:chgData name="Kisliuk, Adrian (ext)" userId="6e619ce3-2643-4cdf-9a13-b4c269650021" providerId="ADAL" clId="{AFCEEFB0-37BC-48D4-B200-D3706B2CD7FE}" dt="2021-04-21T12:26:38.187" v="20297"/>
            <ac:graphicFrameMkLst>
              <pc:docMk/>
              <pc:sldMasterMk cId="792883523" sldId="2147483648"/>
              <pc:sldLayoutMk cId="3273949510" sldId="2147483660"/>
              <ac:graphicFrameMk id="2" creationId="{8CDE28AD-D9D6-4752-A5E9-27C22DEC1D4C}"/>
            </ac:graphicFrameMkLst>
          </pc:graphicFrameChg>
        </pc:sldLayoutChg>
        <pc:sldLayoutChg chg="addSp delSp modSp mod">
          <pc:chgData name="Kisliuk, Adrian (ext)" userId="6e619ce3-2643-4cdf-9a13-b4c269650021" providerId="ADAL" clId="{AFCEEFB0-37BC-48D4-B200-D3706B2CD7FE}" dt="2021-04-21T12:27:29.459" v="20382" actId="478"/>
          <pc:sldLayoutMkLst>
            <pc:docMk/>
            <pc:sldMasterMk cId="792883523" sldId="2147483648"/>
            <pc:sldLayoutMk cId="2923560172" sldId="2147483661"/>
          </pc:sldLayoutMkLst>
          <pc:spChg chg="add del mod ord modVis">
            <ac:chgData name="Kisliuk, Adrian (ext)" userId="6e619ce3-2643-4cdf-9a13-b4c269650021" providerId="ADAL" clId="{AFCEEFB0-37BC-48D4-B200-D3706B2CD7FE}" dt="2021-04-21T12:27:16.953" v="20375"/>
            <ac:spMkLst>
              <pc:docMk/>
              <pc:sldMasterMk cId="792883523" sldId="2147483648"/>
              <pc:sldLayoutMk cId="2923560172" sldId="2147483661"/>
              <ac:spMk id="3" creationId="{788FA3EA-7E02-46B1-AB38-6E4CE0D6B99F}"/>
            </ac:spMkLst>
          </pc:spChg>
          <pc:spChg chg="add mod ord">
            <ac:chgData name="Kisliuk, Adrian (ext)" userId="6e619ce3-2643-4cdf-9a13-b4c269650021" providerId="ADAL" clId="{AFCEEFB0-37BC-48D4-B200-D3706B2CD7FE}" dt="2021-04-21T12:27:16.953" v="20373"/>
            <ac:spMkLst>
              <pc:docMk/>
              <pc:sldMasterMk cId="792883523" sldId="2147483648"/>
              <pc:sldLayoutMk cId="2923560172" sldId="2147483661"/>
              <ac:spMk id="9" creationId="{C4876CF8-EA60-4FEB-845E-E62D40B69715}"/>
            </ac:spMkLst>
          </pc:spChg>
          <pc:spChg chg="add del mod ord">
            <ac:chgData name="Kisliuk, Adrian (ext)" userId="6e619ce3-2643-4cdf-9a13-b4c269650021" providerId="ADAL" clId="{AFCEEFB0-37BC-48D4-B200-D3706B2CD7FE}" dt="2021-04-21T12:27:29.459" v="20382" actId="478"/>
            <ac:spMkLst>
              <pc:docMk/>
              <pc:sldMasterMk cId="792883523" sldId="2147483648"/>
              <pc:sldLayoutMk cId="2923560172" sldId="2147483661"/>
              <ac:spMk id="10" creationId="{76E68E2A-069C-4CAB-8328-6413410228EB}"/>
            </ac:spMkLst>
          </pc:spChg>
          <pc:spChg chg="del">
            <ac:chgData name="Kisliuk, Adrian (ext)" userId="6e619ce3-2643-4cdf-9a13-b4c269650021" providerId="ADAL" clId="{AFCEEFB0-37BC-48D4-B200-D3706B2CD7FE}" dt="2021-04-21T12:27:00.352" v="20304" actId="478"/>
            <ac:spMkLst>
              <pc:docMk/>
              <pc:sldMasterMk cId="792883523" sldId="2147483648"/>
              <pc:sldLayoutMk cId="2923560172" sldId="2147483661"/>
              <ac:spMk id="11" creationId="{354BF5AE-EE29-4A02-9D9D-5E85A2AA04F9}"/>
            </ac:spMkLst>
          </pc:spChg>
          <pc:spChg chg="del">
            <ac:chgData name="Kisliuk, Adrian (ext)" userId="6e619ce3-2643-4cdf-9a13-b4c269650021" providerId="ADAL" clId="{AFCEEFB0-37BC-48D4-B200-D3706B2CD7FE}" dt="2021-04-21T12:27:02.462" v="20320" actId="478"/>
            <ac:spMkLst>
              <pc:docMk/>
              <pc:sldMasterMk cId="792883523" sldId="2147483648"/>
              <pc:sldLayoutMk cId="2923560172" sldId="2147483661"/>
              <ac:spMk id="13" creationId="{D8627D76-B4DD-4EC4-B6E6-FFD7B088F6D9}"/>
            </ac:spMkLst>
          </pc:spChg>
          <pc:spChg chg="mod ord">
            <ac:chgData name="Kisliuk, Adrian (ext)" userId="6e619ce3-2643-4cdf-9a13-b4c269650021" providerId="ADAL" clId="{AFCEEFB0-37BC-48D4-B200-D3706B2CD7FE}" dt="2021-04-21T12:27:20.138" v="20378" actId="14100"/>
            <ac:spMkLst>
              <pc:docMk/>
              <pc:sldMasterMk cId="792883523" sldId="2147483648"/>
              <pc:sldLayoutMk cId="2923560172" sldId="2147483661"/>
              <ac:spMk id="21" creationId="{00000000-0000-0000-0000-000000000000}"/>
            </ac:spMkLst>
          </pc:spChg>
          <pc:spChg chg="mod ord">
            <ac:chgData name="Kisliuk, Adrian (ext)" userId="6e619ce3-2643-4cdf-9a13-b4c269650021" providerId="ADAL" clId="{AFCEEFB0-37BC-48D4-B200-D3706B2CD7FE}" dt="2021-04-21T12:27:22.421" v="20379" actId="14100"/>
            <ac:spMkLst>
              <pc:docMk/>
              <pc:sldMasterMk cId="792883523" sldId="2147483648"/>
              <pc:sldLayoutMk cId="2923560172" sldId="2147483661"/>
              <ac:spMk id="22" creationId="{00000000-0000-0000-0000-000000000000}"/>
            </ac:spMkLst>
          </pc:spChg>
          <pc:spChg chg="mod ord">
            <ac:chgData name="Kisliuk, Adrian (ext)" userId="6e619ce3-2643-4cdf-9a13-b4c269650021" providerId="ADAL" clId="{AFCEEFB0-37BC-48D4-B200-D3706B2CD7FE}" dt="2021-04-21T12:27:25.049" v="20380" actId="14100"/>
            <ac:spMkLst>
              <pc:docMk/>
              <pc:sldMasterMk cId="792883523" sldId="2147483648"/>
              <pc:sldLayoutMk cId="2923560172" sldId="2147483661"/>
              <ac:spMk id="23" creationId="{00000000-0000-0000-0000-000000000000}"/>
            </ac:spMkLst>
          </pc:spChg>
          <pc:spChg chg="mod ord">
            <ac:chgData name="Kisliuk, Adrian (ext)" userId="6e619ce3-2643-4cdf-9a13-b4c269650021" providerId="ADAL" clId="{AFCEEFB0-37BC-48D4-B200-D3706B2CD7FE}" dt="2021-04-21T12:27:27.617" v="20381" actId="14100"/>
            <ac:spMkLst>
              <pc:docMk/>
              <pc:sldMasterMk cId="792883523" sldId="2147483648"/>
              <pc:sldLayoutMk cId="2923560172" sldId="2147483661"/>
              <ac:spMk id="24" creationId="{00000000-0000-0000-0000-000000000000}"/>
            </ac:spMkLst>
          </pc:spChg>
          <pc:graphicFrameChg chg="add mod ord modVis">
            <ac:chgData name="Kisliuk, Adrian (ext)" userId="6e619ce3-2643-4cdf-9a13-b4c269650021" providerId="ADAL" clId="{AFCEEFB0-37BC-48D4-B200-D3706B2CD7FE}" dt="2021-04-21T12:27:16.953" v="20377"/>
            <ac:graphicFrameMkLst>
              <pc:docMk/>
              <pc:sldMasterMk cId="792883523" sldId="2147483648"/>
              <pc:sldLayoutMk cId="2923560172" sldId="2147483661"/>
              <ac:graphicFrameMk id="2" creationId="{01EB412B-030A-43F3-9226-348B92380E33}"/>
            </ac:graphicFrameMkLst>
          </pc:graphicFrameChg>
        </pc:sldLayoutChg>
        <pc:sldLayoutChg chg="add del">
          <pc:chgData name="Kisliuk, Adrian (ext)" userId="6e619ce3-2643-4cdf-9a13-b4c269650021" providerId="ADAL" clId="{AFCEEFB0-37BC-48D4-B200-D3706B2CD7FE}" dt="2021-04-21T12:43:18.863" v="20545" actId="2696"/>
          <pc:sldLayoutMkLst>
            <pc:docMk/>
            <pc:sldMasterMk cId="792883523" sldId="2147483648"/>
            <pc:sldLayoutMk cId="996660223" sldId="2147483662"/>
          </pc:sldLayoutMkLst>
        </pc:sldLayoutChg>
        <pc:sldLayoutChg chg="addSp modSp mod setBg">
          <pc:chgData name="Kisliuk, Adrian (ext)" userId="6e619ce3-2643-4cdf-9a13-b4c269650021" providerId="ADAL" clId="{AFCEEFB0-37BC-48D4-B200-D3706B2CD7FE}" dt="2021-04-21T12:47:09.447" v="20559" actId="14100"/>
          <pc:sldLayoutMkLst>
            <pc:docMk/>
            <pc:sldMasterMk cId="792883523" sldId="2147483648"/>
            <pc:sldLayoutMk cId="47689872" sldId="2147483663"/>
          </pc:sldLayoutMkLst>
          <pc:spChg chg="add mod">
            <ac:chgData name="Kisliuk, Adrian (ext)" userId="6e619ce3-2643-4cdf-9a13-b4c269650021" providerId="ADAL" clId="{AFCEEFB0-37BC-48D4-B200-D3706B2CD7FE}" dt="2021-04-21T12:47:09.447" v="20559" actId="14100"/>
            <ac:spMkLst>
              <pc:docMk/>
              <pc:sldMasterMk cId="792883523" sldId="2147483648"/>
              <pc:sldLayoutMk cId="47689872" sldId="2147483663"/>
              <ac:spMk id="4" creationId="{1DB116F4-2093-45F9-BC1F-9D4924DC1598}"/>
            </ac:spMkLst>
          </pc:spChg>
          <pc:spChg chg="mod">
            <ac:chgData name="Kisliuk, Adrian (ext)" userId="6e619ce3-2643-4cdf-9a13-b4c269650021" providerId="ADAL" clId="{AFCEEFB0-37BC-48D4-B200-D3706B2CD7FE}" dt="2021-04-21T12:46:06.156" v="20556" actId="20577"/>
            <ac:spMkLst>
              <pc:docMk/>
              <pc:sldMasterMk cId="792883523" sldId="2147483648"/>
              <pc:sldLayoutMk cId="47689872" sldId="2147483663"/>
              <ac:spMk id="6" creationId="{DC19F058-5598-4FEC-A9DC-EB3DA72B1960}"/>
            </ac:spMkLst>
          </pc:spChg>
        </pc:sldLayoutChg>
        <pc:sldLayoutChg chg="del">
          <pc:chgData name="Kisliuk, Adrian (ext)" userId="6e619ce3-2643-4cdf-9a13-b4c269650021" providerId="ADAL" clId="{AFCEEFB0-37BC-48D4-B200-D3706B2CD7FE}" dt="2021-04-21T12:30:34.645" v="20426" actId="2696"/>
          <pc:sldLayoutMkLst>
            <pc:docMk/>
            <pc:sldMasterMk cId="792883523" sldId="2147483648"/>
            <pc:sldLayoutMk cId="1388551844" sldId="2147483664"/>
          </pc:sldLayoutMkLst>
        </pc:sldLayoutChg>
        <pc:sldLayoutChg chg="del">
          <pc:chgData name="Kisliuk, Adrian (ext)" userId="6e619ce3-2643-4cdf-9a13-b4c269650021" providerId="ADAL" clId="{AFCEEFB0-37BC-48D4-B200-D3706B2CD7FE}" dt="2021-04-26T08:16:47.336" v="25270" actId="47"/>
          <pc:sldLayoutMkLst>
            <pc:docMk/>
            <pc:sldMasterMk cId="792883523" sldId="2147483648"/>
            <pc:sldLayoutMk cId="2478587068" sldId="2147483664"/>
          </pc:sldLayoutMkLst>
        </pc:sldLayoutChg>
        <pc:sldLayoutChg chg="del">
          <pc:chgData name="Kisliuk, Adrian (ext)" userId="6e619ce3-2643-4cdf-9a13-b4c269650021" providerId="ADAL" clId="{AFCEEFB0-37BC-48D4-B200-D3706B2CD7FE}" dt="2021-04-21T12:30:34.647" v="20427" actId="2696"/>
          <pc:sldLayoutMkLst>
            <pc:docMk/>
            <pc:sldMasterMk cId="792883523" sldId="2147483648"/>
            <pc:sldLayoutMk cId="2915991579" sldId="2147483665"/>
          </pc:sldLayoutMkLst>
        </pc:sldLayoutChg>
        <pc:sldLayoutChg chg="del">
          <pc:chgData name="Kisliuk, Adrian (ext)" userId="6e619ce3-2643-4cdf-9a13-b4c269650021" providerId="ADAL" clId="{AFCEEFB0-37BC-48D4-B200-D3706B2CD7FE}" dt="2021-04-21T12:30:34.659" v="20428" actId="2696"/>
          <pc:sldLayoutMkLst>
            <pc:docMk/>
            <pc:sldMasterMk cId="792883523" sldId="2147483648"/>
            <pc:sldLayoutMk cId="1603612521" sldId="2147483666"/>
          </pc:sldLayoutMkLst>
        </pc:sldLayoutChg>
        <pc:sldLayoutChg chg="del">
          <pc:chgData name="Kisliuk, Adrian (ext)" userId="6e619ce3-2643-4cdf-9a13-b4c269650021" providerId="ADAL" clId="{AFCEEFB0-37BC-48D4-B200-D3706B2CD7FE}" dt="2021-04-21T12:30:34.659" v="20429" actId="2696"/>
          <pc:sldLayoutMkLst>
            <pc:docMk/>
            <pc:sldMasterMk cId="792883523" sldId="2147483648"/>
            <pc:sldLayoutMk cId="368235614" sldId="2147483667"/>
          </pc:sldLayoutMkLst>
        </pc:sldLayoutChg>
        <pc:sldLayoutChg chg="del">
          <pc:chgData name="Kisliuk, Adrian (ext)" userId="6e619ce3-2643-4cdf-9a13-b4c269650021" providerId="ADAL" clId="{AFCEEFB0-37BC-48D4-B200-D3706B2CD7FE}" dt="2021-04-21T12:30:34.667" v="20430" actId="2696"/>
          <pc:sldLayoutMkLst>
            <pc:docMk/>
            <pc:sldMasterMk cId="792883523" sldId="2147483648"/>
            <pc:sldLayoutMk cId="1431507454" sldId="2147483668"/>
          </pc:sldLayoutMkLst>
        </pc:sldLayoutChg>
        <pc:sldLayoutChg chg="del">
          <pc:chgData name="Kisliuk, Adrian (ext)" userId="6e619ce3-2643-4cdf-9a13-b4c269650021" providerId="ADAL" clId="{AFCEEFB0-37BC-48D4-B200-D3706B2CD7FE}" dt="2021-04-21T12:30:34.676" v="20431" actId="2696"/>
          <pc:sldLayoutMkLst>
            <pc:docMk/>
            <pc:sldMasterMk cId="792883523" sldId="2147483648"/>
            <pc:sldLayoutMk cId="2569502479" sldId="2147483669"/>
          </pc:sldLayoutMkLst>
        </pc:sldLayoutChg>
      </pc:sldMasterChg>
    </pc:docChg>
  </pc:docChgLst>
  <pc:docChgLst>
    <pc:chgData name="Adrian Kisliuk" userId="81f189f0-3ed9-4f29-a7b1-770f7af93676" providerId="ADAL" clId="{4C5447CB-8D2B-4571-8386-8F22113784BC}"/>
    <pc:docChg chg="undo redo custSel addSld delSld modSld sldOrd modMainMaster">
      <pc:chgData name="Adrian Kisliuk" userId="81f189f0-3ed9-4f29-a7b1-770f7af93676" providerId="ADAL" clId="{4C5447CB-8D2B-4571-8386-8F22113784BC}" dt="2021-03-02T13:01:34.926" v="2632" actId="1076"/>
      <pc:docMkLst>
        <pc:docMk/>
      </pc:docMkLst>
      <pc:sldChg chg="addSp delSp modSp mod modClrScheme chgLayout">
        <pc:chgData name="Adrian Kisliuk" userId="81f189f0-3ed9-4f29-a7b1-770f7af93676" providerId="ADAL" clId="{4C5447CB-8D2B-4571-8386-8F22113784BC}" dt="2021-03-02T12:36:32.472" v="2469"/>
        <pc:sldMkLst>
          <pc:docMk/>
          <pc:sldMk cId="3888384040" sldId="474"/>
        </pc:sldMkLst>
        <pc:spChg chg="add mod ord">
          <ac:chgData name="Adrian Kisliuk" userId="81f189f0-3ed9-4f29-a7b1-770f7af93676" providerId="ADAL" clId="{4C5447CB-8D2B-4571-8386-8F22113784BC}" dt="2021-03-02T12:36:32.472" v="2469"/>
          <ac:spMkLst>
            <pc:docMk/>
            <pc:sldMk cId="3888384040" sldId="474"/>
            <ac:spMk id="3" creationId="{8522D39E-A14F-4CA8-8FB5-A0F1F8E1B641}"/>
          </ac:spMkLst>
        </pc:spChg>
        <pc:spChg chg="mod ord">
          <ac:chgData name="Adrian Kisliuk" userId="81f189f0-3ed9-4f29-a7b1-770f7af93676" providerId="ADAL" clId="{4C5447CB-8D2B-4571-8386-8F22113784BC}" dt="2021-03-02T12:36:32.472" v="2469"/>
          <ac:spMkLst>
            <pc:docMk/>
            <pc:sldMk cId="3888384040" sldId="474"/>
            <ac:spMk id="10" creationId="{00000000-0000-0000-0000-000000000000}"/>
          </ac:spMkLst>
        </pc:spChg>
        <pc:graphicFrameChg chg="add del mod">
          <ac:chgData name="Adrian Kisliuk" userId="81f189f0-3ed9-4f29-a7b1-770f7af93676" providerId="ADAL" clId="{4C5447CB-8D2B-4571-8386-8F22113784BC}" dt="2021-03-02T10:14:42.899" v="681" actId="478"/>
          <ac:graphicFrameMkLst>
            <pc:docMk/>
            <pc:sldMk cId="3888384040" sldId="474"/>
            <ac:graphicFrameMk id="2" creationId="{30CB28B0-4303-42B7-97F2-58C8B31CE1DF}"/>
          </ac:graphicFrameMkLst>
        </pc:graphicFrameChg>
      </pc:sldChg>
      <pc:sldChg chg="addSp delSp modSp mod chgLayout">
        <pc:chgData name="Adrian Kisliuk" userId="81f189f0-3ed9-4f29-a7b1-770f7af93676" providerId="ADAL" clId="{4C5447CB-8D2B-4571-8386-8F22113784BC}" dt="2021-03-02T12:42:01.727" v="2588" actId="700"/>
        <pc:sldMkLst>
          <pc:docMk/>
          <pc:sldMk cId="967380677" sldId="819"/>
        </pc:sldMkLst>
        <pc:spChg chg="add del mod">
          <ac:chgData name="Adrian Kisliuk" userId="81f189f0-3ed9-4f29-a7b1-770f7af93676" providerId="ADAL" clId="{4C5447CB-8D2B-4571-8386-8F22113784BC}" dt="2021-03-02T12:42:00.199" v="2587" actId="478"/>
          <ac:spMkLst>
            <pc:docMk/>
            <pc:sldMk cId="967380677" sldId="819"/>
            <ac:spMk id="2" creationId="{848724A1-8D9B-4E48-BEA8-7DD98666F28D}"/>
          </ac:spMkLst>
        </pc:spChg>
      </pc:sldChg>
      <pc:sldChg chg="addSp delSp modSp mod chgLayout">
        <pc:chgData name="Adrian Kisliuk" userId="81f189f0-3ed9-4f29-a7b1-770f7af93676" providerId="ADAL" clId="{4C5447CB-8D2B-4571-8386-8F22113784BC}" dt="2021-03-02T12:52:05.040" v="2630" actId="207"/>
        <pc:sldMkLst>
          <pc:docMk/>
          <pc:sldMk cId="2509517720" sldId="820"/>
        </pc:sldMkLst>
        <pc:spChg chg="add mod ord">
          <ac:chgData name="Adrian Kisliuk" userId="81f189f0-3ed9-4f29-a7b1-770f7af93676" providerId="ADAL" clId="{4C5447CB-8D2B-4571-8386-8F22113784BC}" dt="2021-03-02T12:35:58.498" v="2313" actId="948"/>
          <ac:spMkLst>
            <pc:docMk/>
            <pc:sldMk cId="2509517720" sldId="820"/>
            <ac:spMk id="2" creationId="{C11920DB-DB27-4D35-BC7B-E98157E38E05}"/>
          </ac:spMkLst>
        </pc:spChg>
        <pc:spChg chg="del mod ord">
          <ac:chgData name="Adrian Kisliuk" userId="81f189f0-3ed9-4f29-a7b1-770f7af93676" providerId="ADAL" clId="{4C5447CB-8D2B-4571-8386-8F22113784BC}" dt="2021-03-02T12:36:02.386" v="2366" actId="478"/>
          <ac:spMkLst>
            <pc:docMk/>
            <pc:sldMk cId="2509517720" sldId="820"/>
            <ac:spMk id="3" creationId="{00000000-0000-0000-0000-000000000000}"/>
          </ac:spMkLst>
        </pc:spChg>
        <pc:spChg chg="mod ord">
          <ac:chgData name="Adrian Kisliuk" userId="81f189f0-3ed9-4f29-a7b1-770f7af93676" providerId="ADAL" clId="{4C5447CB-8D2B-4571-8386-8F22113784BC}" dt="2021-03-02T12:35:55.772" v="2310"/>
          <ac:spMkLst>
            <pc:docMk/>
            <pc:sldMk cId="2509517720" sldId="820"/>
            <ac:spMk id="4" creationId="{00000000-0000-0000-0000-000000000000}"/>
          </ac:spMkLst>
        </pc:spChg>
        <pc:spChg chg="add del mod modVis">
          <ac:chgData name="Adrian Kisliuk" userId="81f189f0-3ed9-4f29-a7b1-770f7af93676" providerId="ADAL" clId="{4C5447CB-8D2B-4571-8386-8F22113784BC}" dt="2021-03-02T12:35:58.534" v="2350"/>
          <ac:spMkLst>
            <pc:docMk/>
            <pc:sldMk cId="2509517720" sldId="820"/>
            <ac:spMk id="5" creationId="{45B26A31-A5A3-46ED-839B-40325447FA2E}"/>
          </ac:spMkLst>
        </pc:spChg>
        <pc:spChg chg="mod">
          <ac:chgData name="Adrian Kisliuk" userId="81f189f0-3ed9-4f29-a7b1-770f7af93676" providerId="ADAL" clId="{4C5447CB-8D2B-4571-8386-8F22113784BC}" dt="2021-03-02T12:52:05.040" v="2630" actId="207"/>
          <ac:spMkLst>
            <pc:docMk/>
            <pc:sldMk cId="2509517720" sldId="820"/>
            <ac:spMk id="11" creationId="{4F40012B-730E-4563-9DD9-41229AD9971E}"/>
          </ac:spMkLst>
        </pc:spChg>
        <pc:spChg chg="mod">
          <ac:chgData name="Adrian Kisliuk" userId="81f189f0-3ed9-4f29-a7b1-770f7af93676" providerId="ADAL" clId="{4C5447CB-8D2B-4571-8386-8F22113784BC}" dt="2021-03-02T10:38:32.385" v="952" actId="1036"/>
          <ac:spMkLst>
            <pc:docMk/>
            <pc:sldMk cId="2509517720" sldId="820"/>
            <ac:spMk id="26" creationId="{CE1C3E13-AF8F-4301-B411-986CE84A3DD5}"/>
          </ac:spMkLst>
        </pc:spChg>
        <pc:spChg chg="mod">
          <ac:chgData name="Adrian Kisliuk" userId="81f189f0-3ed9-4f29-a7b1-770f7af93676" providerId="ADAL" clId="{4C5447CB-8D2B-4571-8386-8F22113784BC}" dt="2021-03-02T12:52:05.040" v="2630" actId="207"/>
          <ac:spMkLst>
            <pc:docMk/>
            <pc:sldMk cId="2509517720" sldId="820"/>
            <ac:spMk id="28" creationId="{EBCF4F41-59E1-4F76-BE07-8DD6A2304129}"/>
          </ac:spMkLst>
        </pc:spChg>
        <pc:spChg chg="mod">
          <ac:chgData name="Adrian Kisliuk" userId="81f189f0-3ed9-4f29-a7b1-770f7af93676" providerId="ADAL" clId="{4C5447CB-8D2B-4571-8386-8F22113784BC}" dt="2021-03-02T10:38:32.385" v="952" actId="1036"/>
          <ac:spMkLst>
            <pc:docMk/>
            <pc:sldMk cId="2509517720" sldId="820"/>
            <ac:spMk id="29" creationId="{17760F75-D6E9-4BB1-BA35-50F4ACDBFC19}"/>
          </ac:spMkLst>
        </pc:spChg>
        <pc:graphicFrameChg chg="add mod ord modVis">
          <ac:chgData name="Adrian Kisliuk" userId="81f189f0-3ed9-4f29-a7b1-770f7af93676" providerId="ADAL" clId="{4C5447CB-8D2B-4571-8386-8F22113784BC}" dt="2021-03-02T12:35:58.554" v="2365"/>
          <ac:graphicFrameMkLst>
            <pc:docMk/>
            <pc:sldMk cId="2509517720" sldId="820"/>
            <ac:graphicFrameMk id="6" creationId="{4828E88A-D5C2-4929-A058-2CC608F5A67D}"/>
          </ac:graphicFrameMkLst>
        </pc:graphicFrameChg>
        <pc:cxnChg chg="mod">
          <ac:chgData name="Adrian Kisliuk" userId="81f189f0-3ed9-4f29-a7b1-770f7af93676" providerId="ADAL" clId="{4C5447CB-8D2B-4571-8386-8F22113784BC}" dt="2021-03-02T10:38:32.385" v="952" actId="1036"/>
          <ac:cxnSpMkLst>
            <pc:docMk/>
            <pc:sldMk cId="2509517720" sldId="820"/>
            <ac:cxnSpMk id="27" creationId="{F23228C4-B5F4-4412-B4C7-E4B06BBF02CA}"/>
          </ac:cxnSpMkLst>
        </pc:cxnChg>
      </pc:sldChg>
      <pc:sldChg chg="addSp delSp modSp mod chgLayout">
        <pc:chgData name="Adrian Kisliuk" userId="81f189f0-3ed9-4f29-a7b1-770f7af93676" providerId="ADAL" clId="{4C5447CB-8D2B-4571-8386-8F22113784BC}" dt="2021-03-02T12:35:11.546" v="2146" actId="478"/>
        <pc:sldMkLst>
          <pc:docMk/>
          <pc:sldMk cId="1161844579" sldId="821"/>
        </pc:sldMkLst>
        <pc:spChg chg="add mod ord">
          <ac:chgData name="Adrian Kisliuk" userId="81f189f0-3ed9-4f29-a7b1-770f7af93676" providerId="ADAL" clId="{4C5447CB-8D2B-4571-8386-8F22113784BC}" dt="2021-03-02T12:35:08.918" v="2093" actId="948"/>
          <ac:spMkLst>
            <pc:docMk/>
            <pc:sldMk cId="1161844579" sldId="821"/>
            <ac:spMk id="2" creationId="{DE936FAF-2E76-49E3-A26B-EE542092B6EF}"/>
          </ac:spMkLst>
        </pc:spChg>
        <pc:spChg chg="del mod ord">
          <ac:chgData name="Adrian Kisliuk" userId="81f189f0-3ed9-4f29-a7b1-770f7af93676" providerId="ADAL" clId="{4C5447CB-8D2B-4571-8386-8F22113784BC}" dt="2021-03-02T12:35:11.546" v="2146" actId="478"/>
          <ac:spMkLst>
            <pc:docMk/>
            <pc:sldMk cId="1161844579" sldId="821"/>
            <ac:spMk id="3" creationId="{00000000-0000-0000-0000-000000000000}"/>
          </ac:spMkLst>
        </pc:spChg>
        <pc:spChg chg="mod ord">
          <ac:chgData name="Adrian Kisliuk" userId="81f189f0-3ed9-4f29-a7b1-770f7af93676" providerId="ADAL" clId="{4C5447CB-8D2B-4571-8386-8F22113784BC}" dt="2021-03-02T12:35:05.193" v="2090"/>
          <ac:spMkLst>
            <pc:docMk/>
            <pc:sldMk cId="1161844579" sldId="821"/>
            <ac:spMk id="4" creationId="{00000000-0000-0000-0000-000000000000}"/>
          </ac:spMkLst>
        </pc:spChg>
        <pc:spChg chg="add del mod modVis">
          <ac:chgData name="Adrian Kisliuk" userId="81f189f0-3ed9-4f29-a7b1-770f7af93676" providerId="ADAL" clId="{4C5447CB-8D2B-4571-8386-8F22113784BC}" dt="2021-03-02T12:35:08.949" v="2130"/>
          <ac:spMkLst>
            <pc:docMk/>
            <pc:sldMk cId="1161844579" sldId="821"/>
            <ac:spMk id="5" creationId="{5FE0D242-470A-4E86-88C2-0BB463304A9C}"/>
          </ac:spMkLst>
        </pc:spChg>
        <pc:spChg chg="mod">
          <ac:chgData name="Adrian Kisliuk" userId="81f189f0-3ed9-4f29-a7b1-770f7af93676" providerId="ADAL" clId="{4C5447CB-8D2B-4571-8386-8F22113784BC}" dt="2021-03-02T10:53:26.008" v="973" actId="2711"/>
          <ac:spMkLst>
            <pc:docMk/>
            <pc:sldMk cId="1161844579" sldId="821"/>
            <ac:spMk id="9" creationId="{D6E18E4B-4E9B-4CFD-AF88-29C3A515D1B4}"/>
          </ac:spMkLst>
        </pc:spChg>
        <pc:spChg chg="mod">
          <ac:chgData name="Adrian Kisliuk" userId="81f189f0-3ed9-4f29-a7b1-770f7af93676" providerId="ADAL" clId="{4C5447CB-8D2B-4571-8386-8F22113784BC}" dt="2021-03-02T10:53:26.008" v="973" actId="2711"/>
          <ac:spMkLst>
            <pc:docMk/>
            <pc:sldMk cId="1161844579" sldId="821"/>
            <ac:spMk id="15" creationId="{438E61C8-3310-417E-857B-5FE9009B583C}"/>
          </ac:spMkLst>
        </pc:spChg>
        <pc:spChg chg="mod">
          <ac:chgData name="Adrian Kisliuk" userId="81f189f0-3ed9-4f29-a7b1-770f7af93676" providerId="ADAL" clId="{4C5447CB-8D2B-4571-8386-8F22113784BC}" dt="2021-03-02T10:52:27.357" v="965" actId="404"/>
          <ac:spMkLst>
            <pc:docMk/>
            <pc:sldMk cId="1161844579" sldId="821"/>
            <ac:spMk id="17" creationId="{28DC8D71-92A3-47AA-97BB-5BCFF31B461A}"/>
          </ac:spMkLst>
        </pc:spChg>
        <pc:spChg chg="mod">
          <ac:chgData name="Adrian Kisliuk" userId="81f189f0-3ed9-4f29-a7b1-770f7af93676" providerId="ADAL" clId="{4C5447CB-8D2B-4571-8386-8F22113784BC}" dt="2021-03-02T10:52:27.357" v="965" actId="404"/>
          <ac:spMkLst>
            <pc:docMk/>
            <pc:sldMk cId="1161844579" sldId="821"/>
            <ac:spMk id="18" creationId="{A4FA0F6C-1044-40F3-A415-376719684F27}"/>
          </ac:spMkLst>
        </pc:spChg>
        <pc:graphicFrameChg chg="add mod ord modVis">
          <ac:chgData name="Adrian Kisliuk" userId="81f189f0-3ed9-4f29-a7b1-770f7af93676" providerId="ADAL" clId="{4C5447CB-8D2B-4571-8386-8F22113784BC}" dt="2021-03-02T12:35:08.966" v="2145"/>
          <ac:graphicFrameMkLst>
            <pc:docMk/>
            <pc:sldMk cId="1161844579" sldId="821"/>
            <ac:graphicFrameMk id="6" creationId="{580DFCAE-76C4-413B-B499-F7B76F1E13AF}"/>
          </ac:graphicFrameMkLst>
        </pc:graphicFrameChg>
        <pc:cxnChg chg="mod">
          <ac:chgData name="Adrian Kisliuk" userId="81f189f0-3ed9-4f29-a7b1-770f7af93676" providerId="ADAL" clId="{4C5447CB-8D2B-4571-8386-8F22113784BC}" dt="2021-03-02T10:51:52.977" v="961" actId="208"/>
          <ac:cxnSpMkLst>
            <pc:docMk/>
            <pc:sldMk cId="1161844579" sldId="821"/>
            <ac:cxnSpMk id="10" creationId="{358A171D-C672-4196-9360-80C5160B1063}"/>
          </ac:cxnSpMkLst>
        </pc:cxnChg>
        <pc:cxnChg chg="mod">
          <ac:chgData name="Adrian Kisliuk" userId="81f189f0-3ed9-4f29-a7b1-770f7af93676" providerId="ADAL" clId="{4C5447CB-8D2B-4571-8386-8F22113784BC}" dt="2021-03-02T10:51:52.977" v="961" actId="208"/>
          <ac:cxnSpMkLst>
            <pc:docMk/>
            <pc:sldMk cId="1161844579" sldId="821"/>
            <ac:cxnSpMk id="19" creationId="{FDD861AD-2623-4DFE-BE15-0320BD4DED87}"/>
          </ac:cxnSpMkLst>
        </pc:cxnChg>
      </pc:sldChg>
      <pc:sldChg chg="addSp delSp modSp mod ord chgLayout">
        <pc:chgData name="Adrian Kisliuk" userId="81f189f0-3ed9-4f29-a7b1-770f7af93676" providerId="ADAL" clId="{4C5447CB-8D2B-4571-8386-8F22113784BC}" dt="2021-03-02T12:33:51.887" v="1913" actId="478"/>
        <pc:sldMkLst>
          <pc:docMk/>
          <pc:sldMk cId="259345786" sldId="822"/>
        </pc:sldMkLst>
        <pc:spChg chg="mod ord">
          <ac:chgData name="Adrian Kisliuk" userId="81f189f0-3ed9-4f29-a7b1-770f7af93676" providerId="ADAL" clId="{4C5447CB-8D2B-4571-8386-8F22113784BC}" dt="2021-03-02T12:33:38.090" v="1857"/>
          <ac:spMkLst>
            <pc:docMk/>
            <pc:sldMk cId="259345786" sldId="822"/>
            <ac:spMk id="2" creationId="{50E68478-280C-4B71-A2DA-1A37303CE9F7}"/>
          </ac:spMkLst>
        </pc:spChg>
        <pc:spChg chg="del mod ord">
          <ac:chgData name="Adrian Kisliuk" userId="81f189f0-3ed9-4f29-a7b1-770f7af93676" providerId="ADAL" clId="{4C5447CB-8D2B-4571-8386-8F22113784BC}" dt="2021-03-02T12:33:51.887" v="1913" actId="478"/>
          <ac:spMkLst>
            <pc:docMk/>
            <pc:sldMk cId="259345786" sldId="822"/>
            <ac:spMk id="3" creationId="{5CD78C9C-FC67-400A-AB19-9FAF630ADB32}"/>
          </ac:spMkLst>
        </pc:spChg>
        <pc:spChg chg="add mod ord">
          <ac:chgData name="Adrian Kisliuk" userId="81f189f0-3ed9-4f29-a7b1-770f7af93676" providerId="ADAL" clId="{4C5447CB-8D2B-4571-8386-8F22113784BC}" dt="2021-03-02T12:33:49.468" v="1860" actId="948"/>
          <ac:spMkLst>
            <pc:docMk/>
            <pc:sldMk cId="259345786" sldId="822"/>
            <ac:spMk id="4" creationId="{F3C63785-D5F4-496A-BA15-4CEDAB779A9F}"/>
          </ac:spMkLst>
        </pc:spChg>
        <pc:spChg chg="add del mod modVis">
          <ac:chgData name="Adrian Kisliuk" userId="81f189f0-3ed9-4f29-a7b1-770f7af93676" providerId="ADAL" clId="{4C5447CB-8D2B-4571-8386-8F22113784BC}" dt="2021-03-02T12:33:49.503" v="1897"/>
          <ac:spMkLst>
            <pc:docMk/>
            <pc:sldMk cId="259345786" sldId="822"/>
            <ac:spMk id="6" creationId="{5B9484F0-F1B5-4568-8F23-4D3BE488BAFB}"/>
          </ac:spMkLst>
        </pc:spChg>
        <pc:graphicFrameChg chg="add mod ord modVis">
          <ac:chgData name="Adrian Kisliuk" userId="81f189f0-3ed9-4f29-a7b1-770f7af93676" providerId="ADAL" clId="{4C5447CB-8D2B-4571-8386-8F22113784BC}" dt="2021-03-02T12:33:49.526" v="1912"/>
          <ac:graphicFrameMkLst>
            <pc:docMk/>
            <pc:sldMk cId="259345786" sldId="822"/>
            <ac:graphicFrameMk id="8" creationId="{45C83B30-2FBC-4BB5-871B-A062ADBF67CA}"/>
          </ac:graphicFrameMkLst>
        </pc:graphicFrameChg>
      </pc:sldChg>
      <pc:sldChg chg="addSp delSp modSp mod ord chgLayout">
        <pc:chgData name="Adrian Kisliuk" userId="81f189f0-3ed9-4f29-a7b1-770f7af93676" providerId="ADAL" clId="{4C5447CB-8D2B-4571-8386-8F22113784BC}" dt="2021-03-02T12:34:17.035" v="1971" actId="478"/>
        <pc:sldMkLst>
          <pc:docMk/>
          <pc:sldMk cId="3423490071" sldId="827"/>
        </pc:sldMkLst>
        <pc:spChg chg="mod ord">
          <ac:chgData name="Adrian Kisliuk" userId="81f189f0-3ed9-4f29-a7b1-770f7af93676" providerId="ADAL" clId="{4C5447CB-8D2B-4571-8386-8F22113784BC}" dt="2021-03-02T12:34:10.697" v="1915"/>
          <ac:spMkLst>
            <pc:docMk/>
            <pc:sldMk cId="3423490071" sldId="827"/>
            <ac:spMk id="2" creationId="{50E68478-280C-4B71-A2DA-1A37303CE9F7}"/>
          </ac:spMkLst>
        </pc:spChg>
        <pc:spChg chg="del mod ord">
          <ac:chgData name="Adrian Kisliuk" userId="81f189f0-3ed9-4f29-a7b1-770f7af93676" providerId="ADAL" clId="{4C5447CB-8D2B-4571-8386-8F22113784BC}" dt="2021-03-02T12:34:17.035" v="1971" actId="478"/>
          <ac:spMkLst>
            <pc:docMk/>
            <pc:sldMk cId="3423490071" sldId="827"/>
            <ac:spMk id="3" creationId="{5CD78C9C-FC67-400A-AB19-9FAF630ADB32}"/>
          </ac:spMkLst>
        </pc:spChg>
        <pc:spChg chg="add mod ord">
          <ac:chgData name="Adrian Kisliuk" userId="81f189f0-3ed9-4f29-a7b1-770f7af93676" providerId="ADAL" clId="{4C5447CB-8D2B-4571-8386-8F22113784BC}" dt="2021-03-02T12:34:15.389" v="1918" actId="948"/>
          <ac:spMkLst>
            <pc:docMk/>
            <pc:sldMk cId="3423490071" sldId="827"/>
            <ac:spMk id="4" creationId="{00D9005D-406F-478D-B140-226895A1858A}"/>
          </ac:spMkLst>
        </pc:spChg>
        <pc:spChg chg="mod">
          <ac:chgData name="Adrian Kisliuk" userId="81f189f0-3ed9-4f29-a7b1-770f7af93676" providerId="ADAL" clId="{4C5447CB-8D2B-4571-8386-8F22113784BC}" dt="2021-03-02T10:30:09.125" v="789" actId="14100"/>
          <ac:spMkLst>
            <pc:docMk/>
            <pc:sldMk cId="3423490071" sldId="827"/>
            <ac:spMk id="5" creationId="{FC298125-D680-4F92-8081-A588B2F8C85A}"/>
          </ac:spMkLst>
        </pc:spChg>
        <pc:spChg chg="mod">
          <ac:chgData name="Adrian Kisliuk" userId="81f189f0-3ed9-4f29-a7b1-770f7af93676" providerId="ADAL" clId="{4C5447CB-8D2B-4571-8386-8F22113784BC}" dt="2021-03-02T10:24:45.835" v="724" actId="1076"/>
          <ac:spMkLst>
            <pc:docMk/>
            <pc:sldMk cId="3423490071" sldId="827"/>
            <ac:spMk id="6" creationId="{C28389AB-B4E9-4828-810A-28B58C47BD5B}"/>
          </ac:spMkLst>
        </pc:spChg>
        <pc:spChg chg="add del mod modVis">
          <ac:chgData name="Adrian Kisliuk" userId="81f189f0-3ed9-4f29-a7b1-770f7af93676" providerId="ADAL" clId="{4C5447CB-8D2B-4571-8386-8F22113784BC}" dt="2021-03-02T12:34:15.421" v="1955"/>
          <ac:spMkLst>
            <pc:docMk/>
            <pc:sldMk cId="3423490071" sldId="827"/>
            <ac:spMk id="7" creationId="{EBD3F0EA-CA5F-406D-9D4F-1589EC66328E}"/>
          </ac:spMkLst>
        </pc:spChg>
        <pc:spChg chg="add mod">
          <ac:chgData name="Adrian Kisliuk" userId="81f189f0-3ed9-4f29-a7b1-770f7af93676" providerId="ADAL" clId="{4C5447CB-8D2B-4571-8386-8F22113784BC}" dt="2021-03-02T10:25:54.395" v="728" actId="1076"/>
          <ac:spMkLst>
            <pc:docMk/>
            <pc:sldMk cId="3423490071" sldId="827"/>
            <ac:spMk id="9" creationId="{6A3486E8-9FA3-4E9F-83E8-79E3A38AA27F}"/>
          </ac:spMkLst>
        </pc:spChg>
        <pc:spChg chg="add mod">
          <ac:chgData name="Adrian Kisliuk" userId="81f189f0-3ed9-4f29-a7b1-770f7af93676" providerId="ADAL" clId="{4C5447CB-8D2B-4571-8386-8F22113784BC}" dt="2021-03-02T10:25:54.395" v="728" actId="1076"/>
          <ac:spMkLst>
            <pc:docMk/>
            <pc:sldMk cId="3423490071" sldId="827"/>
            <ac:spMk id="10" creationId="{C8C4115F-17D5-45B3-8A77-6A0CDAB6CDA6}"/>
          </ac:spMkLst>
        </pc:spChg>
        <pc:spChg chg="mod">
          <ac:chgData name="Adrian Kisliuk" userId="81f189f0-3ed9-4f29-a7b1-770f7af93676" providerId="ADAL" clId="{4C5447CB-8D2B-4571-8386-8F22113784BC}" dt="2021-03-02T10:24:48.867" v="725" actId="1076"/>
          <ac:spMkLst>
            <pc:docMk/>
            <pc:sldMk cId="3423490071" sldId="827"/>
            <ac:spMk id="11" creationId="{663DCA79-14CD-4BB2-A65E-576EBF1DF34A}"/>
          </ac:spMkLst>
        </pc:spChg>
        <pc:spChg chg="del">
          <ac:chgData name="Adrian Kisliuk" userId="81f189f0-3ed9-4f29-a7b1-770f7af93676" providerId="ADAL" clId="{4C5447CB-8D2B-4571-8386-8F22113784BC}" dt="2021-03-02T10:24:23.100" v="719" actId="478"/>
          <ac:spMkLst>
            <pc:docMk/>
            <pc:sldMk cId="3423490071" sldId="827"/>
            <ac:spMk id="12" creationId="{07993F73-5B48-4E3A-8307-CA4FAAF12CE6}"/>
          </ac:spMkLst>
        </pc:spChg>
        <pc:spChg chg="del mod">
          <ac:chgData name="Adrian Kisliuk" userId="81f189f0-3ed9-4f29-a7b1-770f7af93676" providerId="ADAL" clId="{4C5447CB-8D2B-4571-8386-8F22113784BC}" dt="2021-03-02T10:24:23.100" v="719" actId="478"/>
          <ac:spMkLst>
            <pc:docMk/>
            <pc:sldMk cId="3423490071" sldId="827"/>
            <ac:spMk id="13" creationId="{F46F9EF4-A3CA-4981-A6BC-80F80427C81F}"/>
          </ac:spMkLst>
        </pc:spChg>
        <pc:graphicFrameChg chg="add mod ord modVis">
          <ac:chgData name="Adrian Kisliuk" userId="81f189f0-3ed9-4f29-a7b1-770f7af93676" providerId="ADAL" clId="{4C5447CB-8D2B-4571-8386-8F22113784BC}" dt="2021-03-02T12:34:15.440" v="1970"/>
          <ac:graphicFrameMkLst>
            <pc:docMk/>
            <pc:sldMk cId="3423490071" sldId="827"/>
            <ac:graphicFrameMk id="8" creationId="{A05DFC7E-AB4D-4E85-944C-F862B8C1C199}"/>
          </ac:graphicFrameMkLst>
        </pc:graphicFrameChg>
      </pc:sldChg>
      <pc:sldChg chg="addSp delSp modSp del mod">
        <pc:chgData name="Adrian Kisliuk" userId="81f189f0-3ed9-4f29-a7b1-770f7af93676" providerId="ADAL" clId="{4C5447CB-8D2B-4571-8386-8F22113784BC}" dt="2021-03-02T12:12:52.283" v="1158" actId="47"/>
        <pc:sldMkLst>
          <pc:docMk/>
          <pc:sldMk cId="2411429876" sldId="829"/>
        </pc:sldMkLst>
        <pc:spChg chg="mod">
          <ac:chgData name="Adrian Kisliuk" userId="81f189f0-3ed9-4f29-a7b1-770f7af93676" providerId="ADAL" clId="{4C5447CB-8D2B-4571-8386-8F22113784BC}" dt="2021-03-02T10:51:43.963" v="960" actId="207"/>
          <ac:spMkLst>
            <pc:docMk/>
            <pc:sldMk cId="2411429876" sldId="829"/>
            <ac:spMk id="2" creationId="{50E68478-280C-4B71-A2DA-1A37303CE9F7}"/>
          </ac:spMkLst>
        </pc:spChg>
        <pc:spChg chg="mod">
          <ac:chgData name="Adrian Kisliuk" userId="81f189f0-3ed9-4f29-a7b1-770f7af93676" providerId="ADAL" clId="{4C5447CB-8D2B-4571-8386-8F22113784BC}" dt="2021-03-02T10:51:43.963" v="960" actId="207"/>
          <ac:spMkLst>
            <pc:docMk/>
            <pc:sldMk cId="2411429876" sldId="829"/>
            <ac:spMk id="3" creationId="{5CD78C9C-FC67-400A-AB19-9FAF630ADB32}"/>
          </ac:spMkLst>
        </pc:spChg>
        <pc:spChg chg="add del mod">
          <ac:chgData name="Adrian Kisliuk" userId="81f189f0-3ed9-4f29-a7b1-770f7af93676" providerId="ADAL" clId="{4C5447CB-8D2B-4571-8386-8F22113784BC}" dt="2021-03-02T11:40:57.713" v="1018" actId="478"/>
          <ac:spMkLst>
            <pc:docMk/>
            <pc:sldMk cId="2411429876" sldId="829"/>
            <ac:spMk id="4" creationId="{BD47E8DB-9CAE-412B-80AC-A066FB15FAE9}"/>
          </ac:spMkLst>
        </pc:spChg>
        <pc:spChg chg="mod">
          <ac:chgData name="Adrian Kisliuk" userId="81f189f0-3ed9-4f29-a7b1-770f7af93676" providerId="ADAL" clId="{4C5447CB-8D2B-4571-8386-8F22113784BC}" dt="2021-03-02T10:51:43.963" v="960" actId="207"/>
          <ac:spMkLst>
            <pc:docMk/>
            <pc:sldMk cId="2411429876" sldId="829"/>
            <ac:spMk id="5" creationId="{FC298125-D680-4F92-8081-A588B2F8C85A}"/>
          </ac:spMkLst>
        </pc:spChg>
        <pc:spChg chg="add del mod">
          <ac:chgData name="Adrian Kisliuk" userId="81f189f0-3ed9-4f29-a7b1-770f7af93676" providerId="ADAL" clId="{4C5447CB-8D2B-4571-8386-8F22113784BC}" dt="2021-03-02T11:40:46.477" v="1016"/>
          <ac:spMkLst>
            <pc:docMk/>
            <pc:sldMk cId="2411429876" sldId="829"/>
            <ac:spMk id="6" creationId="{BE3FE6DD-0FE4-4B19-BA9F-B555992F3224}"/>
          </ac:spMkLst>
        </pc:spChg>
        <pc:spChg chg="add del">
          <ac:chgData name="Adrian Kisliuk" userId="81f189f0-3ed9-4f29-a7b1-770f7af93676" providerId="ADAL" clId="{4C5447CB-8D2B-4571-8386-8F22113784BC}" dt="2021-03-02T12:00:51.386" v="1117" actId="478"/>
          <ac:spMkLst>
            <pc:docMk/>
            <pc:sldMk cId="2411429876" sldId="829"/>
            <ac:spMk id="32" creationId="{E11087CE-6D11-4AAD-8005-B7F597CBA15B}"/>
          </ac:spMkLst>
        </pc:spChg>
        <pc:picChg chg="add mod">
          <ac:chgData name="Adrian Kisliuk" userId="81f189f0-3ed9-4f29-a7b1-770f7af93676" providerId="ADAL" clId="{4C5447CB-8D2B-4571-8386-8F22113784BC}" dt="2021-03-02T11:49:13.349" v="1067" actId="1076"/>
          <ac:picMkLst>
            <pc:docMk/>
            <pc:sldMk cId="2411429876" sldId="829"/>
            <ac:picMk id="8" creationId="{9C9F2122-5CC7-44AB-8F0D-AC9A9827247F}"/>
          </ac:picMkLst>
        </pc:picChg>
        <pc:picChg chg="add del mod">
          <ac:chgData name="Adrian Kisliuk" userId="81f189f0-3ed9-4f29-a7b1-770f7af93676" providerId="ADAL" clId="{4C5447CB-8D2B-4571-8386-8F22113784BC}" dt="2021-03-02T11:48:01.147" v="1042" actId="478"/>
          <ac:picMkLst>
            <pc:docMk/>
            <pc:sldMk cId="2411429876" sldId="829"/>
            <ac:picMk id="10" creationId="{E172A3FC-9E84-4736-8F55-747C335704F1}"/>
          </ac:picMkLst>
        </pc:picChg>
        <pc:picChg chg="add del mod">
          <ac:chgData name="Adrian Kisliuk" userId="81f189f0-3ed9-4f29-a7b1-770f7af93676" providerId="ADAL" clId="{4C5447CB-8D2B-4571-8386-8F22113784BC}" dt="2021-03-02T11:48:20.499" v="1044" actId="478"/>
          <ac:picMkLst>
            <pc:docMk/>
            <pc:sldMk cId="2411429876" sldId="829"/>
            <ac:picMk id="12" creationId="{E4DD7B6E-9ACD-472A-8F51-9D0641583136}"/>
          </ac:picMkLst>
        </pc:picChg>
        <pc:picChg chg="add mod">
          <ac:chgData name="Adrian Kisliuk" userId="81f189f0-3ed9-4f29-a7b1-770f7af93676" providerId="ADAL" clId="{4C5447CB-8D2B-4571-8386-8F22113784BC}" dt="2021-03-02T11:49:04.035" v="1061" actId="1076"/>
          <ac:picMkLst>
            <pc:docMk/>
            <pc:sldMk cId="2411429876" sldId="829"/>
            <ac:picMk id="14" creationId="{8BCB7259-5A93-48E7-A0F6-CB20049CB38D}"/>
          </ac:picMkLst>
        </pc:picChg>
        <pc:picChg chg="add del mod">
          <ac:chgData name="Adrian Kisliuk" userId="81f189f0-3ed9-4f29-a7b1-770f7af93676" providerId="ADAL" clId="{4C5447CB-8D2B-4571-8386-8F22113784BC}" dt="2021-03-02T11:54:12.777" v="1080" actId="478"/>
          <ac:picMkLst>
            <pc:docMk/>
            <pc:sldMk cId="2411429876" sldId="829"/>
            <ac:picMk id="16" creationId="{2180BDCE-13E5-4992-B789-8B8D573904F8}"/>
          </ac:picMkLst>
        </pc:picChg>
        <pc:picChg chg="add mod">
          <ac:chgData name="Adrian Kisliuk" userId="81f189f0-3ed9-4f29-a7b1-770f7af93676" providerId="ADAL" clId="{4C5447CB-8D2B-4571-8386-8F22113784BC}" dt="2021-03-02T11:58:28.201" v="1109" actId="1076"/>
          <ac:picMkLst>
            <pc:docMk/>
            <pc:sldMk cId="2411429876" sldId="829"/>
            <ac:picMk id="18" creationId="{523D6BC8-98D8-4406-B8C8-2C6D88A74250}"/>
          </ac:picMkLst>
        </pc:picChg>
        <pc:picChg chg="add mod">
          <ac:chgData name="Adrian Kisliuk" userId="81f189f0-3ed9-4f29-a7b1-770f7af93676" providerId="ADAL" clId="{4C5447CB-8D2B-4571-8386-8F22113784BC}" dt="2021-03-02T11:48:54.813" v="1054" actId="14100"/>
          <ac:picMkLst>
            <pc:docMk/>
            <pc:sldMk cId="2411429876" sldId="829"/>
            <ac:picMk id="1026" creationId="{3D95A9D7-8547-417F-8A07-3F83C64A59D9}"/>
          </ac:picMkLst>
        </pc:picChg>
        <pc:picChg chg="add mod">
          <ac:chgData name="Adrian Kisliuk" userId="81f189f0-3ed9-4f29-a7b1-770f7af93676" providerId="ADAL" clId="{4C5447CB-8D2B-4571-8386-8F22113784BC}" dt="2021-03-02T11:48:58.204" v="1057" actId="14100"/>
          <ac:picMkLst>
            <pc:docMk/>
            <pc:sldMk cId="2411429876" sldId="829"/>
            <ac:picMk id="1030" creationId="{0A5F62C3-583A-40FB-AA1F-3468436B4CCD}"/>
          </ac:picMkLst>
        </pc:picChg>
        <pc:picChg chg="add mod">
          <ac:chgData name="Adrian Kisliuk" userId="81f189f0-3ed9-4f29-a7b1-770f7af93676" providerId="ADAL" clId="{4C5447CB-8D2B-4571-8386-8F22113784BC}" dt="2021-03-02T11:48:56.108" v="1055" actId="14100"/>
          <ac:picMkLst>
            <pc:docMk/>
            <pc:sldMk cId="2411429876" sldId="829"/>
            <ac:picMk id="1032" creationId="{BA4B8B89-8E9F-4563-AE14-F739DFC91141}"/>
          </ac:picMkLst>
        </pc:picChg>
        <pc:picChg chg="add mod">
          <ac:chgData name="Adrian Kisliuk" userId="81f189f0-3ed9-4f29-a7b1-770f7af93676" providerId="ADAL" clId="{4C5447CB-8D2B-4571-8386-8F22113784BC}" dt="2021-03-02T11:49:09.595" v="1065" actId="1076"/>
          <ac:picMkLst>
            <pc:docMk/>
            <pc:sldMk cId="2411429876" sldId="829"/>
            <ac:picMk id="1034" creationId="{50EF20B7-8695-4E5B-948E-38D1B122706B}"/>
          </ac:picMkLst>
        </pc:picChg>
        <pc:picChg chg="add mod">
          <ac:chgData name="Adrian Kisliuk" userId="81f189f0-3ed9-4f29-a7b1-770f7af93676" providerId="ADAL" clId="{4C5447CB-8D2B-4571-8386-8F22113784BC}" dt="2021-03-02T11:49:06.676" v="1063" actId="1076"/>
          <ac:picMkLst>
            <pc:docMk/>
            <pc:sldMk cId="2411429876" sldId="829"/>
            <ac:picMk id="1036" creationId="{33AB4A15-44A7-4A36-A778-B980B280E691}"/>
          </ac:picMkLst>
        </pc:picChg>
        <pc:picChg chg="add del mod">
          <ac:chgData name="Adrian Kisliuk" userId="81f189f0-3ed9-4f29-a7b1-770f7af93676" providerId="ADAL" clId="{4C5447CB-8D2B-4571-8386-8F22113784BC}" dt="2021-03-02T11:48:42.482" v="1049" actId="478"/>
          <ac:picMkLst>
            <pc:docMk/>
            <pc:sldMk cId="2411429876" sldId="829"/>
            <ac:picMk id="1038" creationId="{D806BBCA-0DF5-4559-89FB-B66853BE84F1}"/>
          </ac:picMkLst>
        </pc:picChg>
        <pc:picChg chg="add mod">
          <ac:chgData name="Adrian Kisliuk" userId="81f189f0-3ed9-4f29-a7b1-770f7af93676" providerId="ADAL" clId="{4C5447CB-8D2B-4571-8386-8F22113784BC}" dt="2021-03-02T11:51:34.234" v="1072" actId="1076"/>
          <ac:picMkLst>
            <pc:docMk/>
            <pc:sldMk cId="2411429876" sldId="829"/>
            <ac:picMk id="1040" creationId="{EC8376D9-C6E3-4F38-9167-BEDD0336C152}"/>
          </ac:picMkLst>
        </pc:picChg>
        <pc:picChg chg="add del mod">
          <ac:chgData name="Adrian Kisliuk" userId="81f189f0-3ed9-4f29-a7b1-770f7af93676" providerId="ADAL" clId="{4C5447CB-8D2B-4571-8386-8F22113784BC}" dt="2021-03-02T11:54:58.812" v="1090" actId="1076"/>
          <ac:picMkLst>
            <pc:docMk/>
            <pc:sldMk cId="2411429876" sldId="829"/>
            <ac:picMk id="1042" creationId="{2A0DC546-AED0-46B1-854D-938E7BD3C3B3}"/>
          </ac:picMkLst>
        </pc:picChg>
        <pc:picChg chg="add del mod">
          <ac:chgData name="Adrian Kisliuk" userId="81f189f0-3ed9-4f29-a7b1-770f7af93676" providerId="ADAL" clId="{4C5447CB-8D2B-4571-8386-8F22113784BC}" dt="2021-03-02T11:55:37.485" v="1096" actId="478"/>
          <ac:picMkLst>
            <pc:docMk/>
            <pc:sldMk cId="2411429876" sldId="829"/>
            <ac:picMk id="1044" creationId="{008A7224-1447-41B0-A07F-298E3E850025}"/>
          </ac:picMkLst>
        </pc:picChg>
        <pc:picChg chg="add del mod">
          <ac:chgData name="Adrian Kisliuk" userId="81f189f0-3ed9-4f29-a7b1-770f7af93676" providerId="ADAL" clId="{4C5447CB-8D2B-4571-8386-8F22113784BC}" dt="2021-03-02T11:55:54.081" v="1099" actId="1076"/>
          <ac:picMkLst>
            <pc:docMk/>
            <pc:sldMk cId="2411429876" sldId="829"/>
            <ac:picMk id="1046" creationId="{7D3A7E12-AB1A-45DD-90BC-D678CD48CDCD}"/>
          </ac:picMkLst>
        </pc:picChg>
        <pc:picChg chg="add del mod">
          <ac:chgData name="Adrian Kisliuk" userId="81f189f0-3ed9-4f29-a7b1-770f7af93676" providerId="ADAL" clId="{4C5447CB-8D2B-4571-8386-8F22113784BC}" dt="2021-03-02T11:58:33.083" v="1111" actId="478"/>
          <ac:picMkLst>
            <pc:docMk/>
            <pc:sldMk cId="2411429876" sldId="829"/>
            <ac:picMk id="1048" creationId="{9011D74D-62AC-4DE5-B56E-F701663CF362}"/>
          </ac:picMkLst>
        </pc:picChg>
        <pc:picChg chg="add mod">
          <ac:chgData name="Adrian Kisliuk" userId="81f189f0-3ed9-4f29-a7b1-770f7af93676" providerId="ADAL" clId="{4C5447CB-8D2B-4571-8386-8F22113784BC}" dt="2021-03-02T11:59:32.113" v="1114" actId="1076"/>
          <ac:picMkLst>
            <pc:docMk/>
            <pc:sldMk cId="2411429876" sldId="829"/>
            <ac:picMk id="1050" creationId="{F8B59AC0-F1BF-44FC-A781-DC05EE37519D}"/>
          </ac:picMkLst>
        </pc:picChg>
        <pc:picChg chg="add mod">
          <ac:chgData name="Adrian Kisliuk" userId="81f189f0-3ed9-4f29-a7b1-770f7af93676" providerId="ADAL" clId="{4C5447CB-8D2B-4571-8386-8F22113784BC}" dt="2021-03-02T12:02:05.509" v="1123"/>
          <ac:picMkLst>
            <pc:docMk/>
            <pc:sldMk cId="2411429876" sldId="829"/>
            <ac:picMk id="1052" creationId="{19045790-0F4D-43E7-B0F6-8FE45BA47774}"/>
          </ac:picMkLst>
        </pc:picChg>
        <pc:picChg chg="add mod">
          <ac:chgData name="Adrian Kisliuk" userId="81f189f0-3ed9-4f29-a7b1-770f7af93676" providerId="ADAL" clId="{4C5447CB-8D2B-4571-8386-8F22113784BC}" dt="2021-03-02T12:04:02.321" v="1128"/>
          <ac:picMkLst>
            <pc:docMk/>
            <pc:sldMk cId="2411429876" sldId="829"/>
            <ac:picMk id="1054" creationId="{36829114-B8D9-4B38-B264-7C2910AC4DA0}"/>
          </ac:picMkLst>
        </pc:picChg>
        <pc:picChg chg="add mod">
          <ac:chgData name="Adrian Kisliuk" userId="81f189f0-3ed9-4f29-a7b1-770f7af93676" providerId="ADAL" clId="{4C5447CB-8D2B-4571-8386-8F22113784BC}" dt="2021-03-02T12:12:17.662" v="1153" actId="1076"/>
          <ac:picMkLst>
            <pc:docMk/>
            <pc:sldMk cId="2411429876" sldId="829"/>
            <ac:picMk id="1056" creationId="{668A3436-EE15-44C9-B132-39B2C7A9BBF1}"/>
          </ac:picMkLst>
        </pc:picChg>
        <pc:picChg chg="add mod">
          <ac:chgData name="Adrian Kisliuk" userId="81f189f0-3ed9-4f29-a7b1-770f7af93676" providerId="ADAL" clId="{4C5447CB-8D2B-4571-8386-8F22113784BC}" dt="2021-03-02T12:10:47.710" v="1141" actId="14100"/>
          <ac:picMkLst>
            <pc:docMk/>
            <pc:sldMk cId="2411429876" sldId="829"/>
            <ac:picMk id="1058" creationId="{D389B605-C9DB-4911-9840-437122FF3102}"/>
          </ac:picMkLst>
        </pc:picChg>
        <pc:picChg chg="add del mod">
          <ac:chgData name="Adrian Kisliuk" userId="81f189f0-3ed9-4f29-a7b1-770f7af93676" providerId="ADAL" clId="{4C5447CB-8D2B-4571-8386-8F22113784BC}" dt="2021-03-02T12:07:45.751" v="1137" actId="478"/>
          <ac:picMkLst>
            <pc:docMk/>
            <pc:sldMk cId="2411429876" sldId="829"/>
            <ac:picMk id="1060" creationId="{77634FD3-146A-49A5-9203-6B4CC3F78712}"/>
          </ac:picMkLst>
        </pc:picChg>
        <pc:picChg chg="add mod">
          <ac:chgData name="Adrian Kisliuk" userId="81f189f0-3ed9-4f29-a7b1-770f7af93676" providerId="ADAL" clId="{4C5447CB-8D2B-4571-8386-8F22113784BC}" dt="2021-03-02T12:11:30.535" v="1150" actId="14100"/>
          <ac:picMkLst>
            <pc:docMk/>
            <pc:sldMk cId="2411429876" sldId="829"/>
            <ac:picMk id="1062" creationId="{97FD82EF-A3AD-4695-81B2-806E7DCF15D5}"/>
          </ac:picMkLst>
        </pc:picChg>
      </pc:sldChg>
      <pc:sldChg chg="addSp delSp modSp mod ord chgLayout">
        <pc:chgData name="Adrian Kisliuk" userId="81f189f0-3ed9-4f29-a7b1-770f7af93676" providerId="ADAL" clId="{4C5447CB-8D2B-4571-8386-8F22113784BC}" dt="2021-03-02T12:50:03.328" v="2629" actId="1582"/>
        <pc:sldMkLst>
          <pc:docMk/>
          <pc:sldMk cId="3742493326" sldId="830"/>
        </pc:sldMkLst>
        <pc:spChg chg="del mod ord">
          <ac:chgData name="Adrian Kisliuk" userId="81f189f0-3ed9-4f29-a7b1-770f7af93676" providerId="ADAL" clId="{4C5447CB-8D2B-4571-8386-8F22113784BC}" dt="2021-03-02T12:35:32.818" v="2263" actId="478"/>
          <ac:spMkLst>
            <pc:docMk/>
            <pc:sldMk cId="3742493326" sldId="830"/>
            <ac:spMk id="3" creationId="{00000000-0000-0000-0000-000000000000}"/>
          </ac:spMkLst>
        </pc:spChg>
        <pc:spChg chg="mod ord">
          <ac:chgData name="Adrian Kisliuk" userId="81f189f0-3ed9-4f29-a7b1-770f7af93676" providerId="ADAL" clId="{4C5447CB-8D2B-4571-8386-8F22113784BC}" dt="2021-03-02T12:35:28.311" v="2253"/>
          <ac:spMkLst>
            <pc:docMk/>
            <pc:sldMk cId="3742493326" sldId="830"/>
            <ac:spMk id="4" creationId="{00000000-0000-0000-0000-000000000000}"/>
          </ac:spMkLst>
        </pc:spChg>
        <pc:spChg chg="mod ord">
          <ac:chgData name="Adrian Kisliuk" userId="81f189f0-3ed9-4f29-a7b1-770f7af93676" providerId="ADAL" clId="{4C5447CB-8D2B-4571-8386-8F22113784BC}" dt="2021-03-02T12:35:28.311" v="2257"/>
          <ac:spMkLst>
            <pc:docMk/>
            <pc:sldMk cId="3742493326" sldId="830"/>
            <ac:spMk id="9" creationId="{D6E18E4B-4E9B-4CFD-AF88-29C3A515D1B4}"/>
          </ac:spMkLst>
        </pc:spChg>
        <pc:spChg chg="add mod ord">
          <ac:chgData name="Adrian Kisliuk" userId="81f189f0-3ed9-4f29-a7b1-770f7af93676" providerId="ADAL" clId="{4C5447CB-8D2B-4571-8386-8F22113784BC}" dt="2021-03-02T12:35:28.310" v="2251"/>
          <ac:spMkLst>
            <pc:docMk/>
            <pc:sldMk cId="3742493326" sldId="830"/>
            <ac:spMk id="13" creationId="{EF1007E3-6D8E-4D3B-A5C7-29F239CAFC32}"/>
          </ac:spMkLst>
        </pc:spChg>
        <pc:spChg chg="add del mod modVis">
          <ac:chgData name="Adrian Kisliuk" userId="81f189f0-3ed9-4f29-a7b1-770f7af93676" providerId="ADAL" clId="{4C5447CB-8D2B-4571-8386-8F22113784BC}" dt="2021-03-02T12:35:22.358" v="2188"/>
          <ac:spMkLst>
            <pc:docMk/>
            <pc:sldMk cId="3742493326" sldId="830"/>
            <ac:spMk id="14" creationId="{DAA5A865-A92A-42AD-BC0E-6612B51154CF}"/>
          </ac:spMkLst>
        </pc:spChg>
        <pc:spChg chg="add del mod modVis">
          <ac:chgData name="Adrian Kisliuk" userId="81f189f0-3ed9-4f29-a7b1-770f7af93676" providerId="ADAL" clId="{4C5447CB-8D2B-4571-8386-8F22113784BC}" dt="2021-03-02T12:35:23.925" v="2242"/>
          <ac:spMkLst>
            <pc:docMk/>
            <pc:sldMk cId="3742493326" sldId="830"/>
            <ac:spMk id="16" creationId="{83B4FA59-DDA0-4CB2-BE9B-7A02CD2CB10C}"/>
          </ac:spMkLst>
        </pc:spChg>
        <pc:spChg chg="mod ord">
          <ac:chgData name="Adrian Kisliuk" userId="81f189f0-3ed9-4f29-a7b1-770f7af93676" providerId="ADAL" clId="{4C5447CB-8D2B-4571-8386-8F22113784BC}" dt="2021-03-02T12:35:28.310" v="2249"/>
          <ac:spMkLst>
            <pc:docMk/>
            <pc:sldMk cId="3742493326" sldId="830"/>
            <ac:spMk id="17" creationId="{28DC8D71-92A3-47AA-97BB-5BCFF31B461A}"/>
          </ac:spMkLst>
        </pc:spChg>
        <pc:graphicFrameChg chg="add mod ord modVis">
          <ac:chgData name="Adrian Kisliuk" userId="81f189f0-3ed9-4f29-a7b1-770f7af93676" providerId="ADAL" clId="{4C5447CB-8D2B-4571-8386-8F22113784BC}" dt="2021-03-02T12:35:28.313" v="2261"/>
          <ac:graphicFrameMkLst>
            <pc:docMk/>
            <pc:sldMk cId="3742493326" sldId="830"/>
            <ac:graphicFrameMk id="15" creationId="{CA59FC19-9615-42DF-AB71-78FBABA72D2E}"/>
          </ac:graphicFrameMkLst>
        </pc:graphicFrameChg>
        <pc:cxnChg chg="mod ord">
          <ac:chgData name="Adrian Kisliuk" userId="81f189f0-3ed9-4f29-a7b1-770f7af93676" providerId="ADAL" clId="{4C5447CB-8D2B-4571-8386-8F22113784BC}" dt="2021-03-02T12:50:03.328" v="2629" actId="1582"/>
          <ac:cxnSpMkLst>
            <pc:docMk/>
            <pc:sldMk cId="3742493326" sldId="830"/>
            <ac:cxnSpMk id="10" creationId="{358A171D-C672-4196-9360-80C5160B1063}"/>
          </ac:cxnSpMkLst>
        </pc:cxnChg>
      </pc:sldChg>
      <pc:sldChg chg="addSp delSp modSp add mod ord">
        <pc:chgData name="Adrian Kisliuk" userId="81f189f0-3ed9-4f29-a7b1-770f7af93676" providerId="ADAL" clId="{4C5447CB-8D2B-4571-8386-8F22113784BC}" dt="2021-03-02T10:12:14.801" v="661"/>
        <pc:sldMkLst>
          <pc:docMk/>
          <pc:sldMk cId="2250725930" sldId="831"/>
        </pc:sldMkLst>
        <pc:spChg chg="del">
          <ac:chgData name="Adrian Kisliuk" userId="81f189f0-3ed9-4f29-a7b1-770f7af93676" providerId="ADAL" clId="{4C5447CB-8D2B-4571-8386-8F22113784BC}" dt="2021-03-02T09:43:44.084" v="3" actId="478"/>
          <ac:spMkLst>
            <pc:docMk/>
            <pc:sldMk cId="2250725930" sldId="831"/>
            <ac:spMk id="5" creationId="{FC298125-D680-4F92-8081-A588B2F8C85A}"/>
          </ac:spMkLst>
        </pc:spChg>
        <pc:spChg chg="add mod">
          <ac:chgData name="Adrian Kisliuk" userId="81f189f0-3ed9-4f29-a7b1-770f7af93676" providerId="ADAL" clId="{4C5447CB-8D2B-4571-8386-8F22113784BC}" dt="2021-03-02T09:58:27.235" v="107" actId="404"/>
          <ac:spMkLst>
            <pc:docMk/>
            <pc:sldMk cId="2250725930" sldId="831"/>
            <ac:spMk id="6" creationId="{221CC513-2CB1-45AD-8D03-6B9B142D6078}"/>
          </ac:spMkLst>
        </pc:spChg>
        <pc:spChg chg="add mod">
          <ac:chgData name="Adrian Kisliuk" userId="81f189f0-3ed9-4f29-a7b1-770f7af93676" providerId="ADAL" clId="{4C5447CB-8D2B-4571-8386-8F22113784BC}" dt="2021-03-02T09:58:27.235" v="107" actId="404"/>
          <ac:spMkLst>
            <pc:docMk/>
            <pc:sldMk cId="2250725930" sldId="831"/>
            <ac:spMk id="8" creationId="{AD5C1B8E-2F6A-4FBA-87FE-FE631E4E7C9B}"/>
          </ac:spMkLst>
        </pc:spChg>
        <pc:spChg chg="add mod">
          <ac:chgData name="Adrian Kisliuk" userId="81f189f0-3ed9-4f29-a7b1-770f7af93676" providerId="ADAL" clId="{4C5447CB-8D2B-4571-8386-8F22113784BC}" dt="2021-03-02T09:58:27.235" v="107" actId="404"/>
          <ac:spMkLst>
            <pc:docMk/>
            <pc:sldMk cId="2250725930" sldId="831"/>
            <ac:spMk id="9" creationId="{D7AB581F-2B39-4FA5-A2CE-794AF5964577}"/>
          </ac:spMkLst>
        </pc:spChg>
        <pc:spChg chg="add mod">
          <ac:chgData name="Adrian Kisliuk" userId="81f189f0-3ed9-4f29-a7b1-770f7af93676" providerId="ADAL" clId="{4C5447CB-8D2B-4571-8386-8F22113784BC}" dt="2021-03-02T09:58:27.235" v="107" actId="404"/>
          <ac:spMkLst>
            <pc:docMk/>
            <pc:sldMk cId="2250725930" sldId="831"/>
            <ac:spMk id="10" creationId="{F5235A7F-3321-45CE-841B-2F7D7A7CD697}"/>
          </ac:spMkLst>
        </pc:spChg>
        <pc:spChg chg="add mod">
          <ac:chgData name="Adrian Kisliuk" userId="81f189f0-3ed9-4f29-a7b1-770f7af93676" providerId="ADAL" clId="{4C5447CB-8D2B-4571-8386-8F22113784BC}" dt="2021-03-02T09:58:27.235" v="107" actId="404"/>
          <ac:spMkLst>
            <pc:docMk/>
            <pc:sldMk cId="2250725930" sldId="831"/>
            <ac:spMk id="11" creationId="{6E9D53CF-61CA-483C-B2E1-9A3E04C8A7DD}"/>
          </ac:spMkLst>
        </pc:spChg>
        <pc:spChg chg="add mod">
          <ac:chgData name="Adrian Kisliuk" userId="81f189f0-3ed9-4f29-a7b1-770f7af93676" providerId="ADAL" clId="{4C5447CB-8D2B-4571-8386-8F22113784BC}" dt="2021-03-02T09:58:27.235" v="107" actId="404"/>
          <ac:spMkLst>
            <pc:docMk/>
            <pc:sldMk cId="2250725930" sldId="831"/>
            <ac:spMk id="14" creationId="{5DDD0872-F7FD-4B2A-9991-DD0969D4699E}"/>
          </ac:spMkLst>
        </pc:spChg>
        <pc:spChg chg="add mod">
          <ac:chgData name="Adrian Kisliuk" userId="81f189f0-3ed9-4f29-a7b1-770f7af93676" providerId="ADAL" clId="{4C5447CB-8D2B-4571-8386-8F22113784BC}" dt="2021-03-02T09:58:27.235" v="107" actId="404"/>
          <ac:spMkLst>
            <pc:docMk/>
            <pc:sldMk cId="2250725930" sldId="831"/>
            <ac:spMk id="15" creationId="{20A35AA3-7E8D-4D62-BC64-63B18C102BE5}"/>
          </ac:spMkLst>
        </pc:spChg>
        <pc:spChg chg="add mod">
          <ac:chgData name="Adrian Kisliuk" userId="81f189f0-3ed9-4f29-a7b1-770f7af93676" providerId="ADAL" clId="{4C5447CB-8D2B-4571-8386-8F22113784BC}" dt="2021-03-02T09:58:27.235" v="107" actId="404"/>
          <ac:spMkLst>
            <pc:docMk/>
            <pc:sldMk cId="2250725930" sldId="831"/>
            <ac:spMk id="16" creationId="{CF262DE9-7B9F-4ABF-B908-9EE75D26F566}"/>
          </ac:spMkLst>
        </pc:spChg>
        <pc:spChg chg="add mod">
          <ac:chgData name="Adrian Kisliuk" userId="81f189f0-3ed9-4f29-a7b1-770f7af93676" providerId="ADAL" clId="{4C5447CB-8D2B-4571-8386-8F22113784BC}" dt="2021-03-02T09:58:27.235" v="107" actId="404"/>
          <ac:spMkLst>
            <pc:docMk/>
            <pc:sldMk cId="2250725930" sldId="831"/>
            <ac:spMk id="17" creationId="{67EDA6A1-D962-4BA3-99B0-7C88D5FA1AEA}"/>
          </ac:spMkLst>
        </pc:spChg>
        <pc:spChg chg="add mod">
          <ac:chgData name="Adrian Kisliuk" userId="81f189f0-3ed9-4f29-a7b1-770f7af93676" providerId="ADAL" clId="{4C5447CB-8D2B-4571-8386-8F22113784BC}" dt="2021-03-02T09:58:27.235" v="107" actId="404"/>
          <ac:spMkLst>
            <pc:docMk/>
            <pc:sldMk cId="2250725930" sldId="831"/>
            <ac:spMk id="18" creationId="{ABA6EEC7-A34F-41BB-B794-2914E13133C3}"/>
          </ac:spMkLst>
        </pc:spChg>
        <pc:spChg chg="add mod">
          <ac:chgData name="Adrian Kisliuk" userId="81f189f0-3ed9-4f29-a7b1-770f7af93676" providerId="ADAL" clId="{4C5447CB-8D2B-4571-8386-8F22113784BC}" dt="2021-03-02T09:58:27.235" v="107" actId="404"/>
          <ac:spMkLst>
            <pc:docMk/>
            <pc:sldMk cId="2250725930" sldId="831"/>
            <ac:spMk id="19" creationId="{F406EC12-865E-48B2-9F07-19D5C1B4DE19}"/>
          </ac:spMkLst>
        </pc:spChg>
        <pc:spChg chg="add mod">
          <ac:chgData name="Adrian Kisliuk" userId="81f189f0-3ed9-4f29-a7b1-770f7af93676" providerId="ADAL" clId="{4C5447CB-8D2B-4571-8386-8F22113784BC}" dt="2021-03-02T09:58:27.235" v="107" actId="404"/>
          <ac:spMkLst>
            <pc:docMk/>
            <pc:sldMk cId="2250725930" sldId="831"/>
            <ac:spMk id="20" creationId="{1314A392-1616-4A4A-945E-6947D731DC65}"/>
          </ac:spMkLst>
        </pc:spChg>
        <pc:spChg chg="add mod">
          <ac:chgData name="Adrian Kisliuk" userId="81f189f0-3ed9-4f29-a7b1-770f7af93676" providerId="ADAL" clId="{4C5447CB-8D2B-4571-8386-8F22113784BC}" dt="2021-03-02T09:58:27.235" v="107" actId="404"/>
          <ac:spMkLst>
            <pc:docMk/>
            <pc:sldMk cId="2250725930" sldId="831"/>
            <ac:spMk id="21" creationId="{94EAC1C3-670A-4AAA-8970-F9E44E34036A}"/>
          </ac:spMkLst>
        </pc:spChg>
        <pc:spChg chg="add mod">
          <ac:chgData name="Adrian Kisliuk" userId="81f189f0-3ed9-4f29-a7b1-770f7af93676" providerId="ADAL" clId="{4C5447CB-8D2B-4571-8386-8F22113784BC}" dt="2021-03-02T09:58:27.235" v="107" actId="404"/>
          <ac:spMkLst>
            <pc:docMk/>
            <pc:sldMk cId="2250725930" sldId="831"/>
            <ac:spMk id="26" creationId="{AD8FDAE8-8962-4B21-84B3-A4B4B5E5B4D5}"/>
          </ac:spMkLst>
        </pc:spChg>
        <pc:spChg chg="add mod">
          <ac:chgData name="Adrian Kisliuk" userId="81f189f0-3ed9-4f29-a7b1-770f7af93676" providerId="ADAL" clId="{4C5447CB-8D2B-4571-8386-8F22113784BC}" dt="2021-03-02T09:58:27.235" v="107" actId="404"/>
          <ac:spMkLst>
            <pc:docMk/>
            <pc:sldMk cId="2250725930" sldId="831"/>
            <ac:spMk id="27" creationId="{D4DFC9DB-BABF-4192-A811-3F4FDF757D6B}"/>
          </ac:spMkLst>
        </pc:spChg>
        <pc:spChg chg="add mod">
          <ac:chgData name="Adrian Kisliuk" userId="81f189f0-3ed9-4f29-a7b1-770f7af93676" providerId="ADAL" clId="{4C5447CB-8D2B-4571-8386-8F22113784BC}" dt="2021-03-02T09:58:27.235" v="107" actId="404"/>
          <ac:spMkLst>
            <pc:docMk/>
            <pc:sldMk cId="2250725930" sldId="831"/>
            <ac:spMk id="28" creationId="{B8A63180-FA69-4CCB-9AF8-C40BADFA46E3}"/>
          </ac:spMkLst>
        </pc:spChg>
        <pc:spChg chg="add mod">
          <ac:chgData name="Adrian Kisliuk" userId="81f189f0-3ed9-4f29-a7b1-770f7af93676" providerId="ADAL" clId="{4C5447CB-8D2B-4571-8386-8F22113784BC}" dt="2021-03-02T09:52:57.182" v="60" actId="404"/>
          <ac:spMkLst>
            <pc:docMk/>
            <pc:sldMk cId="2250725930" sldId="831"/>
            <ac:spMk id="29" creationId="{B5AFC59E-6F27-43BE-80D9-FDF9FDFFB87F}"/>
          </ac:spMkLst>
        </pc:spChg>
        <pc:spChg chg="add mod">
          <ac:chgData name="Adrian Kisliuk" userId="81f189f0-3ed9-4f29-a7b1-770f7af93676" providerId="ADAL" clId="{4C5447CB-8D2B-4571-8386-8F22113784BC}" dt="2021-03-02T09:55:16.809" v="67" actId="14100"/>
          <ac:spMkLst>
            <pc:docMk/>
            <pc:sldMk cId="2250725930" sldId="831"/>
            <ac:spMk id="30" creationId="{199D8EFB-88FC-472F-BE8F-341B4A80D369}"/>
          </ac:spMkLst>
        </pc:spChg>
        <pc:spChg chg="add mod">
          <ac:chgData name="Adrian Kisliuk" userId="81f189f0-3ed9-4f29-a7b1-770f7af93676" providerId="ADAL" clId="{4C5447CB-8D2B-4571-8386-8F22113784BC}" dt="2021-03-02T09:53:29.888" v="62" actId="404"/>
          <ac:spMkLst>
            <pc:docMk/>
            <pc:sldMk cId="2250725930" sldId="831"/>
            <ac:spMk id="31" creationId="{1BB83D65-74FF-4A94-8BE0-D5B4D19D7974}"/>
          </ac:spMkLst>
        </pc:spChg>
        <pc:spChg chg="add mod">
          <ac:chgData name="Adrian Kisliuk" userId="81f189f0-3ed9-4f29-a7b1-770f7af93676" providerId="ADAL" clId="{4C5447CB-8D2B-4571-8386-8F22113784BC}" dt="2021-03-02T09:58:27.235" v="107" actId="404"/>
          <ac:spMkLst>
            <pc:docMk/>
            <pc:sldMk cId="2250725930" sldId="831"/>
            <ac:spMk id="32" creationId="{DA99D21D-0AD7-4A7E-9602-DCBC860847F1}"/>
          </ac:spMkLst>
        </pc:spChg>
        <pc:spChg chg="add mod">
          <ac:chgData name="Adrian Kisliuk" userId="81f189f0-3ed9-4f29-a7b1-770f7af93676" providerId="ADAL" clId="{4C5447CB-8D2B-4571-8386-8F22113784BC}" dt="2021-03-02T09:58:27.235" v="107" actId="404"/>
          <ac:spMkLst>
            <pc:docMk/>
            <pc:sldMk cId="2250725930" sldId="831"/>
            <ac:spMk id="33" creationId="{992D1074-C583-484C-85C4-37F8D5D59A8C}"/>
          </ac:spMkLst>
        </pc:spChg>
        <pc:spChg chg="add mod">
          <ac:chgData name="Adrian Kisliuk" userId="81f189f0-3ed9-4f29-a7b1-770f7af93676" providerId="ADAL" clId="{4C5447CB-8D2B-4571-8386-8F22113784BC}" dt="2021-03-02T09:58:27.235" v="107" actId="404"/>
          <ac:spMkLst>
            <pc:docMk/>
            <pc:sldMk cId="2250725930" sldId="831"/>
            <ac:spMk id="34" creationId="{EC228732-8A0E-43E7-B7C7-82EF3A584AFB}"/>
          </ac:spMkLst>
        </pc:spChg>
        <pc:spChg chg="add mod">
          <ac:chgData name="Adrian Kisliuk" userId="81f189f0-3ed9-4f29-a7b1-770f7af93676" providerId="ADAL" clId="{4C5447CB-8D2B-4571-8386-8F22113784BC}" dt="2021-03-02T09:58:27.235" v="107" actId="404"/>
          <ac:spMkLst>
            <pc:docMk/>
            <pc:sldMk cId="2250725930" sldId="831"/>
            <ac:spMk id="35" creationId="{78A17BAE-8640-4431-A76D-EC0926C0323F}"/>
          </ac:spMkLst>
        </pc:spChg>
        <pc:spChg chg="add mod">
          <ac:chgData name="Adrian Kisliuk" userId="81f189f0-3ed9-4f29-a7b1-770f7af93676" providerId="ADAL" clId="{4C5447CB-8D2B-4571-8386-8F22113784BC}" dt="2021-03-02T09:58:27.235" v="107" actId="404"/>
          <ac:spMkLst>
            <pc:docMk/>
            <pc:sldMk cId="2250725930" sldId="831"/>
            <ac:spMk id="36" creationId="{44E53A76-1FF2-4561-AB4A-3F6C08A2FDD4}"/>
          </ac:spMkLst>
        </pc:spChg>
        <pc:spChg chg="add mod">
          <ac:chgData name="Adrian Kisliuk" userId="81f189f0-3ed9-4f29-a7b1-770f7af93676" providerId="ADAL" clId="{4C5447CB-8D2B-4571-8386-8F22113784BC}" dt="2021-03-02T09:58:27.235" v="107" actId="404"/>
          <ac:spMkLst>
            <pc:docMk/>
            <pc:sldMk cId="2250725930" sldId="831"/>
            <ac:spMk id="39" creationId="{130F0DB6-CE93-4039-A548-8355E4DBEE7C}"/>
          </ac:spMkLst>
        </pc:spChg>
        <pc:spChg chg="add mod">
          <ac:chgData name="Adrian Kisliuk" userId="81f189f0-3ed9-4f29-a7b1-770f7af93676" providerId="ADAL" clId="{4C5447CB-8D2B-4571-8386-8F22113784BC}" dt="2021-03-02T09:58:27.235" v="107" actId="404"/>
          <ac:spMkLst>
            <pc:docMk/>
            <pc:sldMk cId="2250725930" sldId="831"/>
            <ac:spMk id="40" creationId="{4A8C49D1-E95B-458C-806E-968AC60A73CC}"/>
          </ac:spMkLst>
        </pc:spChg>
        <pc:spChg chg="add mod">
          <ac:chgData name="Adrian Kisliuk" userId="81f189f0-3ed9-4f29-a7b1-770f7af93676" providerId="ADAL" clId="{4C5447CB-8D2B-4571-8386-8F22113784BC}" dt="2021-03-02T09:58:27.235" v="107" actId="404"/>
          <ac:spMkLst>
            <pc:docMk/>
            <pc:sldMk cId="2250725930" sldId="831"/>
            <ac:spMk id="41" creationId="{BEB3AAEA-7608-4765-955F-30B8C0640185}"/>
          </ac:spMkLst>
        </pc:spChg>
        <pc:spChg chg="add mod">
          <ac:chgData name="Adrian Kisliuk" userId="81f189f0-3ed9-4f29-a7b1-770f7af93676" providerId="ADAL" clId="{4C5447CB-8D2B-4571-8386-8F22113784BC}" dt="2021-03-02T09:58:27.235" v="107" actId="404"/>
          <ac:spMkLst>
            <pc:docMk/>
            <pc:sldMk cId="2250725930" sldId="831"/>
            <ac:spMk id="42" creationId="{91A23A11-CF4F-4C12-89D8-F3200E1AEBAF}"/>
          </ac:spMkLst>
        </pc:spChg>
        <pc:spChg chg="add mod">
          <ac:chgData name="Adrian Kisliuk" userId="81f189f0-3ed9-4f29-a7b1-770f7af93676" providerId="ADAL" clId="{4C5447CB-8D2B-4571-8386-8F22113784BC}" dt="2021-03-02T09:58:27.235" v="107" actId="404"/>
          <ac:spMkLst>
            <pc:docMk/>
            <pc:sldMk cId="2250725930" sldId="831"/>
            <ac:spMk id="43" creationId="{B9067C4C-21AB-49D4-BD59-3CD7826D0B1F}"/>
          </ac:spMkLst>
        </pc:spChg>
        <pc:spChg chg="add mod">
          <ac:chgData name="Adrian Kisliuk" userId="81f189f0-3ed9-4f29-a7b1-770f7af93676" providerId="ADAL" clId="{4C5447CB-8D2B-4571-8386-8F22113784BC}" dt="2021-03-02T09:58:27.235" v="107" actId="404"/>
          <ac:spMkLst>
            <pc:docMk/>
            <pc:sldMk cId="2250725930" sldId="831"/>
            <ac:spMk id="44" creationId="{6C0F3FDB-9047-4906-9E63-DCEE0779FD77}"/>
          </ac:spMkLst>
        </pc:spChg>
        <pc:spChg chg="add mod">
          <ac:chgData name="Adrian Kisliuk" userId="81f189f0-3ed9-4f29-a7b1-770f7af93676" providerId="ADAL" clId="{4C5447CB-8D2B-4571-8386-8F22113784BC}" dt="2021-03-02T09:58:27.235" v="107" actId="404"/>
          <ac:spMkLst>
            <pc:docMk/>
            <pc:sldMk cId="2250725930" sldId="831"/>
            <ac:spMk id="45" creationId="{DDFF6376-166C-4D27-8D6A-16635BB15179}"/>
          </ac:spMkLst>
        </pc:spChg>
        <pc:spChg chg="add mod">
          <ac:chgData name="Adrian Kisliuk" userId="81f189f0-3ed9-4f29-a7b1-770f7af93676" providerId="ADAL" clId="{4C5447CB-8D2B-4571-8386-8F22113784BC}" dt="2021-03-02T09:58:27.235" v="107" actId="404"/>
          <ac:spMkLst>
            <pc:docMk/>
            <pc:sldMk cId="2250725930" sldId="831"/>
            <ac:spMk id="50" creationId="{B5934D37-F96D-4A98-9241-13260DD67447}"/>
          </ac:spMkLst>
        </pc:spChg>
        <pc:spChg chg="add mod">
          <ac:chgData name="Adrian Kisliuk" userId="81f189f0-3ed9-4f29-a7b1-770f7af93676" providerId="ADAL" clId="{4C5447CB-8D2B-4571-8386-8F22113784BC}" dt="2021-03-02T09:58:27.235" v="107" actId="404"/>
          <ac:spMkLst>
            <pc:docMk/>
            <pc:sldMk cId="2250725930" sldId="831"/>
            <ac:spMk id="51" creationId="{C22B3DB2-2CBE-4627-96CF-D654369CBE05}"/>
          </ac:spMkLst>
        </pc:spChg>
        <pc:spChg chg="add mod">
          <ac:chgData name="Adrian Kisliuk" userId="81f189f0-3ed9-4f29-a7b1-770f7af93676" providerId="ADAL" clId="{4C5447CB-8D2B-4571-8386-8F22113784BC}" dt="2021-03-02T09:58:27.235" v="107" actId="404"/>
          <ac:spMkLst>
            <pc:docMk/>
            <pc:sldMk cId="2250725930" sldId="831"/>
            <ac:spMk id="52" creationId="{DC0AD07F-1761-42B1-9EA8-8540CD91CC2D}"/>
          </ac:spMkLst>
        </pc:spChg>
        <pc:spChg chg="add mod">
          <ac:chgData name="Adrian Kisliuk" userId="81f189f0-3ed9-4f29-a7b1-770f7af93676" providerId="ADAL" clId="{4C5447CB-8D2B-4571-8386-8F22113784BC}" dt="2021-03-02T09:52:16.221" v="59" actId="255"/>
          <ac:spMkLst>
            <pc:docMk/>
            <pc:sldMk cId="2250725930" sldId="831"/>
            <ac:spMk id="53" creationId="{710668EB-84E6-477B-B999-CBE96F3B621C}"/>
          </ac:spMkLst>
        </pc:spChg>
        <pc:spChg chg="add mod">
          <ac:chgData name="Adrian Kisliuk" userId="81f189f0-3ed9-4f29-a7b1-770f7af93676" providerId="ADAL" clId="{4C5447CB-8D2B-4571-8386-8F22113784BC}" dt="2021-03-02T09:52:16.221" v="59" actId="255"/>
          <ac:spMkLst>
            <pc:docMk/>
            <pc:sldMk cId="2250725930" sldId="831"/>
            <ac:spMk id="54" creationId="{990F7519-4871-489D-B558-E1EB43F5B6B2}"/>
          </ac:spMkLst>
        </pc:spChg>
        <pc:spChg chg="add mod">
          <ac:chgData name="Adrian Kisliuk" userId="81f189f0-3ed9-4f29-a7b1-770f7af93676" providerId="ADAL" clId="{4C5447CB-8D2B-4571-8386-8F22113784BC}" dt="2021-03-02T09:52:16.221" v="59" actId="255"/>
          <ac:spMkLst>
            <pc:docMk/>
            <pc:sldMk cId="2250725930" sldId="831"/>
            <ac:spMk id="55" creationId="{A83F9FBA-340A-47F2-9FC4-05E3FC35F52F}"/>
          </ac:spMkLst>
        </pc:spChg>
        <pc:spChg chg="add mod">
          <ac:chgData name="Adrian Kisliuk" userId="81f189f0-3ed9-4f29-a7b1-770f7af93676" providerId="ADAL" clId="{4C5447CB-8D2B-4571-8386-8F22113784BC}" dt="2021-03-02T09:58:27.235" v="107" actId="404"/>
          <ac:spMkLst>
            <pc:docMk/>
            <pc:sldMk cId="2250725930" sldId="831"/>
            <ac:spMk id="58" creationId="{12EF1DFB-5A80-4FFE-B6C8-5DC2A65A0A18}"/>
          </ac:spMkLst>
        </pc:spChg>
        <pc:spChg chg="add mod">
          <ac:chgData name="Adrian Kisliuk" userId="81f189f0-3ed9-4f29-a7b1-770f7af93676" providerId="ADAL" clId="{4C5447CB-8D2B-4571-8386-8F22113784BC}" dt="2021-03-02T09:58:27.235" v="107" actId="404"/>
          <ac:spMkLst>
            <pc:docMk/>
            <pc:sldMk cId="2250725930" sldId="831"/>
            <ac:spMk id="59" creationId="{C4ED78C6-0F2E-476B-9A02-F42B53222EA6}"/>
          </ac:spMkLst>
        </pc:spChg>
        <pc:spChg chg="add mod">
          <ac:chgData name="Adrian Kisliuk" userId="81f189f0-3ed9-4f29-a7b1-770f7af93676" providerId="ADAL" clId="{4C5447CB-8D2B-4571-8386-8F22113784BC}" dt="2021-03-02T09:58:27.235" v="107" actId="404"/>
          <ac:spMkLst>
            <pc:docMk/>
            <pc:sldMk cId="2250725930" sldId="831"/>
            <ac:spMk id="66" creationId="{8DB15C6C-26B2-4E0E-8012-91AC0D578236}"/>
          </ac:spMkLst>
        </pc:spChg>
        <pc:spChg chg="add mod">
          <ac:chgData name="Adrian Kisliuk" userId="81f189f0-3ed9-4f29-a7b1-770f7af93676" providerId="ADAL" clId="{4C5447CB-8D2B-4571-8386-8F22113784BC}" dt="2021-03-02T09:56:35.184" v="104" actId="1076"/>
          <ac:spMkLst>
            <pc:docMk/>
            <pc:sldMk cId="2250725930" sldId="831"/>
            <ac:spMk id="67" creationId="{69BD7A21-5246-48E7-8971-EE89AF43B7FB}"/>
          </ac:spMkLst>
        </pc:spChg>
        <pc:grpChg chg="add mod">
          <ac:chgData name="Adrian Kisliuk" userId="81f189f0-3ed9-4f29-a7b1-770f7af93676" providerId="ADAL" clId="{4C5447CB-8D2B-4571-8386-8F22113784BC}" dt="2021-03-02T09:43:44.765" v="4"/>
          <ac:grpSpMkLst>
            <pc:docMk/>
            <pc:sldMk cId="2250725930" sldId="831"/>
            <ac:grpSpMk id="22" creationId="{190E40B0-38CB-4FE7-9DCA-B8B26C21FC1C}"/>
          </ac:grpSpMkLst>
        </pc:grpChg>
        <pc:grpChg chg="add mod">
          <ac:chgData name="Adrian Kisliuk" userId="81f189f0-3ed9-4f29-a7b1-770f7af93676" providerId="ADAL" clId="{4C5447CB-8D2B-4571-8386-8F22113784BC}" dt="2021-03-02T09:43:44.765" v="4"/>
          <ac:grpSpMkLst>
            <pc:docMk/>
            <pc:sldMk cId="2250725930" sldId="831"/>
            <ac:grpSpMk id="46" creationId="{043DA60E-CB19-4FA9-B03C-EB2A50C2C3B6}"/>
          </ac:grpSpMkLst>
        </pc:grpChg>
        <pc:picChg chg="del">
          <ac:chgData name="Adrian Kisliuk" userId="81f189f0-3ed9-4f29-a7b1-770f7af93676" providerId="ADAL" clId="{4C5447CB-8D2B-4571-8386-8F22113784BC}" dt="2021-03-02T09:43:41.867" v="2" actId="478"/>
          <ac:picMkLst>
            <pc:docMk/>
            <pc:sldMk cId="2250725930" sldId="831"/>
            <ac:picMk id="7" creationId="{3ACEBED3-CD35-4DC6-B904-D7E4B33F5209}"/>
          </ac:picMkLst>
        </pc:picChg>
        <pc:picChg chg="add del mod">
          <ac:chgData name="Adrian Kisliuk" userId="81f189f0-3ed9-4f29-a7b1-770f7af93676" providerId="ADAL" clId="{4C5447CB-8D2B-4571-8386-8F22113784BC}" dt="2021-03-02T09:44:58.340" v="7" actId="478"/>
          <ac:picMkLst>
            <pc:docMk/>
            <pc:sldMk cId="2250725930" sldId="831"/>
            <ac:picMk id="60" creationId="{1065422D-74A1-42E4-8CB2-6060DC73441E}"/>
          </ac:picMkLst>
        </pc:picChg>
        <pc:picChg chg="add mod">
          <ac:chgData name="Adrian Kisliuk" userId="81f189f0-3ed9-4f29-a7b1-770f7af93676" providerId="ADAL" clId="{4C5447CB-8D2B-4571-8386-8F22113784BC}" dt="2021-03-02T09:51:52.358" v="58" actId="1076"/>
          <ac:picMkLst>
            <pc:docMk/>
            <pc:sldMk cId="2250725930" sldId="831"/>
            <ac:picMk id="68" creationId="{2687DAED-9676-4AB2-A0E8-26B813F280D1}"/>
          </ac:picMkLst>
        </pc:picChg>
        <pc:cxnChg chg="add mod">
          <ac:chgData name="Adrian Kisliuk" userId="81f189f0-3ed9-4f29-a7b1-770f7af93676" providerId="ADAL" clId="{4C5447CB-8D2B-4571-8386-8F22113784BC}" dt="2021-03-02T09:56:25.519" v="102" actId="1037"/>
          <ac:cxnSpMkLst>
            <pc:docMk/>
            <pc:sldMk cId="2250725930" sldId="831"/>
            <ac:cxnSpMk id="12" creationId="{88E4D175-3957-4602-98DB-192B0A3FEB83}"/>
          </ac:cxnSpMkLst>
        </pc:cxnChg>
        <pc:cxnChg chg="add mod">
          <ac:chgData name="Adrian Kisliuk" userId="81f189f0-3ed9-4f29-a7b1-770f7af93676" providerId="ADAL" clId="{4C5447CB-8D2B-4571-8386-8F22113784BC}" dt="2021-03-02T09:50:08.564" v="46" actId="208"/>
          <ac:cxnSpMkLst>
            <pc:docMk/>
            <pc:sldMk cId="2250725930" sldId="831"/>
            <ac:cxnSpMk id="13" creationId="{4C94F315-13E1-4F3F-B2E0-FCB2E3CB4536}"/>
          </ac:cxnSpMkLst>
        </pc:cxnChg>
        <pc:cxnChg chg="mod">
          <ac:chgData name="Adrian Kisliuk" userId="81f189f0-3ed9-4f29-a7b1-770f7af93676" providerId="ADAL" clId="{4C5447CB-8D2B-4571-8386-8F22113784BC}" dt="2021-03-02T09:51:25.213" v="56" actId="208"/>
          <ac:cxnSpMkLst>
            <pc:docMk/>
            <pc:sldMk cId="2250725930" sldId="831"/>
            <ac:cxnSpMk id="23" creationId="{BB682B8D-0956-4180-8D14-07B7BE6E54A9}"/>
          </ac:cxnSpMkLst>
        </pc:cxnChg>
        <pc:cxnChg chg="mod">
          <ac:chgData name="Adrian Kisliuk" userId="81f189f0-3ed9-4f29-a7b1-770f7af93676" providerId="ADAL" clId="{4C5447CB-8D2B-4571-8386-8F22113784BC}" dt="2021-03-02T09:51:04.485" v="53" actId="208"/>
          <ac:cxnSpMkLst>
            <pc:docMk/>
            <pc:sldMk cId="2250725930" sldId="831"/>
            <ac:cxnSpMk id="24" creationId="{2FB31E75-F204-466E-841C-F8FADD8A86D1}"/>
          </ac:cxnSpMkLst>
        </pc:cxnChg>
        <pc:cxnChg chg="mod">
          <ac:chgData name="Adrian Kisliuk" userId="81f189f0-3ed9-4f29-a7b1-770f7af93676" providerId="ADAL" clId="{4C5447CB-8D2B-4571-8386-8F22113784BC}" dt="2021-03-02T09:50:45.887" v="50" actId="208"/>
          <ac:cxnSpMkLst>
            <pc:docMk/>
            <pc:sldMk cId="2250725930" sldId="831"/>
            <ac:cxnSpMk id="25" creationId="{3C75B013-ED0D-440A-83B5-78D9248BD7DA}"/>
          </ac:cxnSpMkLst>
        </pc:cxnChg>
        <pc:cxnChg chg="add mod">
          <ac:chgData name="Adrian Kisliuk" userId="81f189f0-3ed9-4f29-a7b1-770f7af93676" providerId="ADAL" clId="{4C5447CB-8D2B-4571-8386-8F22113784BC}" dt="2021-03-02T09:56:25.519" v="102" actId="1037"/>
          <ac:cxnSpMkLst>
            <pc:docMk/>
            <pc:sldMk cId="2250725930" sldId="831"/>
            <ac:cxnSpMk id="37" creationId="{FC49E1FF-C860-40E7-9714-387C2D0EC39C}"/>
          </ac:cxnSpMkLst>
        </pc:cxnChg>
        <pc:cxnChg chg="add mod">
          <ac:chgData name="Adrian Kisliuk" userId="81f189f0-3ed9-4f29-a7b1-770f7af93676" providerId="ADAL" clId="{4C5447CB-8D2B-4571-8386-8F22113784BC}" dt="2021-03-02T09:50:08.564" v="46" actId="208"/>
          <ac:cxnSpMkLst>
            <pc:docMk/>
            <pc:sldMk cId="2250725930" sldId="831"/>
            <ac:cxnSpMk id="38" creationId="{64696C07-7371-4BAC-BB42-582A3150FA89}"/>
          </ac:cxnSpMkLst>
        </pc:cxnChg>
        <pc:cxnChg chg="mod">
          <ac:chgData name="Adrian Kisliuk" userId="81f189f0-3ed9-4f29-a7b1-770f7af93676" providerId="ADAL" clId="{4C5447CB-8D2B-4571-8386-8F22113784BC}" dt="2021-03-02T09:43:44.765" v="4"/>
          <ac:cxnSpMkLst>
            <pc:docMk/>
            <pc:sldMk cId="2250725930" sldId="831"/>
            <ac:cxnSpMk id="47" creationId="{794E4109-6492-4929-8B8C-5EB2754DC59A}"/>
          </ac:cxnSpMkLst>
        </pc:cxnChg>
        <pc:cxnChg chg="mod">
          <ac:chgData name="Adrian Kisliuk" userId="81f189f0-3ed9-4f29-a7b1-770f7af93676" providerId="ADAL" clId="{4C5447CB-8D2B-4571-8386-8F22113784BC}" dt="2021-03-02T09:43:44.765" v="4"/>
          <ac:cxnSpMkLst>
            <pc:docMk/>
            <pc:sldMk cId="2250725930" sldId="831"/>
            <ac:cxnSpMk id="48" creationId="{D7A1B328-A333-43B8-AF17-F2D05DE7FF3C}"/>
          </ac:cxnSpMkLst>
        </pc:cxnChg>
        <pc:cxnChg chg="mod">
          <ac:chgData name="Adrian Kisliuk" userId="81f189f0-3ed9-4f29-a7b1-770f7af93676" providerId="ADAL" clId="{4C5447CB-8D2B-4571-8386-8F22113784BC}" dt="2021-03-02T09:43:44.765" v="4"/>
          <ac:cxnSpMkLst>
            <pc:docMk/>
            <pc:sldMk cId="2250725930" sldId="831"/>
            <ac:cxnSpMk id="49" creationId="{8F00F6BD-CD41-4D07-B6A1-055C87EBE061}"/>
          </ac:cxnSpMkLst>
        </pc:cxnChg>
        <pc:cxnChg chg="add mod">
          <ac:chgData name="Adrian Kisliuk" userId="81f189f0-3ed9-4f29-a7b1-770f7af93676" providerId="ADAL" clId="{4C5447CB-8D2B-4571-8386-8F22113784BC}" dt="2021-03-02T09:50:08.564" v="46" actId="208"/>
          <ac:cxnSpMkLst>
            <pc:docMk/>
            <pc:sldMk cId="2250725930" sldId="831"/>
            <ac:cxnSpMk id="56" creationId="{724D7170-5963-4A05-B9A0-32603886D9AF}"/>
          </ac:cxnSpMkLst>
        </pc:cxnChg>
        <pc:cxnChg chg="add mod">
          <ac:chgData name="Adrian Kisliuk" userId="81f189f0-3ed9-4f29-a7b1-770f7af93676" providerId="ADAL" clId="{4C5447CB-8D2B-4571-8386-8F22113784BC}" dt="2021-03-02T09:50:08.564" v="46" actId="208"/>
          <ac:cxnSpMkLst>
            <pc:docMk/>
            <pc:sldMk cId="2250725930" sldId="831"/>
            <ac:cxnSpMk id="57" creationId="{6114C79A-C88F-4D4E-B54D-47640F616621}"/>
          </ac:cxnSpMkLst>
        </pc:cxnChg>
        <pc:cxnChg chg="add mod">
          <ac:chgData name="Adrian Kisliuk" userId="81f189f0-3ed9-4f29-a7b1-770f7af93676" providerId="ADAL" clId="{4C5447CB-8D2B-4571-8386-8F22113784BC}" dt="2021-03-02T09:52:57.182" v="60" actId="404"/>
          <ac:cxnSpMkLst>
            <pc:docMk/>
            <pc:sldMk cId="2250725930" sldId="831"/>
            <ac:cxnSpMk id="61" creationId="{6B00E9D6-ABF8-4DBB-A008-1A5B147F2E51}"/>
          </ac:cxnSpMkLst>
        </pc:cxnChg>
        <pc:cxnChg chg="add mod">
          <ac:chgData name="Adrian Kisliuk" userId="81f189f0-3ed9-4f29-a7b1-770f7af93676" providerId="ADAL" clId="{4C5447CB-8D2B-4571-8386-8F22113784BC}" dt="2021-03-02T09:55:16.809" v="67" actId="14100"/>
          <ac:cxnSpMkLst>
            <pc:docMk/>
            <pc:sldMk cId="2250725930" sldId="831"/>
            <ac:cxnSpMk id="62" creationId="{A7F613DE-CF25-4659-BEB5-A6293800A85C}"/>
          </ac:cxnSpMkLst>
        </pc:cxnChg>
        <pc:cxnChg chg="add mod">
          <ac:chgData name="Adrian Kisliuk" userId="81f189f0-3ed9-4f29-a7b1-770f7af93676" providerId="ADAL" clId="{4C5447CB-8D2B-4571-8386-8F22113784BC}" dt="2021-03-02T09:53:29.888" v="62" actId="404"/>
          <ac:cxnSpMkLst>
            <pc:docMk/>
            <pc:sldMk cId="2250725930" sldId="831"/>
            <ac:cxnSpMk id="63" creationId="{A063E153-814D-406B-9A67-EF20F840AEF5}"/>
          </ac:cxnSpMkLst>
        </pc:cxnChg>
        <pc:cxnChg chg="add mod">
          <ac:chgData name="Adrian Kisliuk" userId="81f189f0-3ed9-4f29-a7b1-770f7af93676" providerId="ADAL" clId="{4C5447CB-8D2B-4571-8386-8F22113784BC}" dt="2021-03-02T09:56:25.519" v="102" actId="1037"/>
          <ac:cxnSpMkLst>
            <pc:docMk/>
            <pc:sldMk cId="2250725930" sldId="831"/>
            <ac:cxnSpMk id="64" creationId="{A05BC7AB-C665-46D6-941B-032814E263E2}"/>
          </ac:cxnSpMkLst>
        </pc:cxnChg>
        <pc:cxnChg chg="add mod">
          <ac:chgData name="Adrian Kisliuk" userId="81f189f0-3ed9-4f29-a7b1-770f7af93676" providerId="ADAL" clId="{4C5447CB-8D2B-4571-8386-8F22113784BC}" dt="2021-03-02T09:50:13.444" v="47" actId="208"/>
          <ac:cxnSpMkLst>
            <pc:docMk/>
            <pc:sldMk cId="2250725930" sldId="831"/>
            <ac:cxnSpMk id="65" creationId="{40756E93-0A45-4810-B9FA-45CBBAFB32CF}"/>
          </ac:cxnSpMkLst>
        </pc:cxnChg>
        <pc:cxnChg chg="add del mod">
          <ac:chgData name="Adrian Kisliuk" userId="81f189f0-3ed9-4f29-a7b1-770f7af93676" providerId="ADAL" clId="{4C5447CB-8D2B-4571-8386-8F22113784BC}" dt="2021-03-02T09:56:30.651" v="103" actId="478"/>
          <ac:cxnSpMkLst>
            <pc:docMk/>
            <pc:sldMk cId="2250725930" sldId="831"/>
            <ac:cxnSpMk id="69" creationId="{10DD1B51-CBB4-473B-B831-EDA6E9835FAA}"/>
          </ac:cxnSpMkLst>
        </pc:cxnChg>
      </pc:sldChg>
      <pc:sldChg chg="modSp add mod ord">
        <pc:chgData name="Adrian Kisliuk" userId="81f189f0-3ed9-4f29-a7b1-770f7af93676" providerId="ADAL" clId="{4C5447CB-8D2B-4571-8386-8F22113784BC}" dt="2021-03-02T10:12:14.801" v="661"/>
        <pc:sldMkLst>
          <pc:docMk/>
          <pc:sldMk cId="3037986608" sldId="832"/>
        </pc:sldMkLst>
        <pc:spChg chg="mod">
          <ac:chgData name="Adrian Kisliuk" userId="81f189f0-3ed9-4f29-a7b1-770f7af93676" providerId="ADAL" clId="{4C5447CB-8D2B-4571-8386-8F22113784BC}" dt="2021-03-02T10:02:00.241" v="155" actId="14100"/>
          <ac:spMkLst>
            <pc:docMk/>
            <pc:sldMk cId="3037986608" sldId="832"/>
            <ac:spMk id="32" creationId="{DA99D21D-0AD7-4A7E-9602-DCBC860847F1}"/>
          </ac:spMkLst>
        </pc:spChg>
        <pc:spChg chg="mod">
          <ac:chgData name="Adrian Kisliuk" userId="81f189f0-3ed9-4f29-a7b1-770f7af93676" providerId="ADAL" clId="{4C5447CB-8D2B-4571-8386-8F22113784BC}" dt="2021-03-02T10:02:41.713" v="159" actId="14100"/>
          <ac:spMkLst>
            <pc:docMk/>
            <pc:sldMk cId="3037986608" sldId="832"/>
            <ac:spMk id="33" creationId="{992D1074-C583-484C-85C4-37F8D5D59A8C}"/>
          </ac:spMkLst>
        </pc:spChg>
        <pc:spChg chg="mod">
          <ac:chgData name="Adrian Kisliuk" userId="81f189f0-3ed9-4f29-a7b1-770f7af93676" providerId="ADAL" clId="{4C5447CB-8D2B-4571-8386-8F22113784BC}" dt="2021-03-02T10:02:38.825" v="158" actId="14100"/>
          <ac:spMkLst>
            <pc:docMk/>
            <pc:sldMk cId="3037986608" sldId="832"/>
            <ac:spMk id="34" creationId="{EC228732-8A0E-43E7-B7C7-82EF3A584AFB}"/>
          </ac:spMkLst>
        </pc:spChg>
        <pc:spChg chg="mod">
          <ac:chgData name="Adrian Kisliuk" userId="81f189f0-3ed9-4f29-a7b1-770f7af93676" providerId="ADAL" clId="{4C5447CB-8D2B-4571-8386-8F22113784BC}" dt="2021-03-02T10:02:34.521" v="157" actId="14100"/>
          <ac:spMkLst>
            <pc:docMk/>
            <pc:sldMk cId="3037986608" sldId="832"/>
            <ac:spMk id="35" creationId="{78A17BAE-8640-4431-A76D-EC0926C0323F}"/>
          </ac:spMkLst>
        </pc:spChg>
        <pc:spChg chg="mod">
          <ac:chgData name="Adrian Kisliuk" userId="81f189f0-3ed9-4f29-a7b1-770f7af93676" providerId="ADAL" clId="{4C5447CB-8D2B-4571-8386-8F22113784BC}" dt="2021-03-02T10:02:44.850" v="160" actId="14100"/>
          <ac:spMkLst>
            <pc:docMk/>
            <pc:sldMk cId="3037986608" sldId="832"/>
            <ac:spMk id="36" creationId="{44E53A76-1FF2-4561-AB4A-3F6C08A2FDD4}"/>
          </ac:spMkLst>
        </pc:spChg>
        <pc:spChg chg="mod">
          <ac:chgData name="Adrian Kisliuk" userId="81f189f0-3ed9-4f29-a7b1-770f7af93676" providerId="ADAL" clId="{4C5447CB-8D2B-4571-8386-8F22113784BC}" dt="2021-03-02T10:01:02.019" v="116" actId="12788"/>
          <ac:spMkLst>
            <pc:docMk/>
            <pc:sldMk cId="3037986608" sldId="832"/>
            <ac:spMk id="43" creationId="{B9067C4C-21AB-49D4-BD59-3CD7826D0B1F}"/>
          </ac:spMkLst>
        </pc:spChg>
        <pc:spChg chg="mod">
          <ac:chgData name="Adrian Kisliuk" userId="81f189f0-3ed9-4f29-a7b1-770f7af93676" providerId="ADAL" clId="{4C5447CB-8D2B-4571-8386-8F22113784BC}" dt="2021-03-02T10:01:02.019" v="116" actId="12788"/>
          <ac:spMkLst>
            <pc:docMk/>
            <pc:sldMk cId="3037986608" sldId="832"/>
            <ac:spMk id="44" creationId="{6C0F3FDB-9047-4906-9E63-DCEE0779FD77}"/>
          </ac:spMkLst>
        </pc:spChg>
        <pc:spChg chg="mod">
          <ac:chgData name="Adrian Kisliuk" userId="81f189f0-3ed9-4f29-a7b1-770f7af93676" providerId="ADAL" clId="{4C5447CB-8D2B-4571-8386-8F22113784BC}" dt="2021-03-02T10:01:02.019" v="116" actId="12788"/>
          <ac:spMkLst>
            <pc:docMk/>
            <pc:sldMk cId="3037986608" sldId="832"/>
            <ac:spMk id="45" creationId="{DDFF6376-166C-4D27-8D6A-16635BB15179}"/>
          </ac:spMkLst>
        </pc:spChg>
        <pc:spChg chg="mod">
          <ac:chgData name="Adrian Kisliuk" userId="81f189f0-3ed9-4f29-a7b1-770f7af93676" providerId="ADAL" clId="{4C5447CB-8D2B-4571-8386-8F22113784BC}" dt="2021-03-02T10:01:34.060" v="128" actId="1036"/>
          <ac:spMkLst>
            <pc:docMk/>
            <pc:sldMk cId="3037986608" sldId="832"/>
            <ac:spMk id="50" creationId="{B5934D37-F96D-4A98-9241-13260DD67447}"/>
          </ac:spMkLst>
        </pc:spChg>
        <pc:spChg chg="mod">
          <ac:chgData name="Adrian Kisliuk" userId="81f189f0-3ed9-4f29-a7b1-770f7af93676" providerId="ADAL" clId="{4C5447CB-8D2B-4571-8386-8F22113784BC}" dt="2021-03-02T10:01:39.360" v="141" actId="1036"/>
          <ac:spMkLst>
            <pc:docMk/>
            <pc:sldMk cId="3037986608" sldId="832"/>
            <ac:spMk id="51" creationId="{C22B3DB2-2CBE-4627-96CF-D654369CBE05}"/>
          </ac:spMkLst>
        </pc:spChg>
        <pc:spChg chg="mod">
          <ac:chgData name="Adrian Kisliuk" userId="81f189f0-3ed9-4f29-a7b1-770f7af93676" providerId="ADAL" clId="{4C5447CB-8D2B-4571-8386-8F22113784BC}" dt="2021-03-02T10:01:53.772" v="154" actId="1035"/>
          <ac:spMkLst>
            <pc:docMk/>
            <pc:sldMk cId="3037986608" sldId="832"/>
            <ac:spMk id="52" creationId="{DC0AD07F-1761-42B1-9EA8-8540CD91CC2D}"/>
          </ac:spMkLst>
        </pc:spChg>
        <pc:spChg chg="mod">
          <ac:chgData name="Adrian Kisliuk" userId="81f189f0-3ed9-4f29-a7b1-770f7af93676" providerId="ADAL" clId="{4C5447CB-8D2B-4571-8386-8F22113784BC}" dt="2021-03-02T10:01:06.857" v="117" actId="14100"/>
          <ac:spMkLst>
            <pc:docMk/>
            <pc:sldMk cId="3037986608" sldId="832"/>
            <ac:spMk id="59" creationId="{C4ED78C6-0F2E-476B-9A02-F42B53222EA6}"/>
          </ac:spMkLst>
        </pc:spChg>
        <pc:spChg chg="mod">
          <ac:chgData name="Adrian Kisliuk" userId="81f189f0-3ed9-4f29-a7b1-770f7af93676" providerId="ADAL" clId="{4C5447CB-8D2B-4571-8386-8F22113784BC}" dt="2021-03-02T10:02:17.991" v="156" actId="1076"/>
          <ac:spMkLst>
            <pc:docMk/>
            <pc:sldMk cId="3037986608" sldId="832"/>
            <ac:spMk id="66" creationId="{8DB15C6C-26B2-4E0E-8012-91AC0D578236}"/>
          </ac:spMkLst>
        </pc:spChg>
        <pc:cxnChg chg="mod">
          <ac:chgData name="Adrian Kisliuk" userId="81f189f0-3ed9-4f29-a7b1-770f7af93676" providerId="ADAL" clId="{4C5447CB-8D2B-4571-8386-8F22113784BC}" dt="2021-03-02T10:02:44.850" v="160" actId="14100"/>
          <ac:cxnSpMkLst>
            <pc:docMk/>
            <pc:sldMk cId="3037986608" sldId="832"/>
            <ac:cxnSpMk id="37" creationId="{FC49E1FF-C860-40E7-9714-387C2D0EC39C}"/>
          </ac:cxnSpMkLst>
        </pc:cxnChg>
        <pc:cxnChg chg="mod">
          <ac:chgData name="Adrian Kisliuk" userId="81f189f0-3ed9-4f29-a7b1-770f7af93676" providerId="ADAL" clId="{4C5447CB-8D2B-4571-8386-8F22113784BC}" dt="2021-03-02T10:02:34.521" v="157" actId="14100"/>
          <ac:cxnSpMkLst>
            <pc:docMk/>
            <pc:sldMk cId="3037986608" sldId="832"/>
            <ac:cxnSpMk id="38" creationId="{64696C07-7371-4BAC-BB42-582A3150FA89}"/>
          </ac:cxnSpMkLst>
        </pc:cxnChg>
        <pc:cxnChg chg="mod">
          <ac:chgData name="Adrian Kisliuk" userId="81f189f0-3ed9-4f29-a7b1-770f7af93676" providerId="ADAL" clId="{4C5447CB-8D2B-4571-8386-8F22113784BC}" dt="2021-03-02T10:01:30.513" v="123" actId="14100"/>
          <ac:cxnSpMkLst>
            <pc:docMk/>
            <pc:sldMk cId="3037986608" sldId="832"/>
            <ac:cxnSpMk id="47" creationId="{794E4109-6492-4929-8B8C-5EB2754DC59A}"/>
          </ac:cxnSpMkLst>
        </pc:cxnChg>
        <pc:cxnChg chg="mod">
          <ac:chgData name="Adrian Kisliuk" userId="81f189f0-3ed9-4f29-a7b1-770f7af93676" providerId="ADAL" clId="{4C5447CB-8D2B-4571-8386-8F22113784BC}" dt="2021-03-02T10:01:16.136" v="119" actId="14100"/>
          <ac:cxnSpMkLst>
            <pc:docMk/>
            <pc:sldMk cId="3037986608" sldId="832"/>
            <ac:cxnSpMk id="48" creationId="{D7A1B328-A333-43B8-AF17-F2D05DE7FF3C}"/>
          </ac:cxnSpMkLst>
        </pc:cxnChg>
        <pc:cxnChg chg="mod">
          <ac:chgData name="Adrian Kisliuk" userId="81f189f0-3ed9-4f29-a7b1-770f7af93676" providerId="ADAL" clId="{4C5447CB-8D2B-4571-8386-8F22113784BC}" dt="2021-03-02T10:01:24.674" v="121" actId="14100"/>
          <ac:cxnSpMkLst>
            <pc:docMk/>
            <pc:sldMk cId="3037986608" sldId="832"/>
            <ac:cxnSpMk id="49" creationId="{8F00F6BD-CD41-4D07-B6A1-055C87EBE061}"/>
          </ac:cxnSpMkLst>
        </pc:cxnChg>
        <pc:cxnChg chg="mod">
          <ac:chgData name="Adrian Kisliuk" userId="81f189f0-3ed9-4f29-a7b1-770f7af93676" providerId="ADAL" clId="{4C5447CB-8D2B-4571-8386-8F22113784BC}" dt="2021-03-02T10:01:06.857" v="117" actId="14100"/>
          <ac:cxnSpMkLst>
            <pc:docMk/>
            <pc:sldMk cId="3037986608" sldId="832"/>
            <ac:cxnSpMk id="56" creationId="{724D7170-5963-4A05-B9A0-32603886D9AF}"/>
          </ac:cxnSpMkLst>
        </pc:cxnChg>
        <pc:cxnChg chg="mod">
          <ac:chgData name="Adrian Kisliuk" userId="81f189f0-3ed9-4f29-a7b1-770f7af93676" providerId="ADAL" clId="{4C5447CB-8D2B-4571-8386-8F22113784BC}" dt="2021-03-02T10:02:34.521" v="157" actId="14100"/>
          <ac:cxnSpMkLst>
            <pc:docMk/>
            <pc:sldMk cId="3037986608" sldId="832"/>
            <ac:cxnSpMk id="57" creationId="{6114C79A-C88F-4D4E-B54D-47640F616621}"/>
          </ac:cxnSpMkLst>
        </pc:cxnChg>
        <pc:cxnChg chg="mod">
          <ac:chgData name="Adrian Kisliuk" userId="81f189f0-3ed9-4f29-a7b1-770f7af93676" providerId="ADAL" clId="{4C5447CB-8D2B-4571-8386-8F22113784BC}" dt="2021-03-02T10:01:06.857" v="117" actId="14100"/>
          <ac:cxnSpMkLst>
            <pc:docMk/>
            <pc:sldMk cId="3037986608" sldId="832"/>
            <ac:cxnSpMk id="65" creationId="{40756E93-0A45-4810-B9FA-45CBBAFB32CF}"/>
          </ac:cxnSpMkLst>
        </pc:cxnChg>
      </pc:sldChg>
      <pc:sldChg chg="add del">
        <pc:chgData name="Adrian Kisliuk" userId="81f189f0-3ed9-4f29-a7b1-770f7af93676" providerId="ADAL" clId="{4C5447CB-8D2B-4571-8386-8F22113784BC}" dt="2021-03-02T10:00:23.128" v="113"/>
        <pc:sldMkLst>
          <pc:docMk/>
          <pc:sldMk cId="2006199255" sldId="833"/>
        </pc:sldMkLst>
      </pc:sldChg>
      <pc:sldChg chg="addSp delSp modSp add mod chgLayout">
        <pc:chgData name="Adrian Kisliuk" userId="81f189f0-3ed9-4f29-a7b1-770f7af93676" providerId="ADAL" clId="{4C5447CB-8D2B-4571-8386-8F22113784BC}" dt="2021-03-02T12:35:46.516" v="2308" actId="478"/>
        <pc:sldMkLst>
          <pc:docMk/>
          <pc:sldMk cId="3217164513" sldId="833"/>
        </pc:sldMkLst>
        <pc:spChg chg="mod ord">
          <ac:chgData name="Adrian Kisliuk" userId="81f189f0-3ed9-4f29-a7b1-770f7af93676" providerId="ADAL" clId="{4C5447CB-8D2B-4571-8386-8F22113784BC}" dt="2021-03-02T12:35:39.936" v="2265"/>
          <ac:spMkLst>
            <pc:docMk/>
            <pc:sldMk cId="3217164513" sldId="833"/>
            <ac:spMk id="2" creationId="{50E68478-280C-4B71-A2DA-1A37303CE9F7}"/>
          </ac:spMkLst>
        </pc:spChg>
        <pc:spChg chg="del mod ord">
          <ac:chgData name="Adrian Kisliuk" userId="81f189f0-3ed9-4f29-a7b1-770f7af93676" providerId="ADAL" clId="{4C5447CB-8D2B-4571-8386-8F22113784BC}" dt="2021-03-02T12:35:46.516" v="2308" actId="478"/>
          <ac:spMkLst>
            <pc:docMk/>
            <pc:sldMk cId="3217164513" sldId="833"/>
            <ac:spMk id="3" creationId="{5CD78C9C-FC67-400A-AB19-9FAF630ADB32}"/>
          </ac:spMkLst>
        </pc:spChg>
        <pc:spChg chg="del">
          <ac:chgData name="Adrian Kisliuk" userId="81f189f0-3ed9-4f29-a7b1-770f7af93676" providerId="ADAL" clId="{4C5447CB-8D2B-4571-8386-8F22113784BC}" dt="2021-03-02T10:03:18.247" v="162" actId="478"/>
          <ac:spMkLst>
            <pc:docMk/>
            <pc:sldMk cId="3217164513" sldId="833"/>
            <ac:spMk id="6" creationId="{221CC513-2CB1-45AD-8D03-6B9B142D6078}"/>
          </ac:spMkLst>
        </pc:spChg>
        <pc:spChg chg="del">
          <ac:chgData name="Adrian Kisliuk" userId="81f189f0-3ed9-4f29-a7b1-770f7af93676" providerId="ADAL" clId="{4C5447CB-8D2B-4571-8386-8F22113784BC}" dt="2021-03-02T10:03:18.247" v="162" actId="478"/>
          <ac:spMkLst>
            <pc:docMk/>
            <pc:sldMk cId="3217164513" sldId="833"/>
            <ac:spMk id="8" creationId="{AD5C1B8E-2F6A-4FBA-87FE-FE631E4E7C9B}"/>
          </ac:spMkLst>
        </pc:spChg>
        <pc:spChg chg="del">
          <ac:chgData name="Adrian Kisliuk" userId="81f189f0-3ed9-4f29-a7b1-770f7af93676" providerId="ADAL" clId="{4C5447CB-8D2B-4571-8386-8F22113784BC}" dt="2021-03-02T10:03:18.247" v="162" actId="478"/>
          <ac:spMkLst>
            <pc:docMk/>
            <pc:sldMk cId="3217164513" sldId="833"/>
            <ac:spMk id="9" creationId="{D7AB581F-2B39-4FA5-A2CE-794AF5964577}"/>
          </ac:spMkLst>
        </pc:spChg>
        <pc:spChg chg="del">
          <ac:chgData name="Adrian Kisliuk" userId="81f189f0-3ed9-4f29-a7b1-770f7af93676" providerId="ADAL" clId="{4C5447CB-8D2B-4571-8386-8F22113784BC}" dt="2021-03-02T10:03:18.247" v="162" actId="478"/>
          <ac:spMkLst>
            <pc:docMk/>
            <pc:sldMk cId="3217164513" sldId="833"/>
            <ac:spMk id="10" creationId="{F5235A7F-3321-45CE-841B-2F7D7A7CD697}"/>
          </ac:spMkLst>
        </pc:spChg>
        <pc:spChg chg="del">
          <ac:chgData name="Adrian Kisliuk" userId="81f189f0-3ed9-4f29-a7b1-770f7af93676" providerId="ADAL" clId="{4C5447CB-8D2B-4571-8386-8F22113784BC}" dt="2021-03-02T10:03:18.247" v="162" actId="478"/>
          <ac:spMkLst>
            <pc:docMk/>
            <pc:sldMk cId="3217164513" sldId="833"/>
            <ac:spMk id="11" creationId="{6E9D53CF-61CA-483C-B2E1-9A3E04C8A7DD}"/>
          </ac:spMkLst>
        </pc:spChg>
        <pc:spChg chg="del">
          <ac:chgData name="Adrian Kisliuk" userId="81f189f0-3ed9-4f29-a7b1-770f7af93676" providerId="ADAL" clId="{4C5447CB-8D2B-4571-8386-8F22113784BC}" dt="2021-03-02T10:03:18.247" v="162" actId="478"/>
          <ac:spMkLst>
            <pc:docMk/>
            <pc:sldMk cId="3217164513" sldId="833"/>
            <ac:spMk id="14" creationId="{5DDD0872-F7FD-4B2A-9991-DD0969D4699E}"/>
          </ac:spMkLst>
        </pc:spChg>
        <pc:spChg chg="del">
          <ac:chgData name="Adrian Kisliuk" userId="81f189f0-3ed9-4f29-a7b1-770f7af93676" providerId="ADAL" clId="{4C5447CB-8D2B-4571-8386-8F22113784BC}" dt="2021-03-02T10:03:18.247" v="162" actId="478"/>
          <ac:spMkLst>
            <pc:docMk/>
            <pc:sldMk cId="3217164513" sldId="833"/>
            <ac:spMk id="15" creationId="{20A35AA3-7E8D-4D62-BC64-63B18C102BE5}"/>
          </ac:spMkLst>
        </pc:spChg>
        <pc:spChg chg="del">
          <ac:chgData name="Adrian Kisliuk" userId="81f189f0-3ed9-4f29-a7b1-770f7af93676" providerId="ADAL" clId="{4C5447CB-8D2B-4571-8386-8F22113784BC}" dt="2021-03-02T10:03:18.247" v="162" actId="478"/>
          <ac:spMkLst>
            <pc:docMk/>
            <pc:sldMk cId="3217164513" sldId="833"/>
            <ac:spMk id="16" creationId="{CF262DE9-7B9F-4ABF-B908-9EE75D26F566}"/>
          </ac:spMkLst>
        </pc:spChg>
        <pc:spChg chg="del">
          <ac:chgData name="Adrian Kisliuk" userId="81f189f0-3ed9-4f29-a7b1-770f7af93676" providerId="ADAL" clId="{4C5447CB-8D2B-4571-8386-8F22113784BC}" dt="2021-03-02T10:03:18.247" v="162" actId="478"/>
          <ac:spMkLst>
            <pc:docMk/>
            <pc:sldMk cId="3217164513" sldId="833"/>
            <ac:spMk id="17" creationId="{67EDA6A1-D962-4BA3-99B0-7C88D5FA1AEA}"/>
          </ac:spMkLst>
        </pc:spChg>
        <pc:spChg chg="del">
          <ac:chgData name="Adrian Kisliuk" userId="81f189f0-3ed9-4f29-a7b1-770f7af93676" providerId="ADAL" clId="{4C5447CB-8D2B-4571-8386-8F22113784BC}" dt="2021-03-02T10:03:18.247" v="162" actId="478"/>
          <ac:spMkLst>
            <pc:docMk/>
            <pc:sldMk cId="3217164513" sldId="833"/>
            <ac:spMk id="18" creationId="{ABA6EEC7-A34F-41BB-B794-2914E13133C3}"/>
          </ac:spMkLst>
        </pc:spChg>
        <pc:spChg chg="del">
          <ac:chgData name="Adrian Kisliuk" userId="81f189f0-3ed9-4f29-a7b1-770f7af93676" providerId="ADAL" clId="{4C5447CB-8D2B-4571-8386-8F22113784BC}" dt="2021-03-02T10:03:18.247" v="162" actId="478"/>
          <ac:spMkLst>
            <pc:docMk/>
            <pc:sldMk cId="3217164513" sldId="833"/>
            <ac:spMk id="19" creationId="{F406EC12-865E-48B2-9F07-19D5C1B4DE19}"/>
          </ac:spMkLst>
        </pc:spChg>
        <pc:spChg chg="del">
          <ac:chgData name="Adrian Kisliuk" userId="81f189f0-3ed9-4f29-a7b1-770f7af93676" providerId="ADAL" clId="{4C5447CB-8D2B-4571-8386-8F22113784BC}" dt="2021-03-02T10:03:18.247" v="162" actId="478"/>
          <ac:spMkLst>
            <pc:docMk/>
            <pc:sldMk cId="3217164513" sldId="833"/>
            <ac:spMk id="20" creationId="{1314A392-1616-4A4A-945E-6947D731DC65}"/>
          </ac:spMkLst>
        </pc:spChg>
        <pc:spChg chg="del">
          <ac:chgData name="Adrian Kisliuk" userId="81f189f0-3ed9-4f29-a7b1-770f7af93676" providerId="ADAL" clId="{4C5447CB-8D2B-4571-8386-8F22113784BC}" dt="2021-03-02T10:03:18.247" v="162" actId="478"/>
          <ac:spMkLst>
            <pc:docMk/>
            <pc:sldMk cId="3217164513" sldId="833"/>
            <ac:spMk id="21" creationId="{94EAC1C3-670A-4AAA-8970-F9E44E34036A}"/>
          </ac:spMkLst>
        </pc:spChg>
        <pc:spChg chg="del">
          <ac:chgData name="Adrian Kisliuk" userId="81f189f0-3ed9-4f29-a7b1-770f7af93676" providerId="ADAL" clId="{4C5447CB-8D2B-4571-8386-8F22113784BC}" dt="2021-03-02T10:03:18.247" v="162" actId="478"/>
          <ac:spMkLst>
            <pc:docMk/>
            <pc:sldMk cId="3217164513" sldId="833"/>
            <ac:spMk id="26" creationId="{AD8FDAE8-8962-4B21-84B3-A4B4B5E5B4D5}"/>
          </ac:spMkLst>
        </pc:spChg>
        <pc:spChg chg="del">
          <ac:chgData name="Adrian Kisliuk" userId="81f189f0-3ed9-4f29-a7b1-770f7af93676" providerId="ADAL" clId="{4C5447CB-8D2B-4571-8386-8F22113784BC}" dt="2021-03-02T10:03:18.247" v="162" actId="478"/>
          <ac:spMkLst>
            <pc:docMk/>
            <pc:sldMk cId="3217164513" sldId="833"/>
            <ac:spMk id="27" creationId="{D4DFC9DB-BABF-4192-A811-3F4FDF757D6B}"/>
          </ac:spMkLst>
        </pc:spChg>
        <pc:spChg chg="del">
          <ac:chgData name="Adrian Kisliuk" userId="81f189f0-3ed9-4f29-a7b1-770f7af93676" providerId="ADAL" clId="{4C5447CB-8D2B-4571-8386-8F22113784BC}" dt="2021-03-02T10:03:18.247" v="162" actId="478"/>
          <ac:spMkLst>
            <pc:docMk/>
            <pc:sldMk cId="3217164513" sldId="833"/>
            <ac:spMk id="28" creationId="{B8A63180-FA69-4CCB-9AF8-C40BADFA46E3}"/>
          </ac:spMkLst>
        </pc:spChg>
        <pc:spChg chg="mod ord">
          <ac:chgData name="Adrian Kisliuk" userId="81f189f0-3ed9-4f29-a7b1-770f7af93676" providerId="ADAL" clId="{4C5447CB-8D2B-4571-8386-8F22113784BC}" dt="2021-03-02T10:33:53.459" v="865" actId="207"/>
          <ac:spMkLst>
            <pc:docMk/>
            <pc:sldMk cId="3217164513" sldId="833"/>
            <ac:spMk id="29" creationId="{B5AFC59E-6F27-43BE-80D9-FDF9FDFFB87F}"/>
          </ac:spMkLst>
        </pc:spChg>
        <pc:spChg chg="mod ord">
          <ac:chgData name="Adrian Kisliuk" userId="81f189f0-3ed9-4f29-a7b1-770f7af93676" providerId="ADAL" clId="{4C5447CB-8D2B-4571-8386-8F22113784BC}" dt="2021-03-02T10:33:53.459" v="865" actId="207"/>
          <ac:spMkLst>
            <pc:docMk/>
            <pc:sldMk cId="3217164513" sldId="833"/>
            <ac:spMk id="30" creationId="{199D8EFB-88FC-472F-BE8F-341B4A80D369}"/>
          </ac:spMkLst>
        </pc:spChg>
        <pc:spChg chg="mod ord">
          <ac:chgData name="Adrian Kisliuk" userId="81f189f0-3ed9-4f29-a7b1-770f7af93676" providerId="ADAL" clId="{4C5447CB-8D2B-4571-8386-8F22113784BC}" dt="2021-03-02T10:33:53.459" v="865" actId="207"/>
          <ac:spMkLst>
            <pc:docMk/>
            <pc:sldMk cId="3217164513" sldId="833"/>
            <ac:spMk id="31" creationId="{1BB83D65-74FF-4A94-8BE0-D5B4D19D7974}"/>
          </ac:spMkLst>
        </pc:spChg>
        <pc:spChg chg="mod ord">
          <ac:chgData name="Adrian Kisliuk" userId="81f189f0-3ed9-4f29-a7b1-770f7af93676" providerId="ADAL" clId="{4C5447CB-8D2B-4571-8386-8F22113784BC}" dt="2021-03-02T10:12:00.892" v="659" actId="1035"/>
          <ac:spMkLst>
            <pc:docMk/>
            <pc:sldMk cId="3217164513" sldId="833"/>
            <ac:spMk id="32" creationId="{DA99D21D-0AD7-4A7E-9602-DCBC860847F1}"/>
          </ac:spMkLst>
        </pc:spChg>
        <pc:spChg chg="mod ord">
          <ac:chgData name="Adrian Kisliuk" userId="81f189f0-3ed9-4f29-a7b1-770f7af93676" providerId="ADAL" clId="{4C5447CB-8D2B-4571-8386-8F22113784BC}" dt="2021-03-02T10:12:00.892" v="659" actId="1035"/>
          <ac:spMkLst>
            <pc:docMk/>
            <pc:sldMk cId="3217164513" sldId="833"/>
            <ac:spMk id="33" creationId="{992D1074-C583-484C-85C4-37F8D5D59A8C}"/>
          </ac:spMkLst>
        </pc:spChg>
        <pc:spChg chg="mod ord">
          <ac:chgData name="Adrian Kisliuk" userId="81f189f0-3ed9-4f29-a7b1-770f7af93676" providerId="ADAL" clId="{4C5447CB-8D2B-4571-8386-8F22113784BC}" dt="2021-03-02T10:12:00.892" v="659" actId="1035"/>
          <ac:spMkLst>
            <pc:docMk/>
            <pc:sldMk cId="3217164513" sldId="833"/>
            <ac:spMk id="34" creationId="{EC228732-8A0E-43E7-B7C7-82EF3A584AFB}"/>
          </ac:spMkLst>
        </pc:spChg>
        <pc:spChg chg="mod ord">
          <ac:chgData name="Adrian Kisliuk" userId="81f189f0-3ed9-4f29-a7b1-770f7af93676" providerId="ADAL" clId="{4C5447CB-8D2B-4571-8386-8F22113784BC}" dt="2021-03-02T10:12:00.892" v="659" actId="1035"/>
          <ac:spMkLst>
            <pc:docMk/>
            <pc:sldMk cId="3217164513" sldId="833"/>
            <ac:spMk id="35" creationId="{78A17BAE-8640-4431-A76D-EC0926C0323F}"/>
          </ac:spMkLst>
        </pc:spChg>
        <pc:spChg chg="mod ord">
          <ac:chgData name="Adrian Kisliuk" userId="81f189f0-3ed9-4f29-a7b1-770f7af93676" providerId="ADAL" clId="{4C5447CB-8D2B-4571-8386-8F22113784BC}" dt="2021-03-02T10:12:00.892" v="659" actId="1035"/>
          <ac:spMkLst>
            <pc:docMk/>
            <pc:sldMk cId="3217164513" sldId="833"/>
            <ac:spMk id="36" creationId="{44E53A76-1FF2-4561-AB4A-3F6C08A2FDD4}"/>
          </ac:spMkLst>
        </pc:spChg>
        <pc:spChg chg="mod ord">
          <ac:chgData name="Adrian Kisliuk" userId="81f189f0-3ed9-4f29-a7b1-770f7af93676" providerId="ADAL" clId="{4C5447CB-8D2B-4571-8386-8F22113784BC}" dt="2021-03-02T10:12:00.892" v="659" actId="1035"/>
          <ac:spMkLst>
            <pc:docMk/>
            <pc:sldMk cId="3217164513" sldId="833"/>
            <ac:spMk id="39" creationId="{130F0DB6-CE93-4039-A548-8355E4DBEE7C}"/>
          </ac:spMkLst>
        </pc:spChg>
        <pc:spChg chg="mod ord">
          <ac:chgData name="Adrian Kisliuk" userId="81f189f0-3ed9-4f29-a7b1-770f7af93676" providerId="ADAL" clId="{4C5447CB-8D2B-4571-8386-8F22113784BC}" dt="2021-03-02T10:12:00.892" v="659" actId="1035"/>
          <ac:spMkLst>
            <pc:docMk/>
            <pc:sldMk cId="3217164513" sldId="833"/>
            <ac:spMk id="40" creationId="{4A8C49D1-E95B-458C-806E-968AC60A73CC}"/>
          </ac:spMkLst>
        </pc:spChg>
        <pc:spChg chg="mod ord">
          <ac:chgData name="Adrian Kisliuk" userId="81f189f0-3ed9-4f29-a7b1-770f7af93676" providerId="ADAL" clId="{4C5447CB-8D2B-4571-8386-8F22113784BC}" dt="2021-03-02T12:18:05.970" v="1244" actId="1038"/>
          <ac:spMkLst>
            <pc:docMk/>
            <pc:sldMk cId="3217164513" sldId="833"/>
            <ac:spMk id="41" creationId="{BEB3AAEA-7608-4765-955F-30B8C0640185}"/>
          </ac:spMkLst>
        </pc:spChg>
        <pc:spChg chg="mod ord">
          <ac:chgData name="Adrian Kisliuk" userId="81f189f0-3ed9-4f29-a7b1-770f7af93676" providerId="ADAL" clId="{4C5447CB-8D2B-4571-8386-8F22113784BC}" dt="2021-03-02T12:17:57.629" v="1241" actId="1037"/>
          <ac:spMkLst>
            <pc:docMk/>
            <pc:sldMk cId="3217164513" sldId="833"/>
            <ac:spMk id="42" creationId="{91A23A11-CF4F-4C12-89D8-F3200E1AEBAF}"/>
          </ac:spMkLst>
        </pc:spChg>
        <pc:spChg chg="mod ord">
          <ac:chgData name="Adrian Kisliuk" userId="81f189f0-3ed9-4f29-a7b1-770f7af93676" providerId="ADAL" clId="{4C5447CB-8D2B-4571-8386-8F22113784BC}" dt="2021-03-02T10:12:00.892" v="659" actId="1035"/>
          <ac:spMkLst>
            <pc:docMk/>
            <pc:sldMk cId="3217164513" sldId="833"/>
            <ac:spMk id="43" creationId="{B9067C4C-21AB-49D4-BD59-3CD7826D0B1F}"/>
          </ac:spMkLst>
        </pc:spChg>
        <pc:spChg chg="mod ord">
          <ac:chgData name="Adrian Kisliuk" userId="81f189f0-3ed9-4f29-a7b1-770f7af93676" providerId="ADAL" clId="{4C5447CB-8D2B-4571-8386-8F22113784BC}" dt="2021-03-02T10:12:00.892" v="659" actId="1035"/>
          <ac:spMkLst>
            <pc:docMk/>
            <pc:sldMk cId="3217164513" sldId="833"/>
            <ac:spMk id="44" creationId="{6C0F3FDB-9047-4906-9E63-DCEE0779FD77}"/>
          </ac:spMkLst>
        </pc:spChg>
        <pc:spChg chg="mod ord">
          <ac:chgData name="Adrian Kisliuk" userId="81f189f0-3ed9-4f29-a7b1-770f7af93676" providerId="ADAL" clId="{4C5447CB-8D2B-4571-8386-8F22113784BC}" dt="2021-03-02T10:12:00.892" v="659" actId="1035"/>
          <ac:spMkLst>
            <pc:docMk/>
            <pc:sldMk cId="3217164513" sldId="833"/>
            <ac:spMk id="45" creationId="{DDFF6376-166C-4D27-8D6A-16635BB15179}"/>
          </ac:spMkLst>
        </pc:spChg>
        <pc:spChg chg="mod ord">
          <ac:chgData name="Adrian Kisliuk" userId="81f189f0-3ed9-4f29-a7b1-770f7af93676" providerId="ADAL" clId="{4C5447CB-8D2B-4571-8386-8F22113784BC}" dt="2021-03-02T10:12:00.892" v="659" actId="1035"/>
          <ac:spMkLst>
            <pc:docMk/>
            <pc:sldMk cId="3217164513" sldId="833"/>
            <ac:spMk id="50" creationId="{B5934D37-F96D-4A98-9241-13260DD67447}"/>
          </ac:spMkLst>
        </pc:spChg>
        <pc:spChg chg="mod ord">
          <ac:chgData name="Adrian Kisliuk" userId="81f189f0-3ed9-4f29-a7b1-770f7af93676" providerId="ADAL" clId="{4C5447CB-8D2B-4571-8386-8F22113784BC}" dt="2021-03-02T10:12:00.892" v="659" actId="1035"/>
          <ac:spMkLst>
            <pc:docMk/>
            <pc:sldMk cId="3217164513" sldId="833"/>
            <ac:spMk id="51" creationId="{C22B3DB2-2CBE-4627-96CF-D654369CBE05}"/>
          </ac:spMkLst>
        </pc:spChg>
        <pc:spChg chg="mod ord">
          <ac:chgData name="Adrian Kisliuk" userId="81f189f0-3ed9-4f29-a7b1-770f7af93676" providerId="ADAL" clId="{4C5447CB-8D2B-4571-8386-8F22113784BC}" dt="2021-03-02T10:12:00.892" v="659" actId="1035"/>
          <ac:spMkLst>
            <pc:docMk/>
            <pc:sldMk cId="3217164513" sldId="833"/>
            <ac:spMk id="52" creationId="{DC0AD07F-1761-42B1-9EA8-8540CD91CC2D}"/>
          </ac:spMkLst>
        </pc:spChg>
        <pc:spChg chg="mod ord">
          <ac:chgData name="Adrian Kisliuk" userId="81f189f0-3ed9-4f29-a7b1-770f7af93676" providerId="ADAL" clId="{4C5447CB-8D2B-4571-8386-8F22113784BC}" dt="2021-03-02T10:12:00.892" v="659" actId="1035"/>
          <ac:spMkLst>
            <pc:docMk/>
            <pc:sldMk cId="3217164513" sldId="833"/>
            <ac:spMk id="53" creationId="{710668EB-84E6-477B-B999-CBE96F3B621C}"/>
          </ac:spMkLst>
        </pc:spChg>
        <pc:spChg chg="mod ord">
          <ac:chgData name="Adrian Kisliuk" userId="81f189f0-3ed9-4f29-a7b1-770f7af93676" providerId="ADAL" clId="{4C5447CB-8D2B-4571-8386-8F22113784BC}" dt="2021-03-02T10:12:00.892" v="659" actId="1035"/>
          <ac:spMkLst>
            <pc:docMk/>
            <pc:sldMk cId="3217164513" sldId="833"/>
            <ac:spMk id="54" creationId="{990F7519-4871-489D-B558-E1EB43F5B6B2}"/>
          </ac:spMkLst>
        </pc:spChg>
        <pc:spChg chg="mod ord">
          <ac:chgData name="Adrian Kisliuk" userId="81f189f0-3ed9-4f29-a7b1-770f7af93676" providerId="ADAL" clId="{4C5447CB-8D2B-4571-8386-8F22113784BC}" dt="2021-03-02T10:12:00.892" v="659" actId="1035"/>
          <ac:spMkLst>
            <pc:docMk/>
            <pc:sldMk cId="3217164513" sldId="833"/>
            <ac:spMk id="55" creationId="{A83F9FBA-340A-47F2-9FC4-05E3FC35F52F}"/>
          </ac:spMkLst>
        </pc:spChg>
        <pc:spChg chg="del">
          <ac:chgData name="Adrian Kisliuk" userId="81f189f0-3ed9-4f29-a7b1-770f7af93676" providerId="ADAL" clId="{4C5447CB-8D2B-4571-8386-8F22113784BC}" dt="2021-03-02T10:03:18.247" v="162" actId="478"/>
          <ac:spMkLst>
            <pc:docMk/>
            <pc:sldMk cId="3217164513" sldId="833"/>
            <ac:spMk id="58" creationId="{12EF1DFB-5A80-4FFE-B6C8-5DC2A65A0A18}"/>
          </ac:spMkLst>
        </pc:spChg>
        <pc:spChg chg="mod ord">
          <ac:chgData name="Adrian Kisliuk" userId="81f189f0-3ed9-4f29-a7b1-770f7af93676" providerId="ADAL" clId="{4C5447CB-8D2B-4571-8386-8F22113784BC}" dt="2021-03-02T10:12:00.892" v="659" actId="1035"/>
          <ac:spMkLst>
            <pc:docMk/>
            <pc:sldMk cId="3217164513" sldId="833"/>
            <ac:spMk id="59" creationId="{C4ED78C6-0F2E-476B-9A02-F42B53222EA6}"/>
          </ac:spMkLst>
        </pc:spChg>
        <pc:spChg chg="mod ord">
          <ac:chgData name="Adrian Kisliuk" userId="81f189f0-3ed9-4f29-a7b1-770f7af93676" providerId="ADAL" clId="{4C5447CB-8D2B-4571-8386-8F22113784BC}" dt="2021-03-02T10:12:00.892" v="659" actId="1035"/>
          <ac:spMkLst>
            <pc:docMk/>
            <pc:sldMk cId="3217164513" sldId="833"/>
            <ac:spMk id="66" creationId="{8DB15C6C-26B2-4E0E-8012-91AC0D578236}"/>
          </ac:spMkLst>
        </pc:spChg>
        <pc:spChg chg="mod ord">
          <ac:chgData name="Adrian Kisliuk" userId="81f189f0-3ed9-4f29-a7b1-770f7af93676" providerId="ADAL" clId="{4C5447CB-8D2B-4571-8386-8F22113784BC}" dt="2021-03-02T10:33:53.459" v="865" actId="207"/>
          <ac:spMkLst>
            <pc:docMk/>
            <pc:sldMk cId="3217164513" sldId="833"/>
            <ac:spMk id="67" creationId="{69BD7A21-5246-48E7-8971-EE89AF43B7FB}"/>
          </ac:spMkLst>
        </pc:spChg>
        <pc:spChg chg="add mod ord">
          <ac:chgData name="Adrian Kisliuk" userId="81f189f0-3ed9-4f29-a7b1-770f7af93676" providerId="ADAL" clId="{4C5447CB-8D2B-4571-8386-8F22113784BC}" dt="2021-03-02T10:12:00.892" v="659" actId="1035"/>
          <ac:spMkLst>
            <pc:docMk/>
            <pc:sldMk cId="3217164513" sldId="833"/>
            <ac:spMk id="69" creationId="{0B5DCB8A-087B-4670-9212-F2E3FEC89102}"/>
          </ac:spMkLst>
        </pc:spChg>
        <pc:spChg chg="add mod ord">
          <ac:chgData name="Adrian Kisliuk" userId="81f189f0-3ed9-4f29-a7b1-770f7af93676" providerId="ADAL" clId="{4C5447CB-8D2B-4571-8386-8F22113784BC}" dt="2021-03-02T10:12:00.892" v="659" actId="1035"/>
          <ac:spMkLst>
            <pc:docMk/>
            <pc:sldMk cId="3217164513" sldId="833"/>
            <ac:spMk id="70" creationId="{A6E85F34-F3FF-45FB-8F43-6E829CE9DD65}"/>
          </ac:spMkLst>
        </pc:spChg>
        <pc:spChg chg="add mod ord">
          <ac:chgData name="Adrian Kisliuk" userId="81f189f0-3ed9-4f29-a7b1-770f7af93676" providerId="ADAL" clId="{4C5447CB-8D2B-4571-8386-8F22113784BC}" dt="2021-03-02T10:12:00.892" v="659" actId="1035"/>
          <ac:spMkLst>
            <pc:docMk/>
            <pc:sldMk cId="3217164513" sldId="833"/>
            <ac:spMk id="71" creationId="{4B62EC6E-0E3B-4D8A-A332-428F7C77471E}"/>
          </ac:spMkLst>
        </pc:spChg>
        <pc:spChg chg="add mod ord">
          <ac:chgData name="Adrian Kisliuk" userId="81f189f0-3ed9-4f29-a7b1-770f7af93676" providerId="ADAL" clId="{4C5447CB-8D2B-4571-8386-8F22113784BC}" dt="2021-03-02T10:12:00.892" v="659" actId="1035"/>
          <ac:spMkLst>
            <pc:docMk/>
            <pc:sldMk cId="3217164513" sldId="833"/>
            <ac:spMk id="72" creationId="{F387C8CF-50CE-4F74-8615-0F336D3BC11D}"/>
          </ac:spMkLst>
        </pc:spChg>
        <pc:spChg chg="add mod ord">
          <ac:chgData name="Adrian Kisliuk" userId="81f189f0-3ed9-4f29-a7b1-770f7af93676" providerId="ADAL" clId="{4C5447CB-8D2B-4571-8386-8F22113784BC}" dt="2021-03-02T10:12:00.892" v="659" actId="1035"/>
          <ac:spMkLst>
            <pc:docMk/>
            <pc:sldMk cId="3217164513" sldId="833"/>
            <ac:spMk id="73" creationId="{E078C03A-75D8-40C1-BCF7-FDEEABC87E83}"/>
          </ac:spMkLst>
        </pc:spChg>
        <pc:spChg chg="add mod ord">
          <ac:chgData name="Adrian Kisliuk" userId="81f189f0-3ed9-4f29-a7b1-770f7af93676" providerId="ADAL" clId="{4C5447CB-8D2B-4571-8386-8F22113784BC}" dt="2021-03-02T10:12:00.892" v="659" actId="1035"/>
          <ac:spMkLst>
            <pc:docMk/>
            <pc:sldMk cId="3217164513" sldId="833"/>
            <ac:spMk id="76" creationId="{8060BAA4-321B-4EE7-9C2C-C1859C14637C}"/>
          </ac:spMkLst>
        </pc:spChg>
        <pc:spChg chg="add mod ord">
          <ac:chgData name="Adrian Kisliuk" userId="81f189f0-3ed9-4f29-a7b1-770f7af93676" providerId="ADAL" clId="{4C5447CB-8D2B-4571-8386-8F22113784BC}" dt="2021-03-02T10:12:00.892" v="659" actId="1035"/>
          <ac:spMkLst>
            <pc:docMk/>
            <pc:sldMk cId="3217164513" sldId="833"/>
            <ac:spMk id="77" creationId="{11DCE4A2-056D-42ED-8D6F-D3406FF41A32}"/>
          </ac:spMkLst>
        </pc:spChg>
        <pc:spChg chg="add mod ord">
          <ac:chgData name="Adrian Kisliuk" userId="81f189f0-3ed9-4f29-a7b1-770f7af93676" providerId="ADAL" clId="{4C5447CB-8D2B-4571-8386-8F22113784BC}" dt="2021-03-02T12:18:05.970" v="1244" actId="1038"/>
          <ac:spMkLst>
            <pc:docMk/>
            <pc:sldMk cId="3217164513" sldId="833"/>
            <ac:spMk id="78" creationId="{9DD98053-CA53-4F68-9322-5B080897B0CC}"/>
          </ac:spMkLst>
        </pc:spChg>
        <pc:spChg chg="add mod ord">
          <ac:chgData name="Adrian Kisliuk" userId="81f189f0-3ed9-4f29-a7b1-770f7af93676" providerId="ADAL" clId="{4C5447CB-8D2B-4571-8386-8F22113784BC}" dt="2021-03-02T12:17:57.629" v="1241" actId="1037"/>
          <ac:spMkLst>
            <pc:docMk/>
            <pc:sldMk cId="3217164513" sldId="833"/>
            <ac:spMk id="79" creationId="{0757E8F6-ABE3-4F1A-9E69-E647C802B8EE}"/>
          </ac:spMkLst>
        </pc:spChg>
        <pc:spChg chg="add mod ord">
          <ac:chgData name="Adrian Kisliuk" userId="81f189f0-3ed9-4f29-a7b1-770f7af93676" providerId="ADAL" clId="{4C5447CB-8D2B-4571-8386-8F22113784BC}" dt="2021-03-02T10:12:00.892" v="659" actId="1035"/>
          <ac:spMkLst>
            <pc:docMk/>
            <pc:sldMk cId="3217164513" sldId="833"/>
            <ac:spMk id="80" creationId="{F7C31C21-A9CE-4A5C-BE0D-C82F7ABAB293}"/>
          </ac:spMkLst>
        </pc:spChg>
        <pc:spChg chg="add mod ord">
          <ac:chgData name="Adrian Kisliuk" userId="81f189f0-3ed9-4f29-a7b1-770f7af93676" providerId="ADAL" clId="{4C5447CB-8D2B-4571-8386-8F22113784BC}" dt="2021-03-02T10:12:00.892" v="659" actId="1035"/>
          <ac:spMkLst>
            <pc:docMk/>
            <pc:sldMk cId="3217164513" sldId="833"/>
            <ac:spMk id="81" creationId="{5F4D3579-ADF4-42A4-A94F-8E1F8B62510B}"/>
          </ac:spMkLst>
        </pc:spChg>
        <pc:spChg chg="add mod ord">
          <ac:chgData name="Adrian Kisliuk" userId="81f189f0-3ed9-4f29-a7b1-770f7af93676" providerId="ADAL" clId="{4C5447CB-8D2B-4571-8386-8F22113784BC}" dt="2021-03-02T10:12:00.892" v="659" actId="1035"/>
          <ac:spMkLst>
            <pc:docMk/>
            <pc:sldMk cId="3217164513" sldId="833"/>
            <ac:spMk id="82" creationId="{7DFB7BB8-4991-4C5C-87B1-4C1FC01A2439}"/>
          </ac:spMkLst>
        </pc:spChg>
        <pc:spChg chg="add mod ord">
          <ac:chgData name="Adrian Kisliuk" userId="81f189f0-3ed9-4f29-a7b1-770f7af93676" providerId="ADAL" clId="{4C5447CB-8D2B-4571-8386-8F22113784BC}" dt="2021-03-02T10:12:00.892" v="659" actId="1035"/>
          <ac:spMkLst>
            <pc:docMk/>
            <pc:sldMk cId="3217164513" sldId="833"/>
            <ac:spMk id="87" creationId="{03738768-CBAA-4EF4-8DE9-4EE45AE55D4E}"/>
          </ac:spMkLst>
        </pc:spChg>
        <pc:spChg chg="add mod ord">
          <ac:chgData name="Adrian Kisliuk" userId="81f189f0-3ed9-4f29-a7b1-770f7af93676" providerId="ADAL" clId="{4C5447CB-8D2B-4571-8386-8F22113784BC}" dt="2021-03-02T10:12:00.892" v="659" actId="1035"/>
          <ac:spMkLst>
            <pc:docMk/>
            <pc:sldMk cId="3217164513" sldId="833"/>
            <ac:spMk id="88" creationId="{F509201B-54F6-45D9-9B53-469684E516C5}"/>
          </ac:spMkLst>
        </pc:spChg>
        <pc:spChg chg="add mod ord">
          <ac:chgData name="Adrian Kisliuk" userId="81f189f0-3ed9-4f29-a7b1-770f7af93676" providerId="ADAL" clId="{4C5447CB-8D2B-4571-8386-8F22113784BC}" dt="2021-03-02T10:12:00.892" v="659" actId="1035"/>
          <ac:spMkLst>
            <pc:docMk/>
            <pc:sldMk cId="3217164513" sldId="833"/>
            <ac:spMk id="89" creationId="{B989BEF5-64C4-410D-B3EF-B3FF04AEADE7}"/>
          </ac:spMkLst>
        </pc:spChg>
        <pc:spChg chg="add mod ord">
          <ac:chgData name="Adrian Kisliuk" userId="81f189f0-3ed9-4f29-a7b1-770f7af93676" providerId="ADAL" clId="{4C5447CB-8D2B-4571-8386-8F22113784BC}" dt="2021-03-02T10:12:00.892" v="659" actId="1035"/>
          <ac:spMkLst>
            <pc:docMk/>
            <pc:sldMk cId="3217164513" sldId="833"/>
            <ac:spMk id="90" creationId="{3030FB26-5D29-4D7A-B8F1-B81F4F0B157A}"/>
          </ac:spMkLst>
        </pc:spChg>
        <pc:spChg chg="add mod ord">
          <ac:chgData name="Adrian Kisliuk" userId="81f189f0-3ed9-4f29-a7b1-770f7af93676" providerId="ADAL" clId="{4C5447CB-8D2B-4571-8386-8F22113784BC}" dt="2021-03-02T10:12:00.892" v="659" actId="1035"/>
          <ac:spMkLst>
            <pc:docMk/>
            <pc:sldMk cId="3217164513" sldId="833"/>
            <ac:spMk id="91" creationId="{8CF78AAB-4AA0-4DA2-811B-319688ABE337}"/>
          </ac:spMkLst>
        </pc:spChg>
        <pc:spChg chg="add mod ord">
          <ac:chgData name="Adrian Kisliuk" userId="81f189f0-3ed9-4f29-a7b1-770f7af93676" providerId="ADAL" clId="{4C5447CB-8D2B-4571-8386-8F22113784BC}" dt="2021-03-02T12:35:44.133" v="2268" actId="948"/>
          <ac:spMkLst>
            <pc:docMk/>
            <pc:sldMk cId="3217164513" sldId="833"/>
            <ac:spMk id="100" creationId="{718CCEBD-1311-4DB9-8277-4828BEE859F1}"/>
          </ac:spMkLst>
        </pc:spChg>
        <pc:spChg chg="add del mod modVis">
          <ac:chgData name="Adrian Kisliuk" userId="81f189f0-3ed9-4f29-a7b1-770f7af93676" providerId="ADAL" clId="{4C5447CB-8D2B-4571-8386-8F22113784BC}" dt="2021-03-02T12:35:44.173" v="2305"/>
          <ac:spMkLst>
            <pc:docMk/>
            <pc:sldMk cId="3217164513" sldId="833"/>
            <ac:spMk id="101" creationId="{C107981D-6FD1-483A-8376-9D4273A04FDF}"/>
          </ac:spMkLst>
        </pc:spChg>
        <pc:grpChg chg="del">
          <ac:chgData name="Adrian Kisliuk" userId="81f189f0-3ed9-4f29-a7b1-770f7af93676" providerId="ADAL" clId="{4C5447CB-8D2B-4571-8386-8F22113784BC}" dt="2021-03-02T10:03:18.247" v="162" actId="478"/>
          <ac:grpSpMkLst>
            <pc:docMk/>
            <pc:sldMk cId="3217164513" sldId="833"/>
            <ac:grpSpMk id="22" creationId="{190E40B0-38CB-4FE7-9DCA-B8B26C21FC1C}"/>
          </ac:grpSpMkLst>
        </pc:grpChg>
        <pc:grpChg chg="mod ord">
          <ac:chgData name="Adrian Kisliuk" userId="81f189f0-3ed9-4f29-a7b1-770f7af93676" providerId="ADAL" clId="{4C5447CB-8D2B-4571-8386-8F22113784BC}" dt="2021-03-02T10:12:00.892" v="659" actId="1035"/>
          <ac:grpSpMkLst>
            <pc:docMk/>
            <pc:sldMk cId="3217164513" sldId="833"/>
            <ac:grpSpMk id="46" creationId="{043DA60E-CB19-4FA9-B03C-EB2A50C2C3B6}"/>
          </ac:grpSpMkLst>
        </pc:grpChg>
        <pc:grpChg chg="add mod ord">
          <ac:chgData name="Adrian Kisliuk" userId="81f189f0-3ed9-4f29-a7b1-770f7af93676" providerId="ADAL" clId="{4C5447CB-8D2B-4571-8386-8F22113784BC}" dt="2021-03-02T10:12:00.892" v="659" actId="1035"/>
          <ac:grpSpMkLst>
            <pc:docMk/>
            <pc:sldMk cId="3217164513" sldId="833"/>
            <ac:grpSpMk id="83" creationId="{6860AE6F-F0B1-4B83-8256-38B5428B2AA2}"/>
          </ac:grpSpMkLst>
        </pc:grpChg>
        <pc:graphicFrameChg chg="add mod ord modVis">
          <ac:chgData name="Adrian Kisliuk" userId="81f189f0-3ed9-4f29-a7b1-770f7af93676" providerId="ADAL" clId="{4C5447CB-8D2B-4571-8386-8F22113784BC}" dt="2021-03-02T12:35:44.186" v="2307"/>
          <ac:graphicFrameMkLst>
            <pc:docMk/>
            <pc:sldMk cId="3217164513" sldId="833"/>
            <ac:graphicFrameMk id="7" creationId="{5863A9E7-2E2A-4B1C-90C1-EF823E551718}"/>
          </ac:graphicFrameMkLst>
        </pc:graphicFrameChg>
        <pc:picChg chg="del mod ord">
          <ac:chgData name="Adrian Kisliuk" userId="81f189f0-3ed9-4f29-a7b1-770f7af93676" providerId="ADAL" clId="{4C5447CB-8D2B-4571-8386-8F22113784BC}" dt="2021-03-02T10:12:53.053" v="677" actId="478"/>
          <ac:picMkLst>
            <pc:docMk/>
            <pc:sldMk cId="3217164513" sldId="833"/>
            <ac:picMk id="68" creationId="{2687DAED-9676-4AB2-A0E8-26B813F280D1}"/>
          </ac:picMkLst>
        </pc:picChg>
        <pc:cxnChg chg="del mod">
          <ac:chgData name="Adrian Kisliuk" userId="81f189f0-3ed9-4f29-a7b1-770f7af93676" providerId="ADAL" clId="{4C5447CB-8D2B-4571-8386-8F22113784BC}" dt="2021-03-02T10:03:18.247" v="162" actId="478"/>
          <ac:cxnSpMkLst>
            <pc:docMk/>
            <pc:sldMk cId="3217164513" sldId="833"/>
            <ac:cxnSpMk id="12" creationId="{88E4D175-3957-4602-98DB-192B0A3FEB83}"/>
          </ac:cxnSpMkLst>
        </pc:cxnChg>
        <pc:cxnChg chg="del mod">
          <ac:chgData name="Adrian Kisliuk" userId="81f189f0-3ed9-4f29-a7b1-770f7af93676" providerId="ADAL" clId="{4C5447CB-8D2B-4571-8386-8F22113784BC}" dt="2021-03-02T10:03:18.247" v="162" actId="478"/>
          <ac:cxnSpMkLst>
            <pc:docMk/>
            <pc:sldMk cId="3217164513" sldId="833"/>
            <ac:cxnSpMk id="13" creationId="{4C94F315-13E1-4F3F-B2E0-FCB2E3CB4536}"/>
          </ac:cxnSpMkLst>
        </pc:cxnChg>
        <pc:cxnChg chg="mod ord">
          <ac:chgData name="Adrian Kisliuk" userId="81f189f0-3ed9-4f29-a7b1-770f7af93676" providerId="ADAL" clId="{4C5447CB-8D2B-4571-8386-8F22113784BC}" dt="2021-03-02T10:12:00.892" v="659" actId="1035"/>
          <ac:cxnSpMkLst>
            <pc:docMk/>
            <pc:sldMk cId="3217164513" sldId="833"/>
            <ac:cxnSpMk id="37" creationId="{FC49E1FF-C860-40E7-9714-387C2D0EC39C}"/>
          </ac:cxnSpMkLst>
        </pc:cxnChg>
        <pc:cxnChg chg="mod ord">
          <ac:chgData name="Adrian Kisliuk" userId="81f189f0-3ed9-4f29-a7b1-770f7af93676" providerId="ADAL" clId="{4C5447CB-8D2B-4571-8386-8F22113784BC}" dt="2021-03-02T10:12:00.892" v="659" actId="1035"/>
          <ac:cxnSpMkLst>
            <pc:docMk/>
            <pc:sldMk cId="3217164513" sldId="833"/>
            <ac:cxnSpMk id="38" creationId="{64696C07-7371-4BAC-BB42-582A3150FA89}"/>
          </ac:cxnSpMkLst>
        </pc:cxnChg>
        <pc:cxnChg chg="mod">
          <ac:chgData name="Adrian Kisliuk" userId="81f189f0-3ed9-4f29-a7b1-770f7af93676" providerId="ADAL" clId="{4C5447CB-8D2B-4571-8386-8F22113784BC}" dt="2021-03-02T10:12:00.892" v="659" actId="1035"/>
          <ac:cxnSpMkLst>
            <pc:docMk/>
            <pc:sldMk cId="3217164513" sldId="833"/>
            <ac:cxnSpMk id="47" creationId="{794E4109-6492-4929-8B8C-5EB2754DC59A}"/>
          </ac:cxnSpMkLst>
        </pc:cxnChg>
        <pc:cxnChg chg="mod">
          <ac:chgData name="Adrian Kisliuk" userId="81f189f0-3ed9-4f29-a7b1-770f7af93676" providerId="ADAL" clId="{4C5447CB-8D2B-4571-8386-8F22113784BC}" dt="2021-03-02T10:12:00.892" v="659" actId="1035"/>
          <ac:cxnSpMkLst>
            <pc:docMk/>
            <pc:sldMk cId="3217164513" sldId="833"/>
            <ac:cxnSpMk id="48" creationId="{D7A1B328-A333-43B8-AF17-F2D05DE7FF3C}"/>
          </ac:cxnSpMkLst>
        </pc:cxnChg>
        <pc:cxnChg chg="mod">
          <ac:chgData name="Adrian Kisliuk" userId="81f189f0-3ed9-4f29-a7b1-770f7af93676" providerId="ADAL" clId="{4C5447CB-8D2B-4571-8386-8F22113784BC}" dt="2021-03-02T10:12:00.892" v="659" actId="1035"/>
          <ac:cxnSpMkLst>
            <pc:docMk/>
            <pc:sldMk cId="3217164513" sldId="833"/>
            <ac:cxnSpMk id="49" creationId="{8F00F6BD-CD41-4D07-B6A1-055C87EBE061}"/>
          </ac:cxnSpMkLst>
        </pc:cxnChg>
        <pc:cxnChg chg="mod ord">
          <ac:chgData name="Adrian Kisliuk" userId="81f189f0-3ed9-4f29-a7b1-770f7af93676" providerId="ADAL" clId="{4C5447CB-8D2B-4571-8386-8F22113784BC}" dt="2021-03-02T10:12:00.892" v="659" actId="1035"/>
          <ac:cxnSpMkLst>
            <pc:docMk/>
            <pc:sldMk cId="3217164513" sldId="833"/>
            <ac:cxnSpMk id="56" creationId="{724D7170-5963-4A05-B9A0-32603886D9AF}"/>
          </ac:cxnSpMkLst>
        </pc:cxnChg>
        <pc:cxnChg chg="mod ord">
          <ac:chgData name="Adrian Kisliuk" userId="81f189f0-3ed9-4f29-a7b1-770f7af93676" providerId="ADAL" clId="{4C5447CB-8D2B-4571-8386-8F22113784BC}" dt="2021-03-02T10:12:00.892" v="659" actId="1035"/>
          <ac:cxnSpMkLst>
            <pc:docMk/>
            <pc:sldMk cId="3217164513" sldId="833"/>
            <ac:cxnSpMk id="57" creationId="{6114C79A-C88F-4D4E-B54D-47640F616621}"/>
          </ac:cxnSpMkLst>
        </pc:cxnChg>
        <pc:cxnChg chg="mod ord">
          <ac:chgData name="Adrian Kisliuk" userId="81f189f0-3ed9-4f29-a7b1-770f7af93676" providerId="ADAL" clId="{4C5447CB-8D2B-4571-8386-8F22113784BC}" dt="2021-03-02T10:12:00.892" v="659" actId="1035"/>
          <ac:cxnSpMkLst>
            <pc:docMk/>
            <pc:sldMk cId="3217164513" sldId="833"/>
            <ac:cxnSpMk id="61" creationId="{6B00E9D6-ABF8-4DBB-A008-1A5B147F2E51}"/>
          </ac:cxnSpMkLst>
        </pc:cxnChg>
        <pc:cxnChg chg="mod ord">
          <ac:chgData name="Adrian Kisliuk" userId="81f189f0-3ed9-4f29-a7b1-770f7af93676" providerId="ADAL" clId="{4C5447CB-8D2B-4571-8386-8F22113784BC}" dt="2021-03-02T10:12:42.742" v="676" actId="14100"/>
          <ac:cxnSpMkLst>
            <pc:docMk/>
            <pc:sldMk cId="3217164513" sldId="833"/>
            <ac:cxnSpMk id="62" creationId="{A7F613DE-CF25-4659-BEB5-A6293800A85C}"/>
          </ac:cxnSpMkLst>
        </pc:cxnChg>
        <pc:cxnChg chg="mod ord">
          <ac:chgData name="Adrian Kisliuk" userId="81f189f0-3ed9-4f29-a7b1-770f7af93676" providerId="ADAL" clId="{4C5447CB-8D2B-4571-8386-8F22113784BC}" dt="2021-03-02T10:12:37.903" v="675" actId="14100"/>
          <ac:cxnSpMkLst>
            <pc:docMk/>
            <pc:sldMk cId="3217164513" sldId="833"/>
            <ac:cxnSpMk id="63" creationId="{A063E153-814D-406B-9A67-EF20F840AEF5}"/>
          </ac:cxnSpMkLst>
        </pc:cxnChg>
        <pc:cxnChg chg="mod ord">
          <ac:chgData name="Adrian Kisliuk" userId="81f189f0-3ed9-4f29-a7b1-770f7af93676" providerId="ADAL" clId="{4C5447CB-8D2B-4571-8386-8F22113784BC}" dt="2021-03-02T10:12:34.511" v="674" actId="14100"/>
          <ac:cxnSpMkLst>
            <pc:docMk/>
            <pc:sldMk cId="3217164513" sldId="833"/>
            <ac:cxnSpMk id="64" creationId="{A05BC7AB-C665-46D6-941B-032814E263E2}"/>
          </ac:cxnSpMkLst>
        </pc:cxnChg>
        <pc:cxnChg chg="mod ord">
          <ac:chgData name="Adrian Kisliuk" userId="81f189f0-3ed9-4f29-a7b1-770f7af93676" providerId="ADAL" clId="{4C5447CB-8D2B-4571-8386-8F22113784BC}" dt="2021-03-02T10:12:00.892" v="659" actId="1035"/>
          <ac:cxnSpMkLst>
            <pc:docMk/>
            <pc:sldMk cId="3217164513" sldId="833"/>
            <ac:cxnSpMk id="65" creationId="{40756E93-0A45-4810-B9FA-45CBBAFB32CF}"/>
          </ac:cxnSpMkLst>
        </pc:cxnChg>
        <pc:cxnChg chg="add mod ord">
          <ac:chgData name="Adrian Kisliuk" userId="81f189f0-3ed9-4f29-a7b1-770f7af93676" providerId="ADAL" clId="{4C5447CB-8D2B-4571-8386-8F22113784BC}" dt="2021-03-02T10:12:00.892" v="659" actId="1035"/>
          <ac:cxnSpMkLst>
            <pc:docMk/>
            <pc:sldMk cId="3217164513" sldId="833"/>
            <ac:cxnSpMk id="74" creationId="{D48310DD-88B9-4E61-A83F-D09F5D6FE185}"/>
          </ac:cxnSpMkLst>
        </pc:cxnChg>
        <pc:cxnChg chg="add mod ord">
          <ac:chgData name="Adrian Kisliuk" userId="81f189f0-3ed9-4f29-a7b1-770f7af93676" providerId="ADAL" clId="{4C5447CB-8D2B-4571-8386-8F22113784BC}" dt="2021-03-02T10:12:00.892" v="659" actId="1035"/>
          <ac:cxnSpMkLst>
            <pc:docMk/>
            <pc:sldMk cId="3217164513" sldId="833"/>
            <ac:cxnSpMk id="75" creationId="{AEE5C39C-F329-4F6D-BCA3-0E73DD030CE6}"/>
          </ac:cxnSpMkLst>
        </pc:cxnChg>
        <pc:cxnChg chg="mod">
          <ac:chgData name="Adrian Kisliuk" userId="81f189f0-3ed9-4f29-a7b1-770f7af93676" providerId="ADAL" clId="{4C5447CB-8D2B-4571-8386-8F22113784BC}" dt="2021-03-02T10:12:00.892" v="659" actId="1035"/>
          <ac:cxnSpMkLst>
            <pc:docMk/>
            <pc:sldMk cId="3217164513" sldId="833"/>
            <ac:cxnSpMk id="84" creationId="{F6A53F0C-CD09-4E4F-9EA8-7917244E3968}"/>
          </ac:cxnSpMkLst>
        </pc:cxnChg>
        <pc:cxnChg chg="mod">
          <ac:chgData name="Adrian Kisliuk" userId="81f189f0-3ed9-4f29-a7b1-770f7af93676" providerId="ADAL" clId="{4C5447CB-8D2B-4571-8386-8F22113784BC}" dt="2021-03-02T10:12:00.892" v="659" actId="1035"/>
          <ac:cxnSpMkLst>
            <pc:docMk/>
            <pc:sldMk cId="3217164513" sldId="833"/>
            <ac:cxnSpMk id="85" creationId="{A4AF2D6A-32DA-41E3-B5AC-A818E4E876FD}"/>
          </ac:cxnSpMkLst>
        </pc:cxnChg>
        <pc:cxnChg chg="mod">
          <ac:chgData name="Adrian Kisliuk" userId="81f189f0-3ed9-4f29-a7b1-770f7af93676" providerId="ADAL" clId="{4C5447CB-8D2B-4571-8386-8F22113784BC}" dt="2021-03-02T10:12:00.892" v="659" actId="1035"/>
          <ac:cxnSpMkLst>
            <pc:docMk/>
            <pc:sldMk cId="3217164513" sldId="833"/>
            <ac:cxnSpMk id="86" creationId="{BBD1563E-0863-47D5-A1FB-5C12756AC565}"/>
          </ac:cxnSpMkLst>
        </pc:cxnChg>
      </pc:sldChg>
      <pc:sldChg chg="addSp delSp modSp add mod chgLayout">
        <pc:chgData name="Adrian Kisliuk" userId="81f189f0-3ed9-4f29-a7b1-770f7af93676" providerId="ADAL" clId="{4C5447CB-8D2B-4571-8386-8F22113784BC}" dt="2021-03-02T12:36:21.588" v="2467"/>
        <pc:sldMkLst>
          <pc:docMk/>
          <pc:sldMk cId="2759709542" sldId="834"/>
        </pc:sldMkLst>
        <pc:spChg chg="mod ord">
          <ac:chgData name="Adrian Kisliuk" userId="81f189f0-3ed9-4f29-a7b1-770f7af93676" providerId="ADAL" clId="{4C5447CB-8D2B-4571-8386-8F22113784BC}" dt="2021-03-02T12:36:21.588" v="2467"/>
          <ac:spMkLst>
            <pc:docMk/>
            <pc:sldMk cId="2759709542" sldId="834"/>
            <ac:spMk id="2" creationId="{50E68478-280C-4B71-A2DA-1A37303CE9F7}"/>
          </ac:spMkLst>
        </pc:spChg>
        <pc:spChg chg="del mod ord">
          <ac:chgData name="Adrian Kisliuk" userId="81f189f0-3ed9-4f29-a7b1-770f7af93676" providerId="ADAL" clId="{4C5447CB-8D2B-4571-8386-8F22113784BC}" dt="2021-03-02T12:36:17.586" v="2465" actId="478"/>
          <ac:spMkLst>
            <pc:docMk/>
            <pc:sldMk cId="2759709542" sldId="834"/>
            <ac:spMk id="3" creationId="{5CD78C9C-FC67-400A-AB19-9FAF630ADB32}"/>
          </ac:spMkLst>
        </pc:spChg>
        <pc:spChg chg="add mod ord">
          <ac:chgData name="Adrian Kisliuk" userId="81f189f0-3ed9-4f29-a7b1-770f7af93676" providerId="ADAL" clId="{4C5447CB-8D2B-4571-8386-8F22113784BC}" dt="2021-03-02T12:36:21.588" v="2467"/>
          <ac:spMkLst>
            <pc:docMk/>
            <pc:sldMk cId="2759709542" sldId="834"/>
            <ac:spMk id="4" creationId="{1AB009D3-A2D1-4E5A-A61C-EDC234F589DB}"/>
          </ac:spMkLst>
        </pc:spChg>
        <pc:spChg chg="mod">
          <ac:chgData name="Adrian Kisliuk" userId="81f189f0-3ed9-4f29-a7b1-770f7af93676" providerId="ADAL" clId="{4C5447CB-8D2B-4571-8386-8F22113784BC}" dt="2021-03-02T10:35:55.488" v="877" actId="1076"/>
          <ac:spMkLst>
            <pc:docMk/>
            <pc:sldMk cId="2759709542" sldId="834"/>
            <ac:spMk id="5" creationId="{FC298125-D680-4F92-8081-A588B2F8C85A}"/>
          </ac:spMkLst>
        </pc:spChg>
        <pc:spChg chg="del">
          <ac:chgData name="Adrian Kisliuk" userId="81f189f0-3ed9-4f29-a7b1-770f7af93676" providerId="ADAL" clId="{4C5447CB-8D2B-4571-8386-8F22113784BC}" dt="2021-03-02T10:30:53.898" v="796" actId="478"/>
          <ac:spMkLst>
            <pc:docMk/>
            <pc:sldMk cId="2759709542" sldId="834"/>
            <ac:spMk id="6" creationId="{C28389AB-B4E9-4828-810A-28B58C47BD5B}"/>
          </ac:spMkLst>
        </pc:spChg>
        <pc:spChg chg="add del mod modVis">
          <ac:chgData name="Adrian Kisliuk" userId="81f189f0-3ed9-4f29-a7b1-770f7af93676" providerId="ADAL" clId="{4C5447CB-8D2B-4571-8386-8F22113784BC}" dt="2021-03-02T12:36:14.170" v="2408"/>
          <ac:spMkLst>
            <pc:docMk/>
            <pc:sldMk cId="2759709542" sldId="834"/>
            <ac:spMk id="7" creationId="{1516ACEC-82DD-4F79-B20E-ABEDEE8E78FA}"/>
          </ac:spMkLst>
        </pc:spChg>
        <pc:spChg chg="del">
          <ac:chgData name="Adrian Kisliuk" userId="81f189f0-3ed9-4f29-a7b1-770f7af93676" providerId="ADAL" clId="{4C5447CB-8D2B-4571-8386-8F22113784BC}" dt="2021-03-02T10:31:01.575" v="798" actId="478"/>
          <ac:spMkLst>
            <pc:docMk/>
            <pc:sldMk cId="2759709542" sldId="834"/>
            <ac:spMk id="9" creationId="{6A3486E8-9FA3-4E9F-83E8-79E3A38AA27F}"/>
          </ac:spMkLst>
        </pc:spChg>
        <pc:spChg chg="del">
          <ac:chgData name="Adrian Kisliuk" userId="81f189f0-3ed9-4f29-a7b1-770f7af93676" providerId="ADAL" clId="{4C5447CB-8D2B-4571-8386-8F22113784BC}" dt="2021-03-02T10:31:01.575" v="798" actId="478"/>
          <ac:spMkLst>
            <pc:docMk/>
            <pc:sldMk cId="2759709542" sldId="834"/>
            <ac:spMk id="10" creationId="{C8C4115F-17D5-45B3-8A77-6A0CDAB6CDA6}"/>
          </ac:spMkLst>
        </pc:spChg>
        <pc:spChg chg="del">
          <ac:chgData name="Adrian Kisliuk" userId="81f189f0-3ed9-4f29-a7b1-770f7af93676" providerId="ADAL" clId="{4C5447CB-8D2B-4571-8386-8F22113784BC}" dt="2021-03-02T10:30:49.603" v="795" actId="478"/>
          <ac:spMkLst>
            <pc:docMk/>
            <pc:sldMk cId="2759709542" sldId="834"/>
            <ac:spMk id="11" creationId="{663DCA79-14CD-4BB2-A65E-576EBF1DF34A}"/>
          </ac:spMkLst>
        </pc:spChg>
        <pc:spChg chg="add del mod modVis">
          <ac:chgData name="Adrian Kisliuk" userId="81f189f0-3ed9-4f29-a7b1-770f7af93676" providerId="ADAL" clId="{4C5447CB-8D2B-4571-8386-8F22113784BC}" dt="2021-03-02T12:36:15.419" v="2462"/>
          <ac:spMkLst>
            <pc:docMk/>
            <pc:sldMk cId="2759709542" sldId="834"/>
            <ac:spMk id="12" creationId="{9C7965A7-A4B9-4BB8-9CAB-315990CFE3E5}"/>
          </ac:spMkLst>
        </pc:spChg>
        <pc:graphicFrameChg chg="add mod ord modVis">
          <ac:chgData name="Adrian Kisliuk" userId="81f189f0-3ed9-4f29-a7b1-770f7af93676" providerId="ADAL" clId="{4C5447CB-8D2B-4571-8386-8F22113784BC}" dt="2021-03-02T12:36:15.421" v="2464"/>
          <ac:graphicFrameMkLst>
            <pc:docMk/>
            <pc:sldMk cId="2759709542" sldId="834"/>
            <ac:graphicFrameMk id="8" creationId="{695D08A0-894A-4CFF-8236-815C8A4DAC20}"/>
          </ac:graphicFrameMkLst>
        </pc:graphicFrameChg>
      </pc:sldChg>
      <pc:sldChg chg="modSp add mod">
        <pc:chgData name="Adrian Kisliuk" userId="81f189f0-3ed9-4f29-a7b1-770f7af93676" providerId="ADAL" clId="{4C5447CB-8D2B-4571-8386-8F22113784BC}" dt="2021-03-02T10:55:27.672" v="997" actId="207"/>
        <pc:sldMkLst>
          <pc:docMk/>
          <pc:sldMk cId="2386691843" sldId="835"/>
        </pc:sldMkLst>
        <pc:spChg chg="mod">
          <ac:chgData name="Adrian Kisliuk" userId="81f189f0-3ed9-4f29-a7b1-770f7af93676" providerId="ADAL" clId="{4C5447CB-8D2B-4571-8386-8F22113784BC}" dt="2021-03-02T10:55:11.553" v="995" actId="207"/>
          <ac:spMkLst>
            <pc:docMk/>
            <pc:sldMk cId="2386691843" sldId="835"/>
            <ac:spMk id="2" creationId="{736DD3AB-E3D8-451A-A2E0-B5EE4A7F1EDB}"/>
          </ac:spMkLst>
        </pc:spChg>
        <pc:spChg chg="mod">
          <ac:chgData name="Adrian Kisliuk" userId="81f189f0-3ed9-4f29-a7b1-770f7af93676" providerId="ADAL" clId="{4C5447CB-8D2B-4571-8386-8F22113784BC}" dt="2021-03-02T10:55:11.553" v="995" actId="207"/>
          <ac:spMkLst>
            <pc:docMk/>
            <pc:sldMk cId="2386691843" sldId="835"/>
            <ac:spMk id="3" creationId="{15765966-5C73-4564-BEF2-375082945725}"/>
          </ac:spMkLst>
        </pc:spChg>
        <pc:spChg chg="mod">
          <ac:chgData name="Adrian Kisliuk" userId="81f189f0-3ed9-4f29-a7b1-770f7af93676" providerId="ADAL" clId="{4C5447CB-8D2B-4571-8386-8F22113784BC}" dt="2021-03-02T10:55:11.553" v="995" actId="207"/>
          <ac:spMkLst>
            <pc:docMk/>
            <pc:sldMk cId="2386691843" sldId="835"/>
            <ac:spMk id="7" creationId="{E9012687-F2EB-4588-B09C-6A095CE9CAD4}"/>
          </ac:spMkLst>
        </pc:spChg>
        <pc:spChg chg="mod">
          <ac:chgData name="Adrian Kisliuk" userId="81f189f0-3ed9-4f29-a7b1-770f7af93676" providerId="ADAL" clId="{4C5447CB-8D2B-4571-8386-8F22113784BC}" dt="2021-03-02T10:55:27.672" v="997" actId="207"/>
          <ac:spMkLst>
            <pc:docMk/>
            <pc:sldMk cId="2386691843" sldId="835"/>
            <ac:spMk id="8" creationId="{B4C0E1C1-EE06-4550-8D30-EC13C78F6970}"/>
          </ac:spMkLst>
        </pc:spChg>
      </pc:sldChg>
      <pc:sldChg chg="addSp delSp modSp add mod ord chgLayout">
        <pc:chgData name="Adrian Kisliuk" userId="81f189f0-3ed9-4f29-a7b1-770f7af93676" providerId="ADAL" clId="{4C5447CB-8D2B-4571-8386-8F22113784BC}" dt="2021-03-02T12:34:34.106" v="2029" actId="478"/>
        <pc:sldMkLst>
          <pc:docMk/>
          <pc:sldMk cId="3848620733" sldId="836"/>
        </pc:sldMkLst>
        <pc:spChg chg="mod ord">
          <ac:chgData name="Adrian Kisliuk" userId="81f189f0-3ed9-4f29-a7b1-770f7af93676" providerId="ADAL" clId="{4C5447CB-8D2B-4571-8386-8F22113784BC}" dt="2021-03-02T12:34:27.851" v="1973"/>
          <ac:spMkLst>
            <pc:docMk/>
            <pc:sldMk cId="3848620733" sldId="836"/>
            <ac:spMk id="2" creationId="{50E68478-280C-4B71-A2DA-1A37303CE9F7}"/>
          </ac:spMkLst>
        </pc:spChg>
        <pc:spChg chg="del mod ord">
          <ac:chgData name="Adrian Kisliuk" userId="81f189f0-3ed9-4f29-a7b1-770f7af93676" providerId="ADAL" clId="{4C5447CB-8D2B-4571-8386-8F22113784BC}" dt="2021-03-02T12:34:34.106" v="2029" actId="478"/>
          <ac:spMkLst>
            <pc:docMk/>
            <pc:sldMk cId="3848620733" sldId="836"/>
            <ac:spMk id="3" creationId="{5CD78C9C-FC67-400A-AB19-9FAF630ADB32}"/>
          </ac:spMkLst>
        </pc:spChg>
        <pc:spChg chg="add mod ord">
          <ac:chgData name="Adrian Kisliuk" userId="81f189f0-3ed9-4f29-a7b1-770f7af93676" providerId="ADAL" clId="{4C5447CB-8D2B-4571-8386-8F22113784BC}" dt="2021-03-02T12:34:31.471" v="1976" actId="948"/>
          <ac:spMkLst>
            <pc:docMk/>
            <pc:sldMk cId="3848620733" sldId="836"/>
            <ac:spMk id="4" creationId="{4E05D28B-5460-40C1-976C-158781E06EED}"/>
          </ac:spMkLst>
        </pc:spChg>
        <pc:spChg chg="add del mod modVis">
          <ac:chgData name="Adrian Kisliuk" userId="81f189f0-3ed9-4f29-a7b1-770f7af93676" providerId="ADAL" clId="{4C5447CB-8D2B-4571-8386-8F22113784BC}" dt="2021-03-02T12:34:31.503" v="2013"/>
          <ac:spMkLst>
            <pc:docMk/>
            <pc:sldMk cId="3848620733" sldId="836"/>
            <ac:spMk id="6" creationId="{AF5D2460-BE84-4ECC-8DF5-BBEE2CE678C6}"/>
          </ac:spMkLst>
        </pc:spChg>
        <pc:graphicFrameChg chg="add mod ord modVis">
          <ac:chgData name="Adrian Kisliuk" userId="81f189f0-3ed9-4f29-a7b1-770f7af93676" providerId="ADAL" clId="{4C5447CB-8D2B-4571-8386-8F22113784BC}" dt="2021-03-02T12:34:31.522" v="2028"/>
          <ac:graphicFrameMkLst>
            <pc:docMk/>
            <pc:sldMk cId="3848620733" sldId="836"/>
            <ac:graphicFrameMk id="7" creationId="{C14D7893-264B-489E-AC73-E8788DA100E5}"/>
          </ac:graphicFrameMkLst>
        </pc:graphicFrameChg>
        <pc:picChg chg="mod">
          <ac:chgData name="Adrian Kisliuk" userId="81f189f0-3ed9-4f29-a7b1-770f7af93676" providerId="ADAL" clId="{4C5447CB-8D2B-4571-8386-8F22113784BC}" dt="2021-03-02T12:12:48.197" v="1157" actId="1076"/>
          <ac:picMkLst>
            <pc:docMk/>
            <pc:sldMk cId="3848620733" sldId="836"/>
            <ac:picMk id="1062" creationId="{97FD82EF-A3AD-4695-81B2-806E7DCF15D5}"/>
          </ac:picMkLst>
        </pc:picChg>
      </pc:sldChg>
      <pc:sldChg chg="addSp delSp modSp add mod ord chgLayout">
        <pc:chgData name="Adrian Kisliuk" userId="81f189f0-3ed9-4f29-a7b1-770f7af93676" providerId="ADAL" clId="{4C5447CB-8D2B-4571-8386-8F22113784BC}" dt="2021-03-02T13:01:34.926" v="2632" actId="1076"/>
        <pc:sldMkLst>
          <pc:docMk/>
          <pc:sldMk cId="759741315" sldId="837"/>
        </pc:sldMkLst>
        <pc:spChg chg="mod ord">
          <ac:chgData name="Adrian Kisliuk" userId="81f189f0-3ed9-4f29-a7b1-770f7af93676" providerId="ADAL" clId="{4C5447CB-8D2B-4571-8386-8F22113784BC}" dt="2021-03-02T12:34:50.161" v="2032"/>
          <ac:spMkLst>
            <pc:docMk/>
            <pc:sldMk cId="759741315" sldId="837"/>
            <ac:spMk id="2" creationId="{50E68478-280C-4B71-A2DA-1A37303CE9F7}"/>
          </ac:spMkLst>
        </pc:spChg>
        <pc:spChg chg="del mod ord">
          <ac:chgData name="Adrian Kisliuk" userId="81f189f0-3ed9-4f29-a7b1-770f7af93676" providerId="ADAL" clId="{4C5447CB-8D2B-4571-8386-8F22113784BC}" dt="2021-03-02T12:34:56.291" v="2088" actId="478"/>
          <ac:spMkLst>
            <pc:docMk/>
            <pc:sldMk cId="759741315" sldId="837"/>
            <ac:spMk id="3" creationId="{5CD78C9C-FC67-400A-AB19-9FAF630ADB32}"/>
          </ac:spMkLst>
        </pc:spChg>
        <pc:spChg chg="add mod ord">
          <ac:chgData name="Adrian Kisliuk" userId="81f189f0-3ed9-4f29-a7b1-770f7af93676" providerId="ADAL" clId="{4C5447CB-8D2B-4571-8386-8F22113784BC}" dt="2021-03-02T12:34:54.360" v="2035" actId="948"/>
          <ac:spMkLst>
            <pc:docMk/>
            <pc:sldMk cId="759741315" sldId="837"/>
            <ac:spMk id="4" creationId="{C32F903F-A4E8-491F-8C7C-2288947BD34E}"/>
          </ac:spMkLst>
        </pc:spChg>
        <pc:spChg chg="mod">
          <ac:chgData name="Adrian Kisliuk" userId="81f189f0-3ed9-4f29-a7b1-770f7af93676" providerId="ADAL" clId="{4C5447CB-8D2B-4571-8386-8F22113784BC}" dt="2021-03-02T12:34:42.836" v="2030" actId="1076"/>
          <ac:spMkLst>
            <pc:docMk/>
            <pc:sldMk cId="759741315" sldId="837"/>
            <ac:spMk id="5" creationId="{FC298125-D680-4F92-8081-A588B2F8C85A}"/>
          </ac:spMkLst>
        </pc:spChg>
        <pc:spChg chg="add del mod modVis">
          <ac:chgData name="Adrian Kisliuk" userId="81f189f0-3ed9-4f29-a7b1-770f7af93676" providerId="ADAL" clId="{4C5447CB-8D2B-4571-8386-8F22113784BC}" dt="2021-03-02T12:34:54.392" v="2072"/>
          <ac:spMkLst>
            <pc:docMk/>
            <pc:sldMk cId="759741315" sldId="837"/>
            <ac:spMk id="6" creationId="{B038FBD5-4B9C-49BA-B6BC-3C4F1FCF40C4}"/>
          </ac:spMkLst>
        </pc:spChg>
        <pc:graphicFrameChg chg="add mod ord modVis">
          <ac:chgData name="Adrian Kisliuk" userId="81f189f0-3ed9-4f29-a7b1-770f7af93676" providerId="ADAL" clId="{4C5447CB-8D2B-4571-8386-8F22113784BC}" dt="2021-03-02T12:34:54.411" v="2087"/>
          <ac:graphicFrameMkLst>
            <pc:docMk/>
            <pc:sldMk cId="759741315" sldId="837"/>
            <ac:graphicFrameMk id="7" creationId="{5660D7B9-2AFE-459A-88CF-B12E9607ECF2}"/>
          </ac:graphicFrameMkLst>
        </pc:graphicFrameChg>
        <pc:picChg chg="mod">
          <ac:chgData name="Adrian Kisliuk" userId="81f189f0-3ed9-4f29-a7b1-770f7af93676" providerId="ADAL" clId="{4C5447CB-8D2B-4571-8386-8F22113784BC}" dt="2021-03-02T12:15:58.919" v="1210" actId="1076"/>
          <ac:picMkLst>
            <pc:docMk/>
            <pc:sldMk cId="759741315" sldId="837"/>
            <ac:picMk id="8" creationId="{9C9F2122-5CC7-44AB-8F0D-AC9A9827247F}"/>
          </ac:picMkLst>
        </pc:picChg>
        <pc:picChg chg="del">
          <ac:chgData name="Adrian Kisliuk" userId="81f189f0-3ed9-4f29-a7b1-770f7af93676" providerId="ADAL" clId="{4C5447CB-8D2B-4571-8386-8F22113784BC}" dt="2021-03-02T12:13:49.646" v="1171" actId="478"/>
          <ac:picMkLst>
            <pc:docMk/>
            <pc:sldMk cId="759741315" sldId="837"/>
            <ac:picMk id="14" creationId="{8BCB7259-5A93-48E7-A0F6-CB20049CB38D}"/>
          </ac:picMkLst>
        </pc:picChg>
        <pc:picChg chg="mod">
          <ac:chgData name="Adrian Kisliuk" userId="81f189f0-3ed9-4f29-a7b1-770f7af93676" providerId="ADAL" clId="{4C5447CB-8D2B-4571-8386-8F22113784BC}" dt="2021-03-02T12:13:23.553" v="1167" actId="1076"/>
          <ac:picMkLst>
            <pc:docMk/>
            <pc:sldMk cId="759741315" sldId="837"/>
            <ac:picMk id="18" creationId="{523D6BC8-98D8-4406-B8C8-2C6D88A74250}"/>
          </ac:picMkLst>
        </pc:picChg>
        <pc:picChg chg="mod">
          <ac:chgData name="Adrian Kisliuk" userId="81f189f0-3ed9-4f29-a7b1-770f7af93676" providerId="ADAL" clId="{4C5447CB-8D2B-4571-8386-8F22113784BC}" dt="2021-03-02T12:13:59.472" v="1174" actId="1076"/>
          <ac:picMkLst>
            <pc:docMk/>
            <pc:sldMk cId="759741315" sldId="837"/>
            <ac:picMk id="1026" creationId="{3D95A9D7-8547-417F-8A07-3F83C64A59D9}"/>
          </ac:picMkLst>
        </pc:picChg>
        <pc:picChg chg="mod">
          <ac:chgData name="Adrian Kisliuk" userId="81f189f0-3ed9-4f29-a7b1-770f7af93676" providerId="ADAL" clId="{4C5447CB-8D2B-4571-8386-8F22113784BC}" dt="2021-03-02T12:15:46.382" v="1204" actId="1076"/>
          <ac:picMkLst>
            <pc:docMk/>
            <pc:sldMk cId="759741315" sldId="837"/>
            <ac:picMk id="1030" creationId="{0A5F62C3-583A-40FB-AA1F-3468436B4CCD}"/>
          </ac:picMkLst>
        </pc:picChg>
        <pc:picChg chg="mod">
          <ac:chgData name="Adrian Kisliuk" userId="81f189f0-3ed9-4f29-a7b1-770f7af93676" providerId="ADAL" clId="{4C5447CB-8D2B-4571-8386-8F22113784BC}" dt="2021-03-02T12:13:54.814" v="1173" actId="1076"/>
          <ac:picMkLst>
            <pc:docMk/>
            <pc:sldMk cId="759741315" sldId="837"/>
            <ac:picMk id="1032" creationId="{BA4B8B89-8E9F-4563-AE14-F739DFC91141}"/>
          </ac:picMkLst>
        </pc:picChg>
        <pc:picChg chg="mod">
          <ac:chgData name="Adrian Kisliuk" userId="81f189f0-3ed9-4f29-a7b1-770f7af93676" providerId="ADAL" clId="{4C5447CB-8D2B-4571-8386-8F22113784BC}" dt="2021-03-02T12:16:26.678" v="1217" actId="1076"/>
          <ac:picMkLst>
            <pc:docMk/>
            <pc:sldMk cId="759741315" sldId="837"/>
            <ac:picMk id="1034" creationId="{50EF20B7-8695-4E5B-948E-38D1B122706B}"/>
          </ac:picMkLst>
        </pc:picChg>
        <pc:picChg chg="del">
          <ac:chgData name="Adrian Kisliuk" userId="81f189f0-3ed9-4f29-a7b1-770f7af93676" providerId="ADAL" clId="{4C5447CB-8D2B-4571-8386-8F22113784BC}" dt="2021-03-02T12:13:00.304" v="1160" actId="478"/>
          <ac:picMkLst>
            <pc:docMk/>
            <pc:sldMk cId="759741315" sldId="837"/>
            <ac:picMk id="1036" creationId="{33AB4A15-44A7-4A36-A778-B980B280E691}"/>
          </ac:picMkLst>
        </pc:picChg>
        <pc:picChg chg="mod">
          <ac:chgData name="Adrian Kisliuk" userId="81f189f0-3ed9-4f29-a7b1-770f7af93676" providerId="ADAL" clId="{4C5447CB-8D2B-4571-8386-8F22113784BC}" dt="2021-03-02T12:13:20.489" v="1165" actId="1076"/>
          <ac:picMkLst>
            <pc:docMk/>
            <pc:sldMk cId="759741315" sldId="837"/>
            <ac:picMk id="1040" creationId="{EC8376D9-C6E3-4F38-9167-BEDD0336C152}"/>
          </ac:picMkLst>
        </pc:picChg>
        <pc:picChg chg="mod">
          <ac:chgData name="Adrian Kisliuk" userId="81f189f0-3ed9-4f29-a7b1-770f7af93676" providerId="ADAL" clId="{4C5447CB-8D2B-4571-8386-8F22113784BC}" dt="2021-03-02T12:14:08.088" v="1179" actId="1076"/>
          <ac:picMkLst>
            <pc:docMk/>
            <pc:sldMk cId="759741315" sldId="837"/>
            <ac:picMk id="1042" creationId="{2A0DC546-AED0-46B1-854D-938E7BD3C3B3}"/>
          </ac:picMkLst>
        </pc:picChg>
        <pc:picChg chg="mod">
          <ac:chgData name="Adrian Kisliuk" userId="81f189f0-3ed9-4f29-a7b1-770f7af93676" providerId="ADAL" clId="{4C5447CB-8D2B-4571-8386-8F22113784BC}" dt="2021-03-02T13:01:34.926" v="2632" actId="1076"/>
          <ac:picMkLst>
            <pc:docMk/>
            <pc:sldMk cId="759741315" sldId="837"/>
            <ac:picMk id="1046" creationId="{7D3A7E12-AB1A-45DD-90BC-D678CD48CDCD}"/>
          </ac:picMkLst>
        </pc:picChg>
        <pc:picChg chg="mod">
          <ac:chgData name="Adrian Kisliuk" userId="81f189f0-3ed9-4f29-a7b1-770f7af93676" providerId="ADAL" clId="{4C5447CB-8D2B-4571-8386-8F22113784BC}" dt="2021-03-02T12:15:39.282" v="1201" actId="1076"/>
          <ac:picMkLst>
            <pc:docMk/>
            <pc:sldMk cId="759741315" sldId="837"/>
            <ac:picMk id="1050" creationId="{F8B59AC0-F1BF-44FC-A781-DC05EE37519D}"/>
          </ac:picMkLst>
        </pc:picChg>
        <pc:picChg chg="mod">
          <ac:chgData name="Adrian Kisliuk" userId="81f189f0-3ed9-4f29-a7b1-770f7af93676" providerId="ADAL" clId="{4C5447CB-8D2B-4571-8386-8F22113784BC}" dt="2021-03-02T12:15:55.229" v="1208" actId="1076"/>
          <ac:picMkLst>
            <pc:docMk/>
            <pc:sldMk cId="759741315" sldId="837"/>
            <ac:picMk id="1052" creationId="{19045790-0F4D-43E7-B0F6-8FE45BA47774}"/>
          </ac:picMkLst>
        </pc:picChg>
        <pc:picChg chg="mod">
          <ac:chgData name="Adrian Kisliuk" userId="81f189f0-3ed9-4f29-a7b1-770f7af93676" providerId="ADAL" clId="{4C5447CB-8D2B-4571-8386-8F22113784BC}" dt="2021-03-02T12:15:54.008" v="1207" actId="1076"/>
          <ac:picMkLst>
            <pc:docMk/>
            <pc:sldMk cId="759741315" sldId="837"/>
            <ac:picMk id="1054" creationId="{36829114-B8D9-4B38-B264-7C2910AC4DA0}"/>
          </ac:picMkLst>
        </pc:picChg>
        <pc:picChg chg="mod">
          <ac:chgData name="Adrian Kisliuk" userId="81f189f0-3ed9-4f29-a7b1-770f7af93676" providerId="ADAL" clId="{4C5447CB-8D2B-4571-8386-8F22113784BC}" dt="2021-03-02T12:15:56.911" v="1209" actId="1076"/>
          <ac:picMkLst>
            <pc:docMk/>
            <pc:sldMk cId="759741315" sldId="837"/>
            <ac:picMk id="1056" creationId="{668A3436-EE15-44C9-B132-39B2C7A9BBF1}"/>
          </ac:picMkLst>
        </pc:picChg>
        <pc:picChg chg="mod">
          <ac:chgData name="Adrian Kisliuk" userId="81f189f0-3ed9-4f29-a7b1-770f7af93676" providerId="ADAL" clId="{4C5447CB-8D2B-4571-8386-8F22113784BC}" dt="2021-03-02T12:15:52.693" v="1206" actId="14100"/>
          <ac:picMkLst>
            <pc:docMk/>
            <pc:sldMk cId="759741315" sldId="837"/>
            <ac:picMk id="1058" creationId="{D389B605-C9DB-4911-9840-437122FF3102}"/>
          </ac:picMkLst>
        </pc:picChg>
        <pc:picChg chg="mod">
          <ac:chgData name="Adrian Kisliuk" userId="81f189f0-3ed9-4f29-a7b1-770f7af93676" providerId="ADAL" clId="{4C5447CB-8D2B-4571-8386-8F22113784BC}" dt="2021-03-02T12:15:20.205" v="1195" actId="1076"/>
          <ac:picMkLst>
            <pc:docMk/>
            <pc:sldMk cId="759741315" sldId="837"/>
            <ac:picMk id="1062" creationId="{97FD82EF-A3AD-4695-81B2-806E7DCF15D5}"/>
          </ac:picMkLst>
        </pc:picChg>
      </pc:sldChg>
      <pc:sldChg chg="addSp delSp modSp new add del mod modClrScheme chgLayout">
        <pc:chgData name="Adrian Kisliuk" userId="81f189f0-3ed9-4f29-a7b1-770f7af93676" providerId="ADAL" clId="{4C5447CB-8D2B-4571-8386-8F22113784BC}" dt="2021-03-02T12:31:44.164" v="1834" actId="47"/>
        <pc:sldMkLst>
          <pc:docMk/>
          <pc:sldMk cId="1418570776" sldId="838"/>
        </pc:sldMkLst>
        <pc:spChg chg="del">
          <ac:chgData name="Adrian Kisliuk" userId="81f189f0-3ed9-4f29-a7b1-770f7af93676" providerId="ADAL" clId="{4C5447CB-8D2B-4571-8386-8F22113784BC}" dt="2021-03-02T12:31:03.027" v="1830"/>
          <ac:spMkLst>
            <pc:docMk/>
            <pc:sldMk cId="1418570776" sldId="838"/>
            <ac:spMk id="2" creationId="{148295DF-93BD-4A4C-932D-438CBC748786}"/>
          </ac:spMkLst>
        </pc:spChg>
        <pc:spChg chg="del">
          <ac:chgData name="Adrian Kisliuk" userId="81f189f0-3ed9-4f29-a7b1-770f7af93676" providerId="ADAL" clId="{4C5447CB-8D2B-4571-8386-8F22113784BC}" dt="2021-03-02T12:31:03.027" v="1830"/>
          <ac:spMkLst>
            <pc:docMk/>
            <pc:sldMk cId="1418570776" sldId="838"/>
            <ac:spMk id="3" creationId="{7C0A489C-B918-4A45-9DC6-517E7C6C6250}"/>
          </ac:spMkLst>
        </pc:spChg>
        <pc:spChg chg="add mod">
          <ac:chgData name="Adrian Kisliuk" userId="81f189f0-3ed9-4f29-a7b1-770f7af93676" providerId="ADAL" clId="{4C5447CB-8D2B-4571-8386-8F22113784BC}" dt="2021-03-02T12:31:18.188" v="1833"/>
          <ac:spMkLst>
            <pc:docMk/>
            <pc:sldMk cId="1418570776" sldId="838"/>
            <ac:spMk id="4" creationId="{864F160E-03F7-4A7A-ACF1-BFB86681201F}"/>
          </ac:spMkLst>
        </pc:spChg>
        <pc:spChg chg="add mod">
          <ac:chgData name="Adrian Kisliuk" userId="81f189f0-3ed9-4f29-a7b1-770f7af93676" providerId="ADAL" clId="{4C5447CB-8D2B-4571-8386-8F22113784BC}" dt="2021-03-02T12:31:18.188" v="1833"/>
          <ac:spMkLst>
            <pc:docMk/>
            <pc:sldMk cId="1418570776" sldId="838"/>
            <ac:spMk id="5" creationId="{B67A152D-6956-4695-B64D-3402D17E48E6}"/>
          </ac:spMkLst>
        </pc:spChg>
      </pc:sldChg>
      <pc:sldMasterChg chg="addSp delSp modSp mod addSldLayout delSldLayout modSldLayout sldLayoutOrd">
        <pc:chgData name="Adrian Kisliuk" userId="81f189f0-3ed9-4f29-a7b1-770f7af93676" providerId="ADAL" clId="{4C5447CB-8D2B-4571-8386-8F22113784BC}" dt="2021-03-02T12:49:36.465" v="2628" actId="2696"/>
        <pc:sldMasterMkLst>
          <pc:docMk/>
          <pc:sldMasterMk cId="792883523" sldId="2147483648"/>
        </pc:sldMasterMkLst>
        <pc:spChg chg="add del mod">
          <ac:chgData name="Adrian Kisliuk" userId="81f189f0-3ed9-4f29-a7b1-770f7af93676" providerId="ADAL" clId="{4C5447CB-8D2B-4571-8386-8F22113784BC}" dt="2021-03-02T12:47:10.132" v="2617" actId="21"/>
          <ac:spMkLst>
            <pc:docMk/>
            <pc:sldMasterMk cId="792883523" sldId="2147483648"/>
            <ac:spMk id="2" creationId="{00000000-0000-0000-0000-000000000000}"/>
          </ac:spMkLst>
        </pc:spChg>
        <pc:spChg chg="add del mod">
          <ac:chgData name="Adrian Kisliuk" userId="81f189f0-3ed9-4f29-a7b1-770f7af93676" providerId="ADAL" clId="{4C5447CB-8D2B-4571-8386-8F22113784BC}" dt="2021-03-02T12:46:33.088" v="2595" actId="478"/>
          <ac:spMkLst>
            <pc:docMk/>
            <pc:sldMasterMk cId="792883523" sldId="2147483648"/>
            <ac:spMk id="3" creationId="{00000000-0000-0000-0000-000000000000}"/>
          </ac:spMkLst>
        </pc:spChg>
        <pc:spChg chg="del mod">
          <ac:chgData name="Adrian Kisliuk" userId="81f189f0-3ed9-4f29-a7b1-770f7af93676" providerId="ADAL" clId="{4C5447CB-8D2B-4571-8386-8F22113784BC}" dt="2021-03-02T12:32:12.854" v="1841" actId="478"/>
          <ac:spMkLst>
            <pc:docMk/>
            <pc:sldMasterMk cId="792883523" sldId="2147483648"/>
            <ac:spMk id="5" creationId="{00000000-0000-0000-0000-000000000000}"/>
          </ac:spMkLst>
        </pc:spChg>
        <pc:spChg chg="add del mod modVis">
          <ac:chgData name="Adrian Kisliuk" userId="81f189f0-3ed9-4f29-a7b1-770f7af93676" providerId="ADAL" clId="{4C5447CB-8D2B-4571-8386-8F22113784BC}" dt="2021-03-02T12:27:19.097" v="1497"/>
          <ac:spMkLst>
            <pc:docMk/>
            <pc:sldMasterMk cId="792883523" sldId="2147483648"/>
            <ac:spMk id="6" creationId="{E8DB9E65-CD0D-44D7-9397-CED5CA7ECEBA}"/>
          </ac:spMkLst>
        </pc:spChg>
        <pc:spChg chg="add del mod modVis">
          <ac:chgData name="Adrian Kisliuk" userId="81f189f0-3ed9-4f29-a7b1-770f7af93676" providerId="ADAL" clId="{4C5447CB-8D2B-4571-8386-8F22113784BC}" dt="2021-03-02T12:27:21.670" v="1546"/>
          <ac:spMkLst>
            <pc:docMk/>
            <pc:sldMasterMk cId="792883523" sldId="2147483648"/>
            <ac:spMk id="7" creationId="{45BC8CC4-7358-45FF-84F9-092D82385CEB}"/>
          </ac:spMkLst>
        </pc:spChg>
        <pc:spChg chg="add del mod modVis">
          <ac:chgData name="Adrian Kisliuk" userId="81f189f0-3ed9-4f29-a7b1-770f7af93676" providerId="ADAL" clId="{4C5447CB-8D2B-4571-8386-8F22113784BC}" dt="2021-03-02T12:27:25.562" v="1590"/>
          <ac:spMkLst>
            <pc:docMk/>
            <pc:sldMasterMk cId="792883523" sldId="2147483648"/>
            <ac:spMk id="8" creationId="{060FBFCC-21CD-4B3A-A67B-D2694352AD48}"/>
          </ac:spMkLst>
        </pc:spChg>
        <pc:spChg chg="add del mod modVis">
          <ac:chgData name="Adrian Kisliuk" userId="81f189f0-3ed9-4f29-a7b1-770f7af93676" providerId="ADAL" clId="{4C5447CB-8D2B-4571-8386-8F22113784BC}" dt="2021-03-02T12:27:43.489" v="1632"/>
          <ac:spMkLst>
            <pc:docMk/>
            <pc:sldMasterMk cId="792883523" sldId="2147483648"/>
            <ac:spMk id="9" creationId="{2CABEA8C-9270-4411-AB96-90A34C2388B4}"/>
          </ac:spMkLst>
        </pc:spChg>
        <pc:spChg chg="add del mod modVis">
          <ac:chgData name="Adrian Kisliuk" userId="81f189f0-3ed9-4f29-a7b1-770f7af93676" providerId="ADAL" clId="{4C5447CB-8D2B-4571-8386-8F22113784BC}" dt="2021-03-02T12:29:05.405" v="1684"/>
          <ac:spMkLst>
            <pc:docMk/>
            <pc:sldMasterMk cId="792883523" sldId="2147483648"/>
            <ac:spMk id="10" creationId="{2B0A1FAF-234E-4642-8F35-5925397C0489}"/>
          </ac:spMkLst>
        </pc:spChg>
        <pc:spChg chg="add del mod modVis">
          <ac:chgData name="Adrian Kisliuk" userId="81f189f0-3ed9-4f29-a7b1-770f7af93676" providerId="ADAL" clId="{4C5447CB-8D2B-4571-8386-8F22113784BC}" dt="2021-03-02T12:29:09.488" v="1725"/>
          <ac:spMkLst>
            <pc:docMk/>
            <pc:sldMasterMk cId="792883523" sldId="2147483648"/>
            <ac:spMk id="11" creationId="{C56381C3-CE7A-4331-8FF9-993A6CB1C26A}"/>
          </ac:spMkLst>
        </pc:spChg>
        <pc:spChg chg="add del mod modVis">
          <ac:chgData name="Adrian Kisliuk" userId="81f189f0-3ed9-4f29-a7b1-770f7af93676" providerId="ADAL" clId="{4C5447CB-8D2B-4571-8386-8F22113784BC}" dt="2021-03-02T12:29:23.755" v="1768"/>
          <ac:spMkLst>
            <pc:docMk/>
            <pc:sldMasterMk cId="792883523" sldId="2147483648"/>
            <ac:spMk id="12" creationId="{F5FDC3AD-75DD-491D-B58C-482F2A97AF7B}"/>
          </ac:spMkLst>
        </pc:spChg>
        <pc:spChg chg="add del mod">
          <ac:chgData name="Adrian Kisliuk" userId="81f189f0-3ed9-4f29-a7b1-770f7af93676" providerId="ADAL" clId="{4C5447CB-8D2B-4571-8386-8F22113784BC}" dt="2021-03-02T12:26:50.378" v="1439" actId="478"/>
          <ac:spMkLst>
            <pc:docMk/>
            <pc:sldMasterMk cId="792883523" sldId="2147483648"/>
            <ac:spMk id="42" creationId="{C38067AB-C54C-4312-A5BB-3F5D5B71BB62}"/>
          </ac:spMkLst>
        </pc:spChg>
        <pc:spChg chg="add del mod">
          <ac:chgData name="Adrian Kisliuk" userId="81f189f0-3ed9-4f29-a7b1-770f7af93676" providerId="ADAL" clId="{4C5447CB-8D2B-4571-8386-8F22113784BC}" dt="2021-03-02T12:26:49.768" v="1438"/>
          <ac:spMkLst>
            <pc:docMk/>
            <pc:sldMasterMk cId="792883523" sldId="2147483648"/>
            <ac:spMk id="43" creationId="{ABFCBBA7-5CC0-4822-9783-A4B27ADB6999}"/>
          </ac:spMkLst>
        </pc:spChg>
        <pc:spChg chg="add del mod">
          <ac:chgData name="Adrian Kisliuk" userId="81f189f0-3ed9-4f29-a7b1-770f7af93676" providerId="ADAL" clId="{4C5447CB-8D2B-4571-8386-8F22113784BC}" dt="2021-03-02T12:26:47.064" v="1435"/>
          <ac:spMkLst>
            <pc:docMk/>
            <pc:sldMasterMk cId="792883523" sldId="2147483648"/>
            <ac:spMk id="44" creationId="{1387E83F-4F40-4563-856C-68FC8CD13322}"/>
          </ac:spMkLst>
        </pc:spChg>
        <pc:spChg chg="add del mod">
          <ac:chgData name="Adrian Kisliuk" userId="81f189f0-3ed9-4f29-a7b1-770f7af93676" providerId="ADAL" clId="{4C5447CB-8D2B-4571-8386-8F22113784BC}" dt="2021-03-02T12:46:33.604" v="2596" actId="478"/>
          <ac:spMkLst>
            <pc:docMk/>
            <pc:sldMasterMk cId="792883523" sldId="2147483648"/>
            <ac:spMk id="52" creationId="{8623415F-5A9F-4DD2-B971-BF224D1AB1E7}"/>
          </ac:spMkLst>
        </pc:spChg>
        <pc:spChg chg="add del mod">
          <ac:chgData name="Adrian Kisliuk" userId="81f189f0-3ed9-4f29-a7b1-770f7af93676" providerId="ADAL" clId="{4C5447CB-8D2B-4571-8386-8F22113784BC}" dt="2021-03-02T12:47:09.725" v="2615"/>
          <ac:spMkLst>
            <pc:docMk/>
            <pc:sldMasterMk cId="792883523" sldId="2147483648"/>
            <ac:spMk id="53" creationId="{1AAC0E00-6D1F-49FD-AACC-BC0EBC64D577}"/>
          </ac:spMkLst>
        </pc:spChg>
        <pc:spChg chg="mod">
          <ac:chgData name="Adrian Kisliuk" userId="81f189f0-3ed9-4f29-a7b1-770f7af93676" providerId="ADAL" clId="{4C5447CB-8D2B-4571-8386-8F22113784BC}" dt="2021-03-02T12:28:55.603" v="1645" actId="404"/>
          <ac:spMkLst>
            <pc:docMk/>
            <pc:sldMasterMk cId="792883523" sldId="2147483648"/>
            <ac:spMk id="77" creationId="{00000000-0000-0000-0000-000000000000}"/>
          </ac:spMkLst>
        </pc:spChg>
        <pc:graphicFrameChg chg="mod">
          <ac:chgData name="Adrian Kisliuk" userId="81f189f0-3ed9-4f29-a7b1-770f7af93676" providerId="ADAL" clId="{4C5447CB-8D2B-4571-8386-8F22113784BC}" dt="2021-03-02T12:49:36.465" v="2627" actId="1076"/>
          <ac:graphicFrameMkLst>
            <pc:docMk/>
            <pc:sldMasterMk cId="792883523" sldId="2147483648"/>
            <ac:graphicFrameMk id="4" creationId="{00000000-0000-0000-0000-000000000000}"/>
          </ac:graphicFrameMkLst>
        </pc:graphicFrameChg>
        <pc:sldLayoutChg chg="modSp mod">
          <pc:chgData name="Adrian Kisliuk" userId="81f189f0-3ed9-4f29-a7b1-770f7af93676" providerId="ADAL" clId="{4C5447CB-8D2B-4571-8386-8F22113784BC}" dt="2021-03-02T12:37:28.355" v="2506" actId="113"/>
          <pc:sldLayoutMkLst>
            <pc:docMk/>
            <pc:sldMasterMk cId="792883523" sldId="2147483648"/>
            <pc:sldLayoutMk cId="4147159444" sldId="2147483649"/>
          </pc:sldLayoutMkLst>
          <pc:spChg chg="mod">
            <ac:chgData name="Adrian Kisliuk" userId="81f189f0-3ed9-4f29-a7b1-770f7af93676" providerId="ADAL" clId="{4C5447CB-8D2B-4571-8386-8F22113784BC}" dt="2021-03-02T12:37:28.355" v="2506" actId="113"/>
            <ac:spMkLst>
              <pc:docMk/>
              <pc:sldMasterMk cId="792883523" sldId="2147483648"/>
              <pc:sldLayoutMk cId="4147159444" sldId="2147483649"/>
              <ac:spMk id="4" creationId="{00000000-0000-0000-0000-000000000000}"/>
            </ac:spMkLst>
          </pc:spChg>
          <pc:spChg chg="mod">
            <ac:chgData name="Adrian Kisliuk" userId="81f189f0-3ed9-4f29-a7b1-770f7af93676" providerId="ADAL" clId="{4C5447CB-8D2B-4571-8386-8F22113784BC}" dt="2021-03-02T12:37:28.355" v="2506" actId="113"/>
            <ac:spMkLst>
              <pc:docMk/>
              <pc:sldMasterMk cId="792883523" sldId="2147483648"/>
              <pc:sldLayoutMk cId="4147159444" sldId="2147483649"/>
              <ac:spMk id="6" creationId="{00000000-0000-0000-0000-000000000000}"/>
            </ac:spMkLst>
          </pc:spChg>
        </pc:sldLayoutChg>
        <pc:sldLayoutChg chg="modSp mod">
          <pc:chgData name="Adrian Kisliuk" userId="81f189f0-3ed9-4f29-a7b1-770f7af93676" providerId="ADAL" clId="{4C5447CB-8D2B-4571-8386-8F22113784BC}" dt="2021-03-02T12:37:50.027" v="2541" actId="20577"/>
          <pc:sldLayoutMkLst>
            <pc:docMk/>
            <pc:sldMasterMk cId="792883523" sldId="2147483648"/>
            <pc:sldLayoutMk cId="3611655355" sldId="2147483650"/>
          </pc:sldLayoutMkLst>
          <pc:spChg chg="mod">
            <ac:chgData name="Adrian Kisliuk" userId="81f189f0-3ed9-4f29-a7b1-770f7af93676" providerId="ADAL" clId="{4C5447CB-8D2B-4571-8386-8F22113784BC}" dt="2021-03-02T12:37:50.027" v="2541" actId="20577"/>
            <ac:spMkLst>
              <pc:docMk/>
              <pc:sldMasterMk cId="792883523" sldId="2147483648"/>
              <pc:sldLayoutMk cId="3611655355" sldId="2147483650"/>
              <ac:spMk id="6" creationId="{00000000-0000-0000-0000-000000000000}"/>
            </ac:spMkLst>
          </pc:spChg>
          <pc:spChg chg="mod">
            <ac:chgData name="Adrian Kisliuk" userId="81f189f0-3ed9-4f29-a7b1-770f7af93676" providerId="ADAL" clId="{4C5447CB-8D2B-4571-8386-8F22113784BC}" dt="2021-03-02T12:37:43.147" v="2533" actId="20577"/>
            <ac:spMkLst>
              <pc:docMk/>
              <pc:sldMasterMk cId="792883523" sldId="2147483648"/>
              <pc:sldLayoutMk cId="3611655355" sldId="2147483650"/>
              <ac:spMk id="7" creationId="{00000000-0000-0000-0000-000000000000}"/>
            </ac:spMkLst>
          </pc:spChg>
        </pc:sldLayoutChg>
        <pc:sldLayoutChg chg="modSp">
          <pc:chgData name="Adrian Kisliuk" userId="81f189f0-3ed9-4f29-a7b1-770f7af93676" providerId="ADAL" clId="{4C5447CB-8D2B-4571-8386-8F22113784BC}" dt="2021-03-02T12:38:10.660" v="2548" actId="20577"/>
          <pc:sldLayoutMkLst>
            <pc:docMk/>
            <pc:sldMasterMk cId="792883523" sldId="2147483648"/>
            <pc:sldLayoutMk cId="3519797754" sldId="2147483651"/>
          </pc:sldLayoutMkLst>
          <pc:spChg chg="mod">
            <ac:chgData name="Adrian Kisliuk" userId="81f189f0-3ed9-4f29-a7b1-770f7af93676" providerId="ADAL" clId="{4C5447CB-8D2B-4571-8386-8F22113784BC}" dt="2021-03-02T12:38:10.660" v="2548" actId="20577"/>
            <ac:spMkLst>
              <pc:docMk/>
              <pc:sldMasterMk cId="792883523" sldId="2147483648"/>
              <pc:sldLayoutMk cId="3519797754" sldId="2147483651"/>
              <ac:spMk id="4" creationId="{00000000-0000-0000-0000-000000000000}"/>
            </ac:spMkLst>
          </pc:spChg>
        </pc:sldLayoutChg>
        <pc:sldLayoutChg chg="modSp">
          <pc:chgData name="Adrian Kisliuk" userId="81f189f0-3ed9-4f29-a7b1-770f7af93676" providerId="ADAL" clId="{4C5447CB-8D2B-4571-8386-8F22113784BC}" dt="2021-03-02T12:38:18.111" v="2555" actId="113"/>
          <pc:sldLayoutMkLst>
            <pc:docMk/>
            <pc:sldMasterMk cId="792883523" sldId="2147483648"/>
            <pc:sldLayoutMk cId="3171617450" sldId="2147483652"/>
          </pc:sldLayoutMkLst>
          <pc:spChg chg="mod">
            <ac:chgData name="Adrian Kisliuk" userId="81f189f0-3ed9-4f29-a7b1-770f7af93676" providerId="ADAL" clId="{4C5447CB-8D2B-4571-8386-8F22113784BC}" dt="2021-03-02T12:38:18.111" v="2555" actId="113"/>
            <ac:spMkLst>
              <pc:docMk/>
              <pc:sldMasterMk cId="792883523" sldId="2147483648"/>
              <pc:sldLayoutMk cId="3171617450" sldId="2147483652"/>
              <ac:spMk id="6" creationId="{00000000-0000-0000-0000-000000000000}"/>
            </ac:spMkLst>
          </pc:spChg>
        </pc:sldLayoutChg>
        <pc:sldLayoutChg chg="addSp delSp modSp mod">
          <pc:chgData name="Adrian Kisliuk" userId="81f189f0-3ed9-4f29-a7b1-770f7af93676" providerId="ADAL" clId="{4C5447CB-8D2B-4571-8386-8F22113784BC}" dt="2021-03-02T12:32:26.455" v="1844"/>
          <pc:sldLayoutMkLst>
            <pc:docMk/>
            <pc:sldMasterMk cId="792883523" sldId="2147483648"/>
            <pc:sldLayoutMk cId="1590086391" sldId="2147483656"/>
          </pc:sldLayoutMkLst>
          <pc:spChg chg="add mod">
            <ac:chgData name="Adrian Kisliuk" userId="81f189f0-3ed9-4f29-a7b1-770f7af93676" providerId="ADAL" clId="{4C5447CB-8D2B-4571-8386-8F22113784BC}" dt="2021-03-02T12:32:26.455" v="1844"/>
            <ac:spMkLst>
              <pc:docMk/>
              <pc:sldMasterMk cId="792883523" sldId="2147483648"/>
              <pc:sldLayoutMk cId="1590086391" sldId="2147483656"/>
              <ac:spMk id="4" creationId="{0CA81405-43FD-45D9-B591-60E85E3D25D8}"/>
            </ac:spMkLst>
          </pc:spChg>
          <pc:spChg chg="del">
            <ac:chgData name="Adrian Kisliuk" userId="81f189f0-3ed9-4f29-a7b1-770f7af93676" providerId="ADAL" clId="{4C5447CB-8D2B-4571-8386-8F22113784BC}" dt="2021-03-02T12:32:26" v="1843" actId="478"/>
            <ac:spMkLst>
              <pc:docMk/>
              <pc:sldMasterMk cId="792883523" sldId="2147483648"/>
              <pc:sldLayoutMk cId="1590086391" sldId="2147483656"/>
              <ac:spMk id="5" creationId="{00000000-0000-0000-0000-000000000000}"/>
            </ac:spMkLst>
          </pc:spChg>
        </pc:sldLayoutChg>
        <pc:sldLayoutChg chg="addSp delSp modSp mod">
          <pc:chgData name="Adrian Kisliuk" userId="81f189f0-3ed9-4f29-a7b1-770f7af93676" providerId="ADAL" clId="{4C5447CB-8D2B-4571-8386-8F22113784BC}" dt="2021-03-02T12:32:59.696" v="1854"/>
          <pc:sldLayoutMkLst>
            <pc:docMk/>
            <pc:sldMasterMk cId="792883523" sldId="2147483648"/>
            <pc:sldLayoutMk cId="4070037081" sldId="2147483657"/>
          </pc:sldLayoutMkLst>
          <pc:spChg chg="add del mod">
            <ac:chgData name="Adrian Kisliuk" userId="81f189f0-3ed9-4f29-a7b1-770f7af93676" providerId="ADAL" clId="{4C5447CB-8D2B-4571-8386-8F22113784BC}" dt="2021-03-02T12:32:59.075" v="1853" actId="478"/>
            <ac:spMkLst>
              <pc:docMk/>
              <pc:sldMasterMk cId="792883523" sldId="2147483648"/>
              <pc:sldLayoutMk cId="4070037081" sldId="2147483657"/>
              <ac:spMk id="4" creationId="{8E22584B-5F4E-414E-99F9-0E648A0847F2}"/>
            </ac:spMkLst>
          </pc:spChg>
          <pc:spChg chg="add del mod">
            <ac:chgData name="Adrian Kisliuk" userId="81f189f0-3ed9-4f29-a7b1-770f7af93676" providerId="ADAL" clId="{4C5447CB-8D2B-4571-8386-8F22113784BC}" dt="2021-03-02T12:32:59.075" v="1853" actId="478"/>
            <ac:spMkLst>
              <pc:docMk/>
              <pc:sldMasterMk cId="792883523" sldId="2147483648"/>
              <pc:sldLayoutMk cId="4070037081" sldId="2147483657"/>
              <ac:spMk id="5" creationId="{477AF3EF-A432-4D6E-BED7-8C8C82CCD935}"/>
            </ac:spMkLst>
          </pc:spChg>
          <pc:spChg chg="del">
            <ac:chgData name="Adrian Kisliuk" userId="81f189f0-3ed9-4f29-a7b1-770f7af93676" providerId="ADAL" clId="{4C5447CB-8D2B-4571-8386-8F22113784BC}" dt="2021-03-02T12:28:32.229" v="1641" actId="478"/>
            <ac:spMkLst>
              <pc:docMk/>
              <pc:sldMasterMk cId="792883523" sldId="2147483648"/>
              <pc:sldLayoutMk cId="4070037081" sldId="2147483657"/>
              <ac:spMk id="6" creationId="{00000000-0000-0000-0000-000000000000}"/>
            </ac:spMkLst>
          </pc:spChg>
          <pc:spChg chg="del">
            <ac:chgData name="Adrian Kisliuk" userId="81f189f0-3ed9-4f29-a7b1-770f7af93676" providerId="ADAL" clId="{4C5447CB-8D2B-4571-8386-8F22113784BC}" dt="2021-03-02T12:28:13.495" v="1639" actId="478"/>
            <ac:spMkLst>
              <pc:docMk/>
              <pc:sldMasterMk cId="792883523" sldId="2147483648"/>
              <pc:sldLayoutMk cId="4070037081" sldId="2147483657"/>
              <ac:spMk id="7" creationId="{00000000-0000-0000-0000-000000000000}"/>
            </ac:spMkLst>
          </pc:spChg>
          <pc:spChg chg="add mod">
            <ac:chgData name="Adrian Kisliuk" userId="81f189f0-3ed9-4f29-a7b1-770f7af93676" providerId="ADAL" clId="{4C5447CB-8D2B-4571-8386-8F22113784BC}" dt="2021-03-02T12:32:59.696" v="1854"/>
            <ac:spMkLst>
              <pc:docMk/>
              <pc:sldMasterMk cId="792883523" sldId="2147483648"/>
              <pc:sldLayoutMk cId="4070037081" sldId="2147483657"/>
              <ac:spMk id="8" creationId="{0237D11F-1AC0-46B5-8679-9AB4FE6CE40A}"/>
            </ac:spMkLst>
          </pc:spChg>
          <pc:spChg chg="add mod">
            <ac:chgData name="Adrian Kisliuk" userId="81f189f0-3ed9-4f29-a7b1-770f7af93676" providerId="ADAL" clId="{4C5447CB-8D2B-4571-8386-8F22113784BC}" dt="2021-03-02T12:32:59.696" v="1854"/>
            <ac:spMkLst>
              <pc:docMk/>
              <pc:sldMasterMk cId="792883523" sldId="2147483648"/>
              <pc:sldLayoutMk cId="4070037081" sldId="2147483657"/>
              <ac:spMk id="9" creationId="{6B12F3A8-C096-4AE4-AB50-71DB35029B0E}"/>
            </ac:spMkLst>
          </pc:spChg>
        </pc:sldLayoutChg>
        <pc:sldLayoutChg chg="addSp delSp modSp mod">
          <pc:chgData name="Adrian Kisliuk" userId="81f189f0-3ed9-4f29-a7b1-770f7af93676" providerId="ADAL" clId="{4C5447CB-8D2B-4571-8386-8F22113784BC}" dt="2021-03-02T12:49:36.464" v="2625" actId="1076"/>
          <pc:sldLayoutMkLst>
            <pc:docMk/>
            <pc:sldMasterMk cId="792883523" sldId="2147483648"/>
            <pc:sldLayoutMk cId="3748291341" sldId="2147483658"/>
          </pc:sldLayoutMkLst>
          <pc:spChg chg="add del mod modVis">
            <ac:chgData name="Adrian Kisliuk" userId="81f189f0-3ed9-4f29-a7b1-770f7af93676" providerId="ADAL" clId="{4C5447CB-8D2B-4571-8386-8F22113784BC}" dt="2021-03-02T12:29:32.315" v="1811"/>
            <ac:spMkLst>
              <pc:docMk/>
              <pc:sldMasterMk cId="792883523" sldId="2147483648"/>
              <pc:sldLayoutMk cId="3748291341" sldId="2147483658"/>
              <ac:spMk id="2" creationId="{E5B51F1A-06DB-4EA6-A79D-978753F91F82}"/>
            </ac:spMkLst>
          </pc:spChg>
          <pc:spChg chg="add del mod">
            <ac:chgData name="Adrian Kisliuk" userId="81f189f0-3ed9-4f29-a7b1-770f7af93676" providerId="ADAL" clId="{4C5447CB-8D2B-4571-8386-8F22113784BC}" dt="2021-03-02T12:29:19.762" v="1728" actId="478"/>
            <ac:spMkLst>
              <pc:docMk/>
              <pc:sldMasterMk cId="792883523" sldId="2147483648"/>
              <pc:sldLayoutMk cId="3748291341" sldId="2147483658"/>
              <ac:spMk id="7" creationId="{64C175FB-7F9B-4964-85ED-98311C4C27A0}"/>
            </ac:spMkLst>
          </pc:spChg>
          <pc:spChg chg="add del mod">
            <ac:chgData name="Adrian Kisliuk" userId="81f189f0-3ed9-4f29-a7b1-770f7af93676" providerId="ADAL" clId="{4C5447CB-8D2B-4571-8386-8F22113784BC}" dt="2021-03-02T12:29:31.777" v="1772" actId="478"/>
            <ac:spMkLst>
              <pc:docMk/>
              <pc:sldMasterMk cId="792883523" sldId="2147483648"/>
              <pc:sldLayoutMk cId="3748291341" sldId="2147483658"/>
              <ac:spMk id="8" creationId="{3BD61ECA-B28F-4DF9-8F91-73C2527D4EB7}"/>
            </ac:spMkLst>
          </pc:spChg>
          <pc:spChg chg="add del mod">
            <ac:chgData name="Adrian Kisliuk" userId="81f189f0-3ed9-4f29-a7b1-770f7af93676" providerId="ADAL" clId="{4C5447CB-8D2B-4571-8386-8F22113784BC}" dt="2021-03-02T12:47:10.508" v="2622" actId="478"/>
            <ac:spMkLst>
              <pc:docMk/>
              <pc:sldMasterMk cId="792883523" sldId="2147483648"/>
              <pc:sldLayoutMk cId="3748291341" sldId="2147483658"/>
              <ac:spMk id="9" creationId="{E5F59B36-8E80-41C9-B1FA-BF832B0AC82C}"/>
            </ac:spMkLst>
          </pc:spChg>
          <pc:spChg chg="del mod">
            <ac:chgData name="Adrian Kisliuk" userId="81f189f0-3ed9-4f29-a7b1-770f7af93676" providerId="ADAL" clId="{4C5447CB-8D2B-4571-8386-8F22113784BC}" dt="2021-03-02T12:29:31.777" v="1772" actId="478"/>
            <ac:spMkLst>
              <pc:docMk/>
              <pc:sldMasterMk cId="792883523" sldId="2147483648"/>
              <pc:sldLayoutMk cId="3748291341" sldId="2147483658"/>
              <ac:spMk id="10" creationId="{1A078CA0-EF0B-40CD-922F-14B54D2F6298}"/>
            </ac:spMkLst>
          </pc:spChg>
          <pc:spChg chg="del mod">
            <ac:chgData name="Adrian Kisliuk" userId="81f189f0-3ed9-4f29-a7b1-770f7af93676" providerId="ADAL" clId="{4C5447CB-8D2B-4571-8386-8F22113784BC}" dt="2021-03-02T12:23:52.165" v="1338" actId="478"/>
            <ac:spMkLst>
              <pc:docMk/>
              <pc:sldMasterMk cId="792883523" sldId="2147483648"/>
              <pc:sldLayoutMk cId="3748291341" sldId="2147483658"/>
              <ac:spMk id="11" creationId="{1371B518-D5FD-4749-B04A-4BFE7D5BB7BA}"/>
            </ac:spMkLst>
          </pc:spChg>
          <pc:spChg chg="add del mod">
            <ac:chgData name="Adrian Kisliuk" userId="81f189f0-3ed9-4f29-a7b1-770f7af93676" providerId="ADAL" clId="{4C5447CB-8D2B-4571-8386-8F22113784BC}" dt="2021-03-02T12:29:48.550" v="1825" actId="478"/>
            <ac:spMkLst>
              <pc:docMk/>
              <pc:sldMasterMk cId="792883523" sldId="2147483648"/>
              <pc:sldLayoutMk cId="3748291341" sldId="2147483658"/>
              <ac:spMk id="12" creationId="{FBE68401-BBA9-4476-A067-7500A6D8727F}"/>
            </ac:spMkLst>
          </pc:spChg>
          <pc:spChg chg="add del mod">
            <ac:chgData name="Adrian Kisliuk" userId="81f189f0-3ed9-4f29-a7b1-770f7af93676" providerId="ADAL" clId="{4C5447CB-8D2B-4571-8386-8F22113784BC}" dt="2021-03-02T12:32:08.708" v="1839" actId="478"/>
            <ac:spMkLst>
              <pc:docMk/>
              <pc:sldMasterMk cId="792883523" sldId="2147483648"/>
              <pc:sldLayoutMk cId="3748291341" sldId="2147483658"/>
              <ac:spMk id="13" creationId="{9DB2B4AE-CE63-4245-BB39-B1B919F72D4B}"/>
            </ac:spMkLst>
          </pc:spChg>
          <pc:spChg chg="add mod">
            <ac:chgData name="Adrian Kisliuk" userId="81f189f0-3ed9-4f29-a7b1-770f7af93676" providerId="ADAL" clId="{4C5447CB-8D2B-4571-8386-8F22113784BC}" dt="2021-03-02T12:32:09.103" v="1840"/>
            <ac:spMkLst>
              <pc:docMk/>
              <pc:sldMasterMk cId="792883523" sldId="2147483648"/>
              <pc:sldLayoutMk cId="3748291341" sldId="2147483658"/>
              <ac:spMk id="14" creationId="{711AF62B-8ABC-4A3F-91E2-9A233D49A88E}"/>
            </ac:spMkLst>
          </pc:spChg>
          <pc:spChg chg="mod">
            <ac:chgData name="Adrian Kisliuk" userId="81f189f0-3ed9-4f29-a7b1-770f7af93676" providerId="ADAL" clId="{4C5447CB-8D2B-4571-8386-8F22113784BC}" dt="2021-03-02T12:22:37.690" v="1306" actId="2711"/>
            <ac:spMkLst>
              <pc:docMk/>
              <pc:sldMasterMk cId="792883523" sldId="2147483648"/>
              <pc:sldLayoutMk cId="3748291341" sldId="2147483658"/>
              <ac:spMk id="20" creationId="{00000000-0000-0000-0000-000000000000}"/>
            </ac:spMkLst>
          </pc:spChg>
          <pc:graphicFrameChg chg="mod">
            <ac:chgData name="Adrian Kisliuk" userId="81f189f0-3ed9-4f29-a7b1-770f7af93676" providerId="ADAL" clId="{4C5447CB-8D2B-4571-8386-8F22113784BC}" dt="2021-03-02T12:49:36.464" v="2625" actId="1076"/>
            <ac:graphicFrameMkLst>
              <pc:docMk/>
              <pc:sldMasterMk cId="792883523" sldId="2147483648"/>
              <pc:sldLayoutMk cId="3748291341" sldId="2147483658"/>
              <ac:graphicFrameMk id="6" creationId="{00000000-0000-0000-0000-000000000000}"/>
            </ac:graphicFrameMkLst>
          </pc:graphicFrameChg>
        </pc:sldLayoutChg>
        <pc:sldLayoutChg chg="addSp delSp modSp mod">
          <pc:chgData name="Adrian Kisliuk" userId="81f189f0-3ed9-4f29-a7b1-770f7af93676" providerId="ADAL" clId="{4C5447CB-8D2B-4571-8386-8F22113784BC}" dt="2021-03-02T12:32:43.098" v="1846"/>
          <pc:sldLayoutMkLst>
            <pc:docMk/>
            <pc:sldMasterMk cId="792883523" sldId="2147483648"/>
            <pc:sldLayoutMk cId="2394391421" sldId="2147483659"/>
          </pc:sldLayoutMkLst>
          <pc:spChg chg="add del mod">
            <ac:chgData name="Adrian Kisliuk" userId="81f189f0-3ed9-4f29-a7b1-770f7af93676" providerId="ADAL" clId="{4C5447CB-8D2B-4571-8386-8F22113784BC}" dt="2021-03-02T12:32:42.775" v="1845" actId="478"/>
            <ac:spMkLst>
              <pc:docMk/>
              <pc:sldMasterMk cId="792883523" sldId="2147483648"/>
              <pc:sldLayoutMk cId="2394391421" sldId="2147483659"/>
              <ac:spMk id="6" creationId="{893DFB5C-6657-400A-8F88-B26DD07EC438}"/>
            </ac:spMkLst>
          </pc:spChg>
          <pc:spChg chg="del mod">
            <ac:chgData name="Adrian Kisliuk" userId="81f189f0-3ed9-4f29-a7b1-770f7af93676" providerId="ADAL" clId="{4C5447CB-8D2B-4571-8386-8F22113784BC}" dt="2021-03-02T12:32:42.775" v="1845" actId="478"/>
            <ac:spMkLst>
              <pc:docMk/>
              <pc:sldMasterMk cId="792883523" sldId="2147483648"/>
              <pc:sldLayoutMk cId="2394391421" sldId="2147483659"/>
              <ac:spMk id="7" creationId="{AEB2910B-904F-443B-98D2-5964AD3BC5B1}"/>
            </ac:spMkLst>
          </pc:spChg>
          <pc:spChg chg="add mod">
            <ac:chgData name="Adrian Kisliuk" userId="81f189f0-3ed9-4f29-a7b1-770f7af93676" providerId="ADAL" clId="{4C5447CB-8D2B-4571-8386-8F22113784BC}" dt="2021-03-02T12:32:43.098" v="1846"/>
            <ac:spMkLst>
              <pc:docMk/>
              <pc:sldMasterMk cId="792883523" sldId="2147483648"/>
              <pc:sldLayoutMk cId="2394391421" sldId="2147483659"/>
              <ac:spMk id="8" creationId="{01F567C3-1452-4A6B-89DA-C9F183D5CC96}"/>
            </ac:spMkLst>
          </pc:spChg>
          <pc:spChg chg="add mod">
            <ac:chgData name="Adrian Kisliuk" userId="81f189f0-3ed9-4f29-a7b1-770f7af93676" providerId="ADAL" clId="{4C5447CB-8D2B-4571-8386-8F22113784BC}" dt="2021-03-02T12:32:43.098" v="1846"/>
            <ac:spMkLst>
              <pc:docMk/>
              <pc:sldMasterMk cId="792883523" sldId="2147483648"/>
              <pc:sldLayoutMk cId="2394391421" sldId="2147483659"/>
              <ac:spMk id="9" creationId="{F92BFA13-E9A0-4EEA-A037-F19F33C4851A}"/>
            </ac:spMkLst>
          </pc:spChg>
          <pc:spChg chg="mod">
            <ac:chgData name="Adrian Kisliuk" userId="81f189f0-3ed9-4f29-a7b1-770f7af93676" providerId="ADAL" clId="{4C5447CB-8D2B-4571-8386-8F22113784BC}" dt="2021-03-02T12:23:59.573" v="1340" actId="2711"/>
            <ac:spMkLst>
              <pc:docMk/>
              <pc:sldMasterMk cId="792883523" sldId="2147483648"/>
              <pc:sldLayoutMk cId="2394391421" sldId="2147483659"/>
              <ac:spMk id="23" creationId="{00000000-0000-0000-0000-000000000000}"/>
            </ac:spMkLst>
          </pc:spChg>
          <pc:spChg chg="mod">
            <ac:chgData name="Adrian Kisliuk" userId="81f189f0-3ed9-4f29-a7b1-770f7af93676" providerId="ADAL" clId="{4C5447CB-8D2B-4571-8386-8F22113784BC}" dt="2021-03-02T12:23:59.573" v="1340" actId="2711"/>
            <ac:spMkLst>
              <pc:docMk/>
              <pc:sldMasterMk cId="792883523" sldId="2147483648"/>
              <pc:sldLayoutMk cId="2394391421" sldId="2147483659"/>
              <ac:spMk id="24" creationId="{00000000-0000-0000-0000-000000000000}"/>
            </ac:spMkLst>
          </pc:spChg>
        </pc:sldLayoutChg>
        <pc:sldLayoutChg chg="addSp delSp modSp mod">
          <pc:chgData name="Adrian Kisliuk" userId="81f189f0-3ed9-4f29-a7b1-770f7af93676" providerId="ADAL" clId="{4C5447CB-8D2B-4571-8386-8F22113784BC}" dt="2021-03-02T12:32:49.118" v="1849"/>
          <pc:sldLayoutMkLst>
            <pc:docMk/>
            <pc:sldMasterMk cId="792883523" sldId="2147483648"/>
            <pc:sldLayoutMk cId="3273949510" sldId="2147483660"/>
          </pc:sldLayoutMkLst>
          <pc:spChg chg="del">
            <ac:chgData name="Adrian Kisliuk" userId="81f189f0-3ed9-4f29-a7b1-770f7af93676" providerId="ADAL" clId="{4C5447CB-8D2B-4571-8386-8F22113784BC}" dt="2021-03-02T12:24:03.844" v="1341" actId="478"/>
            <ac:spMkLst>
              <pc:docMk/>
              <pc:sldMasterMk cId="792883523" sldId="2147483648"/>
              <pc:sldLayoutMk cId="3273949510" sldId="2147483660"/>
              <ac:spMk id="7" creationId="{713BB1EE-F3CA-4136-A7E4-651327D23B27}"/>
            </ac:spMkLst>
          </pc:spChg>
          <pc:spChg chg="add del mod">
            <ac:chgData name="Adrian Kisliuk" userId="81f189f0-3ed9-4f29-a7b1-770f7af93676" providerId="ADAL" clId="{4C5447CB-8D2B-4571-8386-8F22113784BC}" dt="2021-03-02T12:32:47.066" v="1847" actId="478"/>
            <ac:spMkLst>
              <pc:docMk/>
              <pc:sldMasterMk cId="792883523" sldId="2147483648"/>
              <pc:sldLayoutMk cId="3273949510" sldId="2147483660"/>
              <ac:spMk id="8" creationId="{BEC08AF7-65D7-40B1-8DF1-9C54BC04D542}"/>
            </ac:spMkLst>
          </pc:spChg>
          <pc:spChg chg="del mod">
            <ac:chgData name="Adrian Kisliuk" userId="81f189f0-3ed9-4f29-a7b1-770f7af93676" providerId="ADAL" clId="{4C5447CB-8D2B-4571-8386-8F22113784BC}" dt="2021-03-02T12:32:48.700" v="1848" actId="478"/>
            <ac:spMkLst>
              <pc:docMk/>
              <pc:sldMasterMk cId="792883523" sldId="2147483648"/>
              <pc:sldLayoutMk cId="3273949510" sldId="2147483660"/>
              <ac:spMk id="9" creationId="{00000000-0000-0000-0000-000000000000}"/>
            </ac:spMkLst>
          </pc:spChg>
          <pc:spChg chg="add mod">
            <ac:chgData name="Adrian Kisliuk" userId="81f189f0-3ed9-4f29-a7b1-770f7af93676" providerId="ADAL" clId="{4C5447CB-8D2B-4571-8386-8F22113784BC}" dt="2021-03-02T12:32:49.118" v="1849"/>
            <ac:spMkLst>
              <pc:docMk/>
              <pc:sldMasterMk cId="792883523" sldId="2147483648"/>
              <pc:sldLayoutMk cId="3273949510" sldId="2147483660"/>
              <ac:spMk id="10" creationId="{C6F3BD25-1BE6-47C0-BEB5-68C0ED6D3E66}"/>
            </ac:spMkLst>
          </pc:spChg>
          <pc:spChg chg="add mod">
            <ac:chgData name="Adrian Kisliuk" userId="81f189f0-3ed9-4f29-a7b1-770f7af93676" providerId="ADAL" clId="{4C5447CB-8D2B-4571-8386-8F22113784BC}" dt="2021-03-02T12:32:49.118" v="1849"/>
            <ac:spMkLst>
              <pc:docMk/>
              <pc:sldMasterMk cId="792883523" sldId="2147483648"/>
              <pc:sldLayoutMk cId="3273949510" sldId="2147483660"/>
              <ac:spMk id="11" creationId="{A8C3731B-6C9D-4463-A1B6-93A7901A7AC9}"/>
            </ac:spMkLst>
          </pc:spChg>
        </pc:sldLayoutChg>
        <pc:sldLayoutChg chg="addSp delSp modSp mod">
          <pc:chgData name="Adrian Kisliuk" userId="81f189f0-3ed9-4f29-a7b1-770f7af93676" providerId="ADAL" clId="{4C5447CB-8D2B-4571-8386-8F22113784BC}" dt="2021-03-02T12:32:54.566" v="1852"/>
          <pc:sldLayoutMkLst>
            <pc:docMk/>
            <pc:sldMasterMk cId="792883523" sldId="2147483648"/>
            <pc:sldLayoutMk cId="2923560172" sldId="2147483661"/>
          </pc:sldLayoutMkLst>
          <pc:spChg chg="add del mod">
            <ac:chgData name="Adrian Kisliuk" userId="81f189f0-3ed9-4f29-a7b1-770f7af93676" providerId="ADAL" clId="{4C5447CB-8D2B-4571-8386-8F22113784BC}" dt="2021-03-02T12:32:51.883" v="1850" actId="478"/>
            <ac:spMkLst>
              <pc:docMk/>
              <pc:sldMasterMk cId="792883523" sldId="2147483648"/>
              <pc:sldLayoutMk cId="2923560172" sldId="2147483661"/>
              <ac:spMk id="8" creationId="{13DCF376-3E66-4EDA-9206-91C51286B397}"/>
            </ac:spMkLst>
          </pc:spChg>
          <pc:spChg chg="del">
            <ac:chgData name="Adrian Kisliuk" userId="81f189f0-3ed9-4f29-a7b1-770f7af93676" providerId="ADAL" clId="{4C5447CB-8D2B-4571-8386-8F22113784BC}" dt="2021-03-02T12:28:04.179" v="1636" actId="478"/>
            <ac:spMkLst>
              <pc:docMk/>
              <pc:sldMasterMk cId="792883523" sldId="2147483648"/>
              <pc:sldLayoutMk cId="2923560172" sldId="2147483661"/>
              <ac:spMk id="9" creationId="{86EB35D6-60D0-49DE-BD14-F5B0FC029591}"/>
            </ac:spMkLst>
          </pc:spChg>
          <pc:spChg chg="add del mod">
            <ac:chgData name="Adrian Kisliuk" userId="81f189f0-3ed9-4f29-a7b1-770f7af93676" providerId="ADAL" clId="{4C5447CB-8D2B-4571-8386-8F22113784BC}" dt="2021-03-02T12:32:53.522" v="1851" actId="478"/>
            <ac:spMkLst>
              <pc:docMk/>
              <pc:sldMasterMk cId="792883523" sldId="2147483648"/>
              <pc:sldLayoutMk cId="2923560172" sldId="2147483661"/>
              <ac:spMk id="10" creationId="{4309B836-7AF8-42DD-B9CE-203EBF52531F}"/>
            </ac:spMkLst>
          </pc:spChg>
          <pc:spChg chg="add mod">
            <ac:chgData name="Adrian Kisliuk" userId="81f189f0-3ed9-4f29-a7b1-770f7af93676" providerId="ADAL" clId="{4C5447CB-8D2B-4571-8386-8F22113784BC}" dt="2021-03-02T12:32:54.566" v="1852"/>
            <ac:spMkLst>
              <pc:docMk/>
              <pc:sldMasterMk cId="792883523" sldId="2147483648"/>
              <pc:sldLayoutMk cId="2923560172" sldId="2147483661"/>
              <ac:spMk id="11" creationId="{354BF5AE-EE29-4A02-9D9D-5E85A2AA04F9}"/>
            </ac:spMkLst>
          </pc:spChg>
          <pc:spChg chg="del">
            <ac:chgData name="Adrian Kisliuk" userId="81f189f0-3ed9-4f29-a7b1-770f7af93676" providerId="ADAL" clId="{4C5447CB-8D2B-4571-8386-8F22113784BC}" dt="2021-03-02T12:28:04.179" v="1636" actId="478"/>
            <ac:spMkLst>
              <pc:docMk/>
              <pc:sldMasterMk cId="792883523" sldId="2147483648"/>
              <pc:sldLayoutMk cId="2923560172" sldId="2147483661"/>
              <ac:spMk id="12" creationId="{BD13B020-0BB0-420E-B7B5-70F1D753D60C}"/>
            </ac:spMkLst>
          </pc:spChg>
          <pc:spChg chg="add mod">
            <ac:chgData name="Adrian Kisliuk" userId="81f189f0-3ed9-4f29-a7b1-770f7af93676" providerId="ADAL" clId="{4C5447CB-8D2B-4571-8386-8F22113784BC}" dt="2021-03-02T12:32:54.566" v="1852"/>
            <ac:spMkLst>
              <pc:docMk/>
              <pc:sldMasterMk cId="792883523" sldId="2147483648"/>
              <pc:sldLayoutMk cId="2923560172" sldId="2147483661"/>
              <ac:spMk id="13" creationId="{D8627D76-B4DD-4EC4-B6E6-FFD7B088F6D9}"/>
            </ac:spMkLst>
          </pc:spChg>
        </pc:sldLayoutChg>
        <pc:sldLayoutChg chg="addSp delSp modSp mod ord">
          <pc:chgData name="Adrian Kisliuk" userId="81f189f0-3ed9-4f29-a7b1-770f7af93676" providerId="ADAL" clId="{4C5447CB-8D2B-4571-8386-8F22113784BC}" dt="2021-03-02T12:39:53.916" v="2558" actId="478"/>
          <pc:sldLayoutMkLst>
            <pc:docMk/>
            <pc:sldMasterMk cId="792883523" sldId="2147483648"/>
            <pc:sldLayoutMk cId="996660223" sldId="2147483662"/>
          </pc:sldLayoutMkLst>
          <pc:spChg chg="add del mod">
            <ac:chgData name="Adrian Kisliuk" userId="81f189f0-3ed9-4f29-a7b1-770f7af93676" providerId="ADAL" clId="{4C5447CB-8D2B-4571-8386-8F22113784BC}" dt="2021-03-02T12:39:53.916" v="2558" actId="478"/>
            <ac:spMkLst>
              <pc:docMk/>
              <pc:sldMasterMk cId="792883523" sldId="2147483648"/>
              <pc:sldLayoutMk cId="996660223" sldId="2147483662"/>
              <ac:spMk id="2" creationId="{47F9CF9C-B6C4-4495-B497-5D765233D2EB}"/>
            </ac:spMkLst>
          </pc:spChg>
        </pc:sldLayoutChg>
        <pc:sldLayoutChg chg="modSp add del mod">
          <pc:chgData name="Adrian Kisliuk" userId="81f189f0-3ed9-4f29-a7b1-770f7af93676" providerId="ADAL" clId="{4C5447CB-8D2B-4571-8386-8F22113784BC}" dt="2021-03-02T12:49:36.465" v="2628" actId="2696"/>
          <pc:sldLayoutMkLst>
            <pc:docMk/>
            <pc:sldMasterMk cId="792883523" sldId="2147483648"/>
            <pc:sldLayoutMk cId="4157377105" sldId="2147483663"/>
          </pc:sldLayoutMkLst>
          <pc:spChg chg="mod">
            <ac:chgData name="Adrian Kisliuk" userId="81f189f0-3ed9-4f29-a7b1-770f7af93676" providerId="ADAL" clId="{4C5447CB-8D2B-4571-8386-8F22113784BC}" dt="2021-03-02T12:41:02.297" v="2584" actId="20577"/>
            <ac:spMkLst>
              <pc:docMk/>
              <pc:sldMasterMk cId="792883523" sldId="2147483648"/>
              <pc:sldLayoutMk cId="4157377105" sldId="2147483663"/>
              <ac:spMk id="2" creationId="{47F9CF9C-B6C4-4495-B497-5D765233D2EB}"/>
            </ac:spMkLst>
          </pc:spChg>
        </pc:sldLayoutChg>
      </pc:sldMasterChg>
      <pc:sldMasterChg chg="modSldLayout">
        <pc:chgData name="Adrian Kisliuk" userId="81f189f0-3ed9-4f29-a7b1-770f7af93676" providerId="ADAL" clId="{4C5447CB-8D2B-4571-8386-8F22113784BC}" dt="2021-03-02T12:38:52.195" v="2556"/>
        <pc:sldMasterMkLst>
          <pc:docMk/>
          <pc:sldMasterMk cId="3620047844" sldId="2147483663"/>
        </pc:sldMasterMkLst>
        <pc:sldLayoutChg chg="setBg">
          <pc:chgData name="Adrian Kisliuk" userId="81f189f0-3ed9-4f29-a7b1-770f7af93676" providerId="ADAL" clId="{4C5447CB-8D2B-4571-8386-8F22113784BC}" dt="2021-03-02T12:38:52.195" v="2556"/>
          <pc:sldLayoutMkLst>
            <pc:docMk/>
            <pc:sldMasterMk cId="3620047844" sldId="2147483663"/>
            <pc:sldLayoutMk cId="2378700124" sldId="2147483664"/>
          </pc:sldLayoutMkLst>
        </pc:sldLayoutChg>
        <pc:sldLayoutChg chg="setBg">
          <pc:chgData name="Adrian Kisliuk" userId="81f189f0-3ed9-4f29-a7b1-770f7af93676" providerId="ADAL" clId="{4C5447CB-8D2B-4571-8386-8F22113784BC}" dt="2021-03-02T12:38:52.195" v="2556"/>
          <pc:sldLayoutMkLst>
            <pc:docMk/>
            <pc:sldMasterMk cId="3620047844" sldId="2147483663"/>
            <pc:sldLayoutMk cId="466432687" sldId="2147483665"/>
          </pc:sldLayoutMkLst>
        </pc:sldLayoutChg>
        <pc:sldLayoutChg chg="setBg">
          <pc:chgData name="Adrian Kisliuk" userId="81f189f0-3ed9-4f29-a7b1-770f7af93676" providerId="ADAL" clId="{4C5447CB-8D2B-4571-8386-8F22113784BC}" dt="2021-03-02T12:38:52.195" v="2556"/>
          <pc:sldLayoutMkLst>
            <pc:docMk/>
            <pc:sldMasterMk cId="3620047844" sldId="2147483663"/>
            <pc:sldLayoutMk cId="1598626615" sldId="2147483666"/>
          </pc:sldLayoutMkLst>
        </pc:sldLayoutChg>
        <pc:sldLayoutChg chg="setBg">
          <pc:chgData name="Adrian Kisliuk" userId="81f189f0-3ed9-4f29-a7b1-770f7af93676" providerId="ADAL" clId="{4C5447CB-8D2B-4571-8386-8F22113784BC}" dt="2021-03-02T12:38:52.195" v="2556"/>
          <pc:sldLayoutMkLst>
            <pc:docMk/>
            <pc:sldMasterMk cId="3620047844" sldId="2147483663"/>
            <pc:sldLayoutMk cId="1684033956" sldId="2147483667"/>
          </pc:sldLayoutMkLst>
        </pc:sldLayoutChg>
        <pc:sldLayoutChg chg="setBg">
          <pc:chgData name="Adrian Kisliuk" userId="81f189f0-3ed9-4f29-a7b1-770f7af93676" providerId="ADAL" clId="{4C5447CB-8D2B-4571-8386-8F22113784BC}" dt="2021-03-02T12:38:52.195" v="2556"/>
          <pc:sldLayoutMkLst>
            <pc:docMk/>
            <pc:sldMasterMk cId="3620047844" sldId="2147483663"/>
            <pc:sldLayoutMk cId="1922899224" sldId="2147483668"/>
          </pc:sldLayoutMkLst>
        </pc:sldLayoutChg>
        <pc:sldLayoutChg chg="setBg">
          <pc:chgData name="Adrian Kisliuk" userId="81f189f0-3ed9-4f29-a7b1-770f7af93676" providerId="ADAL" clId="{4C5447CB-8D2B-4571-8386-8F22113784BC}" dt="2021-03-02T12:38:52.195" v="2556"/>
          <pc:sldLayoutMkLst>
            <pc:docMk/>
            <pc:sldMasterMk cId="3620047844" sldId="2147483663"/>
            <pc:sldLayoutMk cId="3871355840" sldId="2147483669"/>
          </pc:sldLayoutMkLst>
        </pc:sldLayoutChg>
        <pc:sldLayoutChg chg="setBg">
          <pc:chgData name="Adrian Kisliuk" userId="81f189f0-3ed9-4f29-a7b1-770f7af93676" providerId="ADAL" clId="{4C5447CB-8D2B-4571-8386-8F22113784BC}" dt="2021-03-02T12:38:52.195" v="2556"/>
          <pc:sldLayoutMkLst>
            <pc:docMk/>
            <pc:sldMasterMk cId="3620047844" sldId="2147483663"/>
            <pc:sldLayoutMk cId="3489995526" sldId="2147483671"/>
          </pc:sldLayoutMkLst>
        </pc:sldLayoutChg>
        <pc:sldLayoutChg chg="setBg">
          <pc:chgData name="Adrian Kisliuk" userId="81f189f0-3ed9-4f29-a7b1-770f7af93676" providerId="ADAL" clId="{4C5447CB-8D2B-4571-8386-8F22113784BC}" dt="2021-03-02T12:38:52.195" v="2556"/>
          <pc:sldLayoutMkLst>
            <pc:docMk/>
            <pc:sldMasterMk cId="3620047844" sldId="2147483663"/>
            <pc:sldLayoutMk cId="4252530443" sldId="2147483675"/>
          </pc:sldLayoutMkLst>
        </pc:sldLayoutChg>
      </pc:sldMasterChg>
    </pc:docChg>
  </pc:docChgLst>
  <pc:docChgLst>
    <pc:chgData name="Adrian Kisliuk" userId="81f189f0-3ed9-4f29-a7b1-770f7af93676" providerId="ADAL" clId="{AFF2E4F0-2A49-4B50-BAA6-85D41D86A1A8}"/>
    <pc:docChg chg="undo modSld">
      <pc:chgData name="Adrian Kisliuk" userId="81f189f0-3ed9-4f29-a7b1-770f7af93676" providerId="ADAL" clId="{AFF2E4F0-2A49-4B50-BAA6-85D41D86A1A8}" dt="2021-02-11T19:18:26.854" v="48" actId="20577"/>
      <pc:docMkLst>
        <pc:docMk/>
      </pc:docMkLst>
      <pc:sldChg chg="delSp modSp mod">
        <pc:chgData name="Adrian Kisliuk" userId="81f189f0-3ed9-4f29-a7b1-770f7af93676" providerId="ADAL" clId="{AFF2E4F0-2A49-4B50-BAA6-85D41D86A1A8}" dt="2021-02-11T19:18:26.854" v="48" actId="20577"/>
        <pc:sldMkLst>
          <pc:docMk/>
          <pc:sldMk cId="3936041182" sldId="814"/>
        </pc:sldMkLst>
        <pc:spChg chg="mod topLvl">
          <ac:chgData name="Adrian Kisliuk" userId="81f189f0-3ed9-4f29-a7b1-770f7af93676" providerId="ADAL" clId="{AFF2E4F0-2A49-4B50-BAA6-85D41D86A1A8}" dt="2021-02-11T19:18:26.854" v="48" actId="20577"/>
          <ac:spMkLst>
            <pc:docMk/>
            <pc:sldMk cId="3936041182" sldId="814"/>
            <ac:spMk id="21" creationId="{00000000-0000-0000-0000-000000000000}"/>
          </ac:spMkLst>
        </pc:spChg>
        <pc:spChg chg="mod topLvl">
          <ac:chgData name="Adrian Kisliuk" userId="81f189f0-3ed9-4f29-a7b1-770f7af93676" providerId="ADAL" clId="{AFF2E4F0-2A49-4B50-BAA6-85D41D86A1A8}" dt="2021-02-11T19:16:52.802" v="41" actId="2711"/>
          <ac:spMkLst>
            <pc:docMk/>
            <pc:sldMk cId="3936041182" sldId="814"/>
            <ac:spMk id="22" creationId="{00000000-0000-0000-0000-000000000000}"/>
          </ac:spMkLst>
        </pc:spChg>
        <pc:spChg chg="mod topLvl">
          <ac:chgData name="Adrian Kisliuk" userId="81f189f0-3ed9-4f29-a7b1-770f7af93676" providerId="ADAL" clId="{AFF2E4F0-2A49-4B50-BAA6-85D41D86A1A8}" dt="2021-02-11T19:15:59.141" v="35" actId="14100"/>
          <ac:spMkLst>
            <pc:docMk/>
            <pc:sldMk cId="3936041182" sldId="814"/>
            <ac:spMk id="23" creationId="{00000000-0000-0000-0000-000000000000}"/>
          </ac:spMkLst>
        </pc:spChg>
        <pc:spChg chg="mod topLvl">
          <ac:chgData name="Adrian Kisliuk" userId="81f189f0-3ed9-4f29-a7b1-770f7af93676" providerId="ADAL" clId="{AFF2E4F0-2A49-4B50-BAA6-85D41D86A1A8}" dt="2021-02-11T19:15:57.015" v="34" actId="14100"/>
          <ac:spMkLst>
            <pc:docMk/>
            <pc:sldMk cId="3936041182" sldId="814"/>
            <ac:spMk id="24" creationId="{00000000-0000-0000-0000-000000000000}"/>
          </ac:spMkLst>
        </pc:spChg>
        <pc:grpChg chg="del">
          <ac:chgData name="Adrian Kisliuk" userId="81f189f0-3ed9-4f29-a7b1-770f7af93676" providerId="ADAL" clId="{AFF2E4F0-2A49-4B50-BAA6-85D41D86A1A8}" dt="2021-02-11T19:12:20.121" v="3" actId="165"/>
          <ac:grpSpMkLst>
            <pc:docMk/>
            <pc:sldMk cId="3936041182" sldId="814"/>
            <ac:grpSpMk id="5" creationId="{86952852-6D72-476F-B6E9-36B9E09B5B2A}"/>
          </ac:grpSpMkLst>
        </pc:grpChg>
        <pc:grpChg chg="del">
          <ac:chgData name="Adrian Kisliuk" userId="81f189f0-3ed9-4f29-a7b1-770f7af93676" providerId="ADAL" clId="{AFF2E4F0-2A49-4B50-BAA6-85D41D86A1A8}" dt="2021-02-11T19:12:30.682" v="4" actId="165"/>
          <ac:grpSpMkLst>
            <pc:docMk/>
            <pc:sldMk cId="3936041182" sldId="814"/>
            <ac:grpSpMk id="6" creationId="{EBDE8C97-741C-4621-ACE3-5DE89E6BF1B5}"/>
          </ac:grpSpMkLst>
        </pc:grpChg>
      </pc:sldChg>
    </pc:docChg>
  </pc:docChgLst>
  <pc:docChgLst>
    <pc:chgData name="Wirzius, Noel" userId="S::noel.wirzius@telekom.de::389ab01b-6fbd-4e02-8f1a-1be1e09c95e8" providerId="AD" clId="Web-{6D425CEB-502A-DB85-63B7-BB7764EA222E}"/>
    <pc:docChg chg="modSld">
      <pc:chgData name="Wirzius, Noel" userId="S::noel.wirzius@telekom.de::389ab01b-6fbd-4e02-8f1a-1be1e09c95e8" providerId="AD" clId="Web-{6D425CEB-502A-DB85-63B7-BB7764EA222E}" dt="2021-04-16T10:20:08.341" v="8"/>
      <pc:docMkLst>
        <pc:docMk/>
      </pc:docMkLst>
      <pc:sldChg chg="addSp delSp modSp">
        <pc:chgData name="Wirzius, Noel" userId="S::noel.wirzius@telekom.de::389ab01b-6fbd-4e02-8f1a-1be1e09c95e8" providerId="AD" clId="Web-{6D425CEB-502A-DB85-63B7-BB7764EA222E}" dt="2021-04-16T10:20:08.341" v="8"/>
        <pc:sldMkLst>
          <pc:docMk/>
          <pc:sldMk cId="3195984845" sldId="885"/>
        </pc:sldMkLst>
        <pc:spChg chg="mod">
          <ac:chgData name="Wirzius, Noel" userId="S::noel.wirzius@telekom.de::389ab01b-6fbd-4e02-8f1a-1be1e09c95e8" providerId="AD" clId="Web-{6D425CEB-502A-DB85-63B7-BB7764EA222E}" dt="2021-04-16T10:19:54.280" v="1" actId="1076"/>
          <ac:spMkLst>
            <pc:docMk/>
            <pc:sldMk cId="3195984845" sldId="885"/>
            <ac:spMk id="12" creationId="{13DDFB9B-B73F-4BDD-9450-596059F82F6F}"/>
          </ac:spMkLst>
        </pc:spChg>
        <pc:spChg chg="mod">
          <ac:chgData name="Wirzius, Noel" userId="S::noel.wirzius@telekom.de::389ab01b-6fbd-4e02-8f1a-1be1e09c95e8" providerId="AD" clId="Web-{6D425CEB-502A-DB85-63B7-BB7764EA222E}" dt="2021-04-16T10:19:54.466" v="2" actId="1076"/>
          <ac:spMkLst>
            <pc:docMk/>
            <pc:sldMk cId="3195984845" sldId="885"/>
            <ac:spMk id="19" creationId="{153306F1-2A0E-4D68-BA66-B8AF04BFEC63}"/>
          </ac:spMkLst>
        </pc:spChg>
        <pc:spChg chg="add">
          <ac:chgData name="Wirzius, Noel" userId="S::noel.wirzius@telekom.de::389ab01b-6fbd-4e02-8f1a-1be1e09c95e8" providerId="AD" clId="Web-{6D425CEB-502A-DB85-63B7-BB7764EA222E}" dt="2021-04-16T10:19:55.263" v="4"/>
          <ac:spMkLst>
            <pc:docMk/>
            <pc:sldMk cId="3195984845" sldId="885"/>
            <ac:spMk id="43" creationId="{7C6D2C2C-1AD2-4B2F-99F0-0B64A10AD713}"/>
          </ac:spMkLst>
        </pc:spChg>
        <pc:spChg chg="mod">
          <ac:chgData name="Wirzius, Noel" userId="S::noel.wirzius@telekom.de::389ab01b-6fbd-4e02-8f1a-1be1e09c95e8" providerId="AD" clId="Web-{6D425CEB-502A-DB85-63B7-BB7764EA222E}" dt="2021-04-16T10:18:40.044" v="0" actId="1076"/>
          <ac:spMkLst>
            <pc:docMk/>
            <pc:sldMk cId="3195984845" sldId="885"/>
            <ac:spMk id="47" creationId="{37DFF5F4-D527-4405-AC09-3CCCB46550F7}"/>
          </ac:spMkLst>
        </pc:spChg>
        <pc:spChg chg="mod">
          <ac:chgData name="Wirzius, Noel" userId="S::noel.wirzius@telekom.de::389ab01b-6fbd-4e02-8f1a-1be1e09c95e8" providerId="AD" clId="Web-{6D425CEB-502A-DB85-63B7-BB7764EA222E}" dt="2021-04-16T10:19:54.575" v="3" actId="1076"/>
          <ac:spMkLst>
            <pc:docMk/>
            <pc:sldMk cId="3195984845" sldId="885"/>
            <ac:spMk id="69" creationId="{EF23AA6E-069F-4349-A89F-7238D05307BE}"/>
          </ac:spMkLst>
        </pc:spChg>
        <pc:cxnChg chg="mod">
          <ac:chgData name="Wirzius, Noel" userId="S::noel.wirzius@telekom.de::389ab01b-6fbd-4e02-8f1a-1be1e09c95e8" providerId="AD" clId="Web-{6D425CEB-502A-DB85-63B7-BB7764EA222E}" dt="2021-04-16T10:19:54.466" v="2" actId="1076"/>
          <ac:cxnSpMkLst>
            <pc:docMk/>
            <pc:sldMk cId="3195984845" sldId="885"/>
            <ac:cxnSpMk id="53" creationId="{AD39E464-4ACC-414D-B567-513C379969E3}"/>
          </ac:cxnSpMkLst>
        </pc:cxnChg>
        <pc:cxnChg chg="mod">
          <ac:chgData name="Wirzius, Noel" userId="S::noel.wirzius@telekom.de::389ab01b-6fbd-4e02-8f1a-1be1e09c95e8" providerId="AD" clId="Web-{6D425CEB-502A-DB85-63B7-BB7764EA222E}" dt="2021-04-16T10:19:54.466" v="2" actId="1076"/>
          <ac:cxnSpMkLst>
            <pc:docMk/>
            <pc:sldMk cId="3195984845" sldId="885"/>
            <ac:cxnSpMk id="56" creationId="{08E8E5E4-67B7-4DAF-A6CC-D2743D94A973}"/>
          </ac:cxnSpMkLst>
        </pc:cxnChg>
        <pc:cxnChg chg="mod">
          <ac:chgData name="Wirzius, Noel" userId="S::noel.wirzius@telekom.de::389ab01b-6fbd-4e02-8f1a-1be1e09c95e8" providerId="AD" clId="Web-{6D425CEB-502A-DB85-63B7-BB7764EA222E}" dt="2021-04-16T10:19:54.466" v="2" actId="1076"/>
          <ac:cxnSpMkLst>
            <pc:docMk/>
            <pc:sldMk cId="3195984845" sldId="885"/>
            <ac:cxnSpMk id="75" creationId="{6E239FD2-9337-48F7-865C-32CBD5FCDFFF}"/>
          </ac:cxnSpMkLst>
        </pc:cxnChg>
        <pc:cxnChg chg="del mod">
          <ac:chgData name="Wirzius, Noel" userId="S::noel.wirzius@telekom.de::389ab01b-6fbd-4e02-8f1a-1be1e09c95e8" providerId="AD" clId="Web-{6D425CEB-502A-DB85-63B7-BB7764EA222E}" dt="2021-04-16T10:20:08.341" v="8"/>
          <ac:cxnSpMkLst>
            <pc:docMk/>
            <pc:sldMk cId="3195984845" sldId="885"/>
            <ac:cxnSpMk id="78" creationId="{7F603801-B170-455A-B796-0BE874C79947}"/>
          </ac:cxnSpMkLst>
        </pc:cxnChg>
        <pc:cxnChg chg="mod">
          <ac:chgData name="Wirzius, Noel" userId="S::noel.wirzius@telekom.de::389ab01b-6fbd-4e02-8f1a-1be1e09c95e8" providerId="AD" clId="Web-{6D425CEB-502A-DB85-63B7-BB7764EA222E}" dt="2021-04-16T10:19:54.466" v="2" actId="1076"/>
          <ac:cxnSpMkLst>
            <pc:docMk/>
            <pc:sldMk cId="3195984845" sldId="885"/>
            <ac:cxnSpMk id="93" creationId="{1416EC65-93AC-4B21-8796-1D3552EEE3AA}"/>
          </ac:cxnSpMkLst>
        </pc:cxnChg>
        <pc:cxnChg chg="del mod">
          <ac:chgData name="Wirzius, Noel" userId="S::noel.wirzius@telekom.de::389ab01b-6fbd-4e02-8f1a-1be1e09c95e8" providerId="AD" clId="Web-{6D425CEB-502A-DB85-63B7-BB7764EA222E}" dt="2021-04-16T10:20:01.216" v="7"/>
          <ac:cxnSpMkLst>
            <pc:docMk/>
            <pc:sldMk cId="3195984845" sldId="885"/>
            <ac:cxnSpMk id="111" creationId="{8E995278-8651-4F8F-888E-25CC8EC65F61}"/>
          </ac:cxnSpMkLst>
        </pc:cxnChg>
        <pc:cxnChg chg="mod">
          <ac:chgData name="Wirzius, Noel" userId="S::noel.wirzius@telekom.de::389ab01b-6fbd-4e02-8f1a-1be1e09c95e8" providerId="AD" clId="Web-{6D425CEB-502A-DB85-63B7-BB7764EA222E}" dt="2021-04-16T10:19:54.575" v="3" actId="1076"/>
          <ac:cxnSpMkLst>
            <pc:docMk/>
            <pc:sldMk cId="3195984845" sldId="885"/>
            <ac:cxnSpMk id="114" creationId="{9A803330-86A2-4C09-AD48-555222D89CF3}"/>
          </ac:cxnSpMkLst>
        </pc:cxnChg>
      </pc:sldChg>
    </pc:docChg>
  </pc:docChgLst>
  <pc:docChgLst>
    <pc:chgData name="Damker, Herbert" userId="37ff36be-0e4d-42c3-ac06-7b904f0f6b24" providerId="ADAL" clId="{8133B777-942B-47D4-A46F-8AA8632ADDE1}"/>
    <pc:docChg chg="custSel modSld">
      <pc:chgData name="Damker, Herbert" userId="37ff36be-0e4d-42c3-ac06-7b904f0f6b24" providerId="ADAL" clId="{8133B777-942B-47D4-A46F-8AA8632ADDE1}" dt="2021-05-07T07:19:30.640" v="2" actId="947"/>
      <pc:docMkLst>
        <pc:docMk/>
      </pc:docMkLst>
      <pc:sldChg chg="addSp modSp mod">
        <pc:chgData name="Damker, Herbert" userId="37ff36be-0e4d-42c3-ac06-7b904f0f6b24" providerId="ADAL" clId="{8133B777-942B-47D4-A46F-8AA8632ADDE1}" dt="2021-05-07T07:19:30.640" v="2" actId="947"/>
        <pc:sldMkLst>
          <pc:docMk/>
          <pc:sldMk cId="3888384040" sldId="474"/>
        </pc:sldMkLst>
        <pc:spChg chg="add mod">
          <ac:chgData name="Damker, Herbert" userId="37ff36be-0e4d-42c3-ac06-7b904f0f6b24" providerId="ADAL" clId="{8133B777-942B-47D4-A46F-8AA8632ADDE1}" dt="2021-05-07T07:19:30.640" v="2" actId="947"/>
          <ac:spMkLst>
            <pc:docMk/>
            <pc:sldMk cId="3888384040" sldId="474"/>
            <ac:spMk id="5" creationId="{4C06CB80-EFAF-4AC9-BF91-904C67D7D84D}"/>
          </ac:spMkLst>
        </pc:spChg>
      </pc:sldChg>
    </pc:docChg>
  </pc:docChgLst>
  <pc:docChgLst>
    <pc:chgData name="Rader, Nathan" userId="7244b1dd-4610-4b97-aeb0-d62ce9ae169d" providerId="ADAL" clId="{14C7343A-E72B-0D47-8D98-2EBB2D401EDC}"/>
    <pc:docChg chg="undo custSel addSld modSld">
      <pc:chgData name="Rader, Nathan" userId="7244b1dd-4610-4b97-aeb0-d62ce9ae169d" providerId="ADAL" clId="{14C7343A-E72B-0D47-8D98-2EBB2D401EDC}" dt="2021-05-31T05:11:00.195" v="862" actId="1076"/>
      <pc:docMkLst>
        <pc:docMk/>
      </pc:docMkLst>
      <pc:sldChg chg="modSp mod">
        <pc:chgData name="Rader, Nathan" userId="7244b1dd-4610-4b97-aeb0-d62ce9ae169d" providerId="ADAL" clId="{14C7343A-E72B-0D47-8D98-2EBB2D401EDC}" dt="2021-05-12T05:37:29.656" v="0" actId="790"/>
        <pc:sldMkLst>
          <pc:docMk/>
          <pc:sldMk cId="2399935048" sldId="924"/>
        </pc:sldMkLst>
        <pc:spChg chg="mod">
          <ac:chgData name="Rader, Nathan" userId="7244b1dd-4610-4b97-aeb0-d62ce9ae169d" providerId="ADAL" clId="{14C7343A-E72B-0D47-8D98-2EBB2D401EDC}" dt="2021-05-12T05:37:29.656" v="0" actId="790"/>
          <ac:spMkLst>
            <pc:docMk/>
            <pc:sldMk cId="2399935048" sldId="924"/>
            <ac:spMk id="2" creationId="{A30CB9C5-1D04-4B1D-9E06-9EECBAD81A55}"/>
          </ac:spMkLst>
        </pc:spChg>
      </pc:sldChg>
      <pc:sldChg chg="addSp delSp modSp mod">
        <pc:chgData name="Rader, Nathan" userId="7244b1dd-4610-4b97-aeb0-d62ce9ae169d" providerId="ADAL" clId="{14C7343A-E72B-0D47-8D98-2EBB2D401EDC}" dt="2021-05-31T05:05:41.162" v="846" actId="478"/>
        <pc:sldMkLst>
          <pc:docMk/>
          <pc:sldMk cId="142025012" sldId="928"/>
        </pc:sldMkLst>
        <pc:spChg chg="mod">
          <ac:chgData name="Rader, Nathan" userId="7244b1dd-4610-4b97-aeb0-d62ce9ae169d" providerId="ADAL" clId="{14C7343A-E72B-0D47-8D98-2EBB2D401EDC}" dt="2021-05-26T04:50:13.510" v="460" actId="20577"/>
          <ac:spMkLst>
            <pc:docMk/>
            <pc:sldMk cId="142025012" sldId="928"/>
            <ac:spMk id="2" creationId="{A30CB9C5-1D04-4B1D-9E06-9EECBAD81A55}"/>
          </ac:spMkLst>
        </pc:spChg>
        <pc:spChg chg="add del mod">
          <ac:chgData name="Rader, Nathan" userId="7244b1dd-4610-4b97-aeb0-d62ce9ae169d" providerId="ADAL" clId="{14C7343A-E72B-0D47-8D98-2EBB2D401EDC}" dt="2021-05-31T05:05:41.162" v="846" actId="478"/>
          <ac:spMkLst>
            <pc:docMk/>
            <pc:sldMk cId="142025012" sldId="928"/>
            <ac:spMk id="9" creationId="{10D492AC-7302-7F40-9856-1C3A15C51313}"/>
          </ac:spMkLst>
        </pc:spChg>
        <pc:spChg chg="del">
          <ac:chgData name="Rader, Nathan" userId="7244b1dd-4610-4b97-aeb0-d62ce9ae169d" providerId="ADAL" clId="{14C7343A-E72B-0D47-8D98-2EBB2D401EDC}" dt="2021-05-31T05:05:40.294" v="845" actId="478"/>
          <ac:spMkLst>
            <pc:docMk/>
            <pc:sldMk cId="142025012" sldId="928"/>
            <ac:spMk id="29" creationId="{C5F44FDB-48C3-4DFF-8524-33255793A18E}"/>
          </ac:spMkLst>
        </pc:spChg>
        <pc:spChg chg="mod">
          <ac:chgData name="Rader, Nathan" userId="7244b1dd-4610-4b97-aeb0-d62ce9ae169d" providerId="ADAL" clId="{14C7343A-E72B-0D47-8D98-2EBB2D401EDC}" dt="2021-05-26T04:49:36.479" v="455" actId="1076"/>
          <ac:spMkLst>
            <pc:docMk/>
            <pc:sldMk cId="142025012" sldId="928"/>
            <ac:spMk id="69" creationId="{1F72FDFB-7544-46B8-986C-D7ED0DA95F1D}"/>
          </ac:spMkLst>
        </pc:spChg>
        <pc:spChg chg="mod">
          <ac:chgData name="Rader, Nathan" userId="7244b1dd-4610-4b97-aeb0-d62ce9ae169d" providerId="ADAL" clId="{14C7343A-E72B-0D47-8D98-2EBB2D401EDC}" dt="2021-05-26T04:51:23.024" v="470" actId="20577"/>
          <ac:spMkLst>
            <pc:docMk/>
            <pc:sldMk cId="142025012" sldId="928"/>
            <ac:spMk id="80" creationId="{53C2F809-4460-4609-B8E0-E75972015D50}"/>
          </ac:spMkLst>
        </pc:spChg>
        <pc:spChg chg="mod">
          <ac:chgData name="Rader, Nathan" userId="7244b1dd-4610-4b97-aeb0-d62ce9ae169d" providerId="ADAL" clId="{14C7343A-E72B-0D47-8D98-2EBB2D401EDC}" dt="2021-05-26T04:49:49.223" v="456" actId="1076"/>
          <ac:spMkLst>
            <pc:docMk/>
            <pc:sldMk cId="142025012" sldId="928"/>
            <ac:spMk id="83" creationId="{27888BFA-6B01-4803-8D07-234D2D7D8C32}"/>
          </ac:spMkLst>
        </pc:spChg>
        <pc:spChg chg="mod">
          <ac:chgData name="Rader, Nathan" userId="7244b1dd-4610-4b97-aeb0-d62ce9ae169d" providerId="ADAL" clId="{14C7343A-E72B-0D47-8D98-2EBB2D401EDC}" dt="2021-05-26T04:49:49.223" v="456" actId="1076"/>
          <ac:spMkLst>
            <pc:docMk/>
            <pc:sldMk cId="142025012" sldId="928"/>
            <ac:spMk id="86" creationId="{BE9D4A58-CE32-405F-B210-C37982E3B28E}"/>
          </ac:spMkLst>
        </pc:spChg>
        <pc:spChg chg="del mod">
          <ac:chgData name="Rader, Nathan" userId="7244b1dd-4610-4b97-aeb0-d62ce9ae169d" providerId="ADAL" clId="{14C7343A-E72B-0D47-8D98-2EBB2D401EDC}" dt="2021-05-26T04:49:26.375" v="453" actId="478"/>
          <ac:spMkLst>
            <pc:docMk/>
            <pc:sldMk cId="142025012" sldId="928"/>
            <ac:spMk id="89" creationId="{5C4196D5-D435-4D80-8E13-D51A877059E1}"/>
          </ac:spMkLst>
        </pc:spChg>
        <pc:spChg chg="del mod">
          <ac:chgData name="Rader, Nathan" userId="7244b1dd-4610-4b97-aeb0-d62ce9ae169d" providerId="ADAL" clId="{14C7343A-E72B-0D47-8D98-2EBB2D401EDC}" dt="2021-05-26T04:49:22.771" v="452" actId="478"/>
          <ac:spMkLst>
            <pc:docMk/>
            <pc:sldMk cId="142025012" sldId="928"/>
            <ac:spMk id="93" creationId="{921CA851-6A85-45C1-88E8-D36A4BA1529B}"/>
          </ac:spMkLst>
        </pc:spChg>
        <pc:cxnChg chg="mod">
          <ac:chgData name="Rader, Nathan" userId="7244b1dd-4610-4b97-aeb0-d62ce9ae169d" providerId="ADAL" clId="{14C7343A-E72B-0D47-8D98-2EBB2D401EDC}" dt="2021-05-26T04:49:36.479" v="455" actId="1076"/>
          <ac:cxnSpMkLst>
            <pc:docMk/>
            <pc:sldMk cId="142025012" sldId="928"/>
            <ac:cxnSpMk id="30" creationId="{35B0A19C-EAE0-4EF2-B1F9-ED92C61EB51E}"/>
          </ac:cxnSpMkLst>
        </pc:cxnChg>
        <pc:cxnChg chg="del mod">
          <ac:chgData name="Rader, Nathan" userId="7244b1dd-4610-4b97-aeb0-d62ce9ae169d" providerId="ADAL" clId="{14C7343A-E72B-0D47-8D98-2EBB2D401EDC}" dt="2021-05-26T04:49:28.501" v="454" actId="478"/>
          <ac:cxnSpMkLst>
            <pc:docMk/>
            <pc:sldMk cId="142025012" sldId="928"/>
            <ac:cxnSpMk id="91" creationId="{2FCD3B2A-5D9D-4852-8306-30C1F838A412}"/>
          </ac:cxnSpMkLst>
        </pc:cxnChg>
      </pc:sldChg>
      <pc:sldChg chg="addSp delSp modSp new mod">
        <pc:chgData name="Rader, Nathan" userId="7244b1dd-4610-4b97-aeb0-d62ce9ae169d" providerId="ADAL" clId="{14C7343A-E72B-0D47-8D98-2EBB2D401EDC}" dt="2021-05-31T05:11:00.195" v="862" actId="1076"/>
        <pc:sldMkLst>
          <pc:docMk/>
          <pc:sldMk cId="3502159208" sldId="929"/>
        </pc:sldMkLst>
        <pc:spChg chg="mod">
          <ac:chgData name="Rader, Nathan" userId="7244b1dd-4610-4b97-aeb0-d62ce9ae169d" providerId="ADAL" clId="{14C7343A-E72B-0D47-8D98-2EBB2D401EDC}" dt="2021-05-26T04:19:37.458" v="240" actId="20577"/>
          <ac:spMkLst>
            <pc:docMk/>
            <pc:sldMk cId="3502159208" sldId="929"/>
            <ac:spMk id="2" creationId="{E5210CAF-3B70-D145-B3CB-0493916C700C}"/>
          </ac:spMkLst>
        </pc:spChg>
        <pc:spChg chg="del">
          <ac:chgData name="Rader, Nathan" userId="7244b1dd-4610-4b97-aeb0-d62ce9ae169d" providerId="ADAL" clId="{14C7343A-E72B-0D47-8D98-2EBB2D401EDC}" dt="2021-05-26T04:00:42.831" v="55" actId="478"/>
          <ac:spMkLst>
            <pc:docMk/>
            <pc:sldMk cId="3502159208" sldId="929"/>
            <ac:spMk id="3" creationId="{8C79415E-4B5D-954F-8E3F-FBA52C9939C0}"/>
          </ac:spMkLst>
        </pc:spChg>
        <pc:spChg chg="add mod topLvl">
          <ac:chgData name="Rader, Nathan" userId="7244b1dd-4610-4b97-aeb0-d62ce9ae169d" providerId="ADAL" clId="{14C7343A-E72B-0D47-8D98-2EBB2D401EDC}" dt="2021-05-31T05:06:22.321" v="849" actId="165"/>
          <ac:spMkLst>
            <pc:docMk/>
            <pc:sldMk cId="3502159208" sldId="929"/>
            <ac:spMk id="4" creationId="{B0349F68-A6E9-414D-88B0-1E343F39EB34}"/>
          </ac:spMkLst>
        </pc:spChg>
        <pc:spChg chg="add mod topLvl">
          <ac:chgData name="Rader, Nathan" userId="7244b1dd-4610-4b97-aeb0-d62ce9ae169d" providerId="ADAL" clId="{14C7343A-E72B-0D47-8D98-2EBB2D401EDC}" dt="2021-05-31T05:06:22.321" v="849" actId="165"/>
          <ac:spMkLst>
            <pc:docMk/>
            <pc:sldMk cId="3502159208" sldId="929"/>
            <ac:spMk id="5" creationId="{2EF4E8D3-D2DA-184A-BD48-6257F403B700}"/>
          </ac:spMkLst>
        </pc:spChg>
        <pc:spChg chg="add mod topLvl">
          <ac:chgData name="Rader, Nathan" userId="7244b1dd-4610-4b97-aeb0-d62ce9ae169d" providerId="ADAL" clId="{14C7343A-E72B-0D47-8D98-2EBB2D401EDC}" dt="2021-05-31T05:06:22.321" v="849" actId="165"/>
          <ac:spMkLst>
            <pc:docMk/>
            <pc:sldMk cId="3502159208" sldId="929"/>
            <ac:spMk id="6" creationId="{D7FCF358-3D1B-DC4C-86C5-2B4C39BD9DC5}"/>
          </ac:spMkLst>
        </pc:spChg>
        <pc:spChg chg="add mod topLvl">
          <ac:chgData name="Rader, Nathan" userId="7244b1dd-4610-4b97-aeb0-d62ce9ae169d" providerId="ADAL" clId="{14C7343A-E72B-0D47-8D98-2EBB2D401EDC}" dt="2021-05-31T05:06:22.321" v="849" actId="165"/>
          <ac:spMkLst>
            <pc:docMk/>
            <pc:sldMk cId="3502159208" sldId="929"/>
            <ac:spMk id="7" creationId="{06770DCA-C43F-0B46-A700-DD3B6F492719}"/>
          </ac:spMkLst>
        </pc:spChg>
        <pc:spChg chg="add del mod topLvl">
          <ac:chgData name="Rader, Nathan" userId="7244b1dd-4610-4b97-aeb0-d62ce9ae169d" providerId="ADAL" clId="{14C7343A-E72B-0D47-8D98-2EBB2D401EDC}" dt="2021-05-26T04:02:53.195" v="79" actId="478"/>
          <ac:spMkLst>
            <pc:docMk/>
            <pc:sldMk cId="3502159208" sldId="929"/>
            <ac:spMk id="12" creationId="{68A6604A-EDEB-9E4F-B88F-D83D6554A97E}"/>
          </ac:spMkLst>
        </pc:spChg>
        <pc:spChg chg="add del mod topLvl">
          <ac:chgData name="Rader, Nathan" userId="7244b1dd-4610-4b97-aeb0-d62ce9ae169d" providerId="ADAL" clId="{14C7343A-E72B-0D47-8D98-2EBB2D401EDC}" dt="2021-05-26T04:02:47.426" v="77" actId="478"/>
          <ac:spMkLst>
            <pc:docMk/>
            <pc:sldMk cId="3502159208" sldId="929"/>
            <ac:spMk id="13" creationId="{F5B92DD0-7B76-7D4E-ABCF-8736ADFE8B6D}"/>
          </ac:spMkLst>
        </pc:spChg>
        <pc:spChg chg="add del mod topLvl">
          <ac:chgData name="Rader, Nathan" userId="7244b1dd-4610-4b97-aeb0-d62ce9ae169d" providerId="ADAL" clId="{14C7343A-E72B-0D47-8D98-2EBB2D401EDC}" dt="2021-05-26T04:02:50.405" v="78" actId="478"/>
          <ac:spMkLst>
            <pc:docMk/>
            <pc:sldMk cId="3502159208" sldId="929"/>
            <ac:spMk id="14" creationId="{89D0A22A-8A25-2A46-8668-D0ED62656287}"/>
          </ac:spMkLst>
        </pc:spChg>
        <pc:spChg chg="add mod topLvl">
          <ac:chgData name="Rader, Nathan" userId="7244b1dd-4610-4b97-aeb0-d62ce9ae169d" providerId="ADAL" clId="{14C7343A-E72B-0D47-8D98-2EBB2D401EDC}" dt="2021-05-31T05:06:22.321" v="849" actId="165"/>
          <ac:spMkLst>
            <pc:docMk/>
            <pc:sldMk cId="3502159208" sldId="929"/>
            <ac:spMk id="15" creationId="{3E81C91C-BC79-C54C-93D9-5B70F874892F}"/>
          </ac:spMkLst>
        </pc:spChg>
        <pc:spChg chg="add del mod topLvl">
          <ac:chgData name="Rader, Nathan" userId="7244b1dd-4610-4b97-aeb0-d62ce9ae169d" providerId="ADAL" clId="{14C7343A-E72B-0D47-8D98-2EBB2D401EDC}" dt="2021-05-26T04:02:55.431" v="80" actId="478"/>
          <ac:spMkLst>
            <pc:docMk/>
            <pc:sldMk cId="3502159208" sldId="929"/>
            <ac:spMk id="16" creationId="{AD763D28-9665-3F47-B58E-A9C6F11C9E25}"/>
          </ac:spMkLst>
        </pc:spChg>
        <pc:spChg chg="add mod topLvl">
          <ac:chgData name="Rader, Nathan" userId="7244b1dd-4610-4b97-aeb0-d62ce9ae169d" providerId="ADAL" clId="{14C7343A-E72B-0D47-8D98-2EBB2D401EDC}" dt="2021-05-31T05:06:22.321" v="849" actId="165"/>
          <ac:spMkLst>
            <pc:docMk/>
            <pc:sldMk cId="3502159208" sldId="929"/>
            <ac:spMk id="17" creationId="{16D5585E-E6A3-D645-84A9-3C5FF87098E0}"/>
          </ac:spMkLst>
        </pc:spChg>
        <pc:spChg chg="add mod topLvl">
          <ac:chgData name="Rader, Nathan" userId="7244b1dd-4610-4b97-aeb0-d62ce9ae169d" providerId="ADAL" clId="{14C7343A-E72B-0D47-8D98-2EBB2D401EDC}" dt="2021-05-31T05:06:22.321" v="849" actId="165"/>
          <ac:spMkLst>
            <pc:docMk/>
            <pc:sldMk cId="3502159208" sldId="929"/>
            <ac:spMk id="18" creationId="{C728C403-9521-E644-87DD-3759E3C21F81}"/>
          </ac:spMkLst>
        </pc:spChg>
        <pc:spChg chg="add mod topLvl">
          <ac:chgData name="Rader, Nathan" userId="7244b1dd-4610-4b97-aeb0-d62ce9ae169d" providerId="ADAL" clId="{14C7343A-E72B-0D47-8D98-2EBB2D401EDC}" dt="2021-05-31T05:06:22.321" v="849" actId="165"/>
          <ac:spMkLst>
            <pc:docMk/>
            <pc:sldMk cId="3502159208" sldId="929"/>
            <ac:spMk id="19" creationId="{77C8FF2A-E6B8-184D-BCA3-955ADE958068}"/>
          </ac:spMkLst>
        </pc:spChg>
        <pc:spChg chg="add mod topLvl">
          <ac:chgData name="Rader, Nathan" userId="7244b1dd-4610-4b97-aeb0-d62ce9ae169d" providerId="ADAL" clId="{14C7343A-E72B-0D47-8D98-2EBB2D401EDC}" dt="2021-05-31T05:06:22.321" v="849" actId="165"/>
          <ac:spMkLst>
            <pc:docMk/>
            <pc:sldMk cId="3502159208" sldId="929"/>
            <ac:spMk id="20" creationId="{DC8CD272-DB4B-8544-91F3-B9DB39AA10BD}"/>
          </ac:spMkLst>
        </pc:spChg>
        <pc:spChg chg="add del mod topLvl">
          <ac:chgData name="Rader, Nathan" userId="7244b1dd-4610-4b97-aeb0-d62ce9ae169d" providerId="ADAL" clId="{14C7343A-E72B-0D47-8D98-2EBB2D401EDC}" dt="2021-05-26T04:02:44.829" v="76" actId="478"/>
          <ac:spMkLst>
            <pc:docMk/>
            <pc:sldMk cId="3502159208" sldId="929"/>
            <ac:spMk id="25" creationId="{B8C0B59F-5FB3-FD44-9FFB-4873B05117F3}"/>
          </ac:spMkLst>
        </pc:spChg>
        <pc:spChg chg="add del mod topLvl">
          <ac:chgData name="Rader, Nathan" userId="7244b1dd-4610-4b97-aeb0-d62ce9ae169d" providerId="ADAL" clId="{14C7343A-E72B-0D47-8D98-2EBB2D401EDC}" dt="2021-05-26T04:02:39.165" v="73" actId="478"/>
          <ac:spMkLst>
            <pc:docMk/>
            <pc:sldMk cId="3502159208" sldId="929"/>
            <ac:spMk id="26" creationId="{C2C9ADBB-E52B-5949-AC7C-FE472EDB168A}"/>
          </ac:spMkLst>
        </pc:spChg>
        <pc:spChg chg="add del mod topLvl">
          <ac:chgData name="Rader, Nathan" userId="7244b1dd-4610-4b97-aeb0-d62ce9ae169d" providerId="ADAL" clId="{14C7343A-E72B-0D47-8D98-2EBB2D401EDC}" dt="2021-05-26T04:02:41.136" v="74" actId="478"/>
          <ac:spMkLst>
            <pc:docMk/>
            <pc:sldMk cId="3502159208" sldId="929"/>
            <ac:spMk id="27" creationId="{BB95A370-C05B-6048-AA7C-D80EC9F712E1}"/>
          </ac:spMkLst>
        </pc:spChg>
        <pc:spChg chg="add mod topLvl">
          <ac:chgData name="Rader, Nathan" userId="7244b1dd-4610-4b97-aeb0-d62ce9ae169d" providerId="ADAL" clId="{14C7343A-E72B-0D47-8D98-2EBB2D401EDC}" dt="2021-05-31T05:06:22.321" v="849" actId="165"/>
          <ac:spMkLst>
            <pc:docMk/>
            <pc:sldMk cId="3502159208" sldId="929"/>
            <ac:spMk id="28" creationId="{33FC0D5C-9282-4748-8271-CEE169515216}"/>
          </ac:spMkLst>
        </pc:spChg>
        <pc:spChg chg="add del mod topLvl">
          <ac:chgData name="Rader, Nathan" userId="7244b1dd-4610-4b97-aeb0-d62ce9ae169d" providerId="ADAL" clId="{14C7343A-E72B-0D47-8D98-2EBB2D401EDC}" dt="2021-05-26T04:02:23.712" v="70" actId="478"/>
          <ac:spMkLst>
            <pc:docMk/>
            <pc:sldMk cId="3502159208" sldId="929"/>
            <ac:spMk id="29" creationId="{A47FF525-3069-BD40-AD5E-3B76DC89868D}"/>
          </ac:spMkLst>
        </pc:spChg>
        <pc:spChg chg="add del mod topLvl">
          <ac:chgData name="Rader, Nathan" userId="7244b1dd-4610-4b97-aeb0-d62ce9ae169d" providerId="ADAL" clId="{14C7343A-E72B-0D47-8D98-2EBB2D401EDC}" dt="2021-05-26T04:02:16.237" v="67" actId="478"/>
          <ac:spMkLst>
            <pc:docMk/>
            <pc:sldMk cId="3502159208" sldId="929"/>
            <ac:spMk id="31" creationId="{8405507D-ECDC-B34E-8D2A-D3216698C9DA}"/>
          </ac:spMkLst>
        </pc:spChg>
        <pc:spChg chg="add del mod topLvl">
          <ac:chgData name="Rader, Nathan" userId="7244b1dd-4610-4b97-aeb0-d62ce9ae169d" providerId="ADAL" clId="{14C7343A-E72B-0D47-8D98-2EBB2D401EDC}" dt="2021-05-26T04:02:20.515" v="69" actId="478"/>
          <ac:spMkLst>
            <pc:docMk/>
            <pc:sldMk cId="3502159208" sldId="929"/>
            <ac:spMk id="32" creationId="{A4DF5191-54CD-734A-9B21-ABCE7AA04593}"/>
          </ac:spMkLst>
        </pc:spChg>
        <pc:spChg chg="add del mod topLvl">
          <ac:chgData name="Rader, Nathan" userId="7244b1dd-4610-4b97-aeb0-d62ce9ae169d" providerId="ADAL" clId="{14C7343A-E72B-0D47-8D98-2EBB2D401EDC}" dt="2021-05-26T04:02:33.253" v="72" actId="478"/>
          <ac:spMkLst>
            <pc:docMk/>
            <pc:sldMk cId="3502159208" sldId="929"/>
            <ac:spMk id="33" creationId="{8F815801-99E5-254B-875C-FBFEBE141742}"/>
          </ac:spMkLst>
        </pc:spChg>
        <pc:spChg chg="add del mod topLvl">
          <ac:chgData name="Rader, Nathan" userId="7244b1dd-4610-4b97-aeb0-d62ce9ae169d" providerId="ADAL" clId="{14C7343A-E72B-0D47-8D98-2EBB2D401EDC}" dt="2021-05-26T04:02:30.339" v="71" actId="478"/>
          <ac:spMkLst>
            <pc:docMk/>
            <pc:sldMk cId="3502159208" sldId="929"/>
            <ac:spMk id="35" creationId="{94046DF9-AE4F-D942-9DAE-FD22BAE0DF3E}"/>
          </ac:spMkLst>
        </pc:spChg>
        <pc:spChg chg="mod">
          <ac:chgData name="Rader, Nathan" userId="7244b1dd-4610-4b97-aeb0-d62ce9ae169d" providerId="ADAL" clId="{14C7343A-E72B-0D47-8D98-2EBB2D401EDC}" dt="2021-05-31T05:06:22.321" v="849" actId="165"/>
          <ac:spMkLst>
            <pc:docMk/>
            <pc:sldMk cId="3502159208" sldId="929"/>
            <ac:spMk id="40" creationId="{141604A1-245A-BA41-ABFA-6F94A255E0FD}"/>
          </ac:spMkLst>
        </pc:spChg>
        <pc:spChg chg="mod">
          <ac:chgData name="Rader, Nathan" userId="7244b1dd-4610-4b97-aeb0-d62ce9ae169d" providerId="ADAL" clId="{14C7343A-E72B-0D47-8D98-2EBB2D401EDC}" dt="2021-05-31T05:06:22.321" v="849" actId="165"/>
          <ac:spMkLst>
            <pc:docMk/>
            <pc:sldMk cId="3502159208" sldId="929"/>
            <ac:spMk id="41" creationId="{A60EAE30-00CC-FF43-AAA8-4948CD853C8C}"/>
          </ac:spMkLst>
        </pc:spChg>
        <pc:spChg chg="mod">
          <ac:chgData name="Rader, Nathan" userId="7244b1dd-4610-4b97-aeb0-d62ce9ae169d" providerId="ADAL" clId="{14C7343A-E72B-0D47-8D98-2EBB2D401EDC}" dt="2021-05-31T05:06:22.321" v="849" actId="165"/>
          <ac:spMkLst>
            <pc:docMk/>
            <pc:sldMk cId="3502159208" sldId="929"/>
            <ac:spMk id="42" creationId="{30E3A1AD-93A4-4647-93D8-39260FDB6ED2}"/>
          </ac:spMkLst>
        </pc:spChg>
        <pc:spChg chg="mod">
          <ac:chgData name="Rader, Nathan" userId="7244b1dd-4610-4b97-aeb0-d62ce9ae169d" providerId="ADAL" clId="{14C7343A-E72B-0D47-8D98-2EBB2D401EDC}" dt="2021-05-31T05:06:22.321" v="849" actId="165"/>
          <ac:spMkLst>
            <pc:docMk/>
            <pc:sldMk cId="3502159208" sldId="929"/>
            <ac:spMk id="43" creationId="{4FAEE989-74CC-5A42-8667-F1C4563F9764}"/>
          </ac:spMkLst>
        </pc:spChg>
        <pc:spChg chg="mod">
          <ac:chgData name="Rader, Nathan" userId="7244b1dd-4610-4b97-aeb0-d62ce9ae169d" providerId="ADAL" clId="{14C7343A-E72B-0D47-8D98-2EBB2D401EDC}" dt="2021-05-31T05:06:22.321" v="849" actId="165"/>
          <ac:spMkLst>
            <pc:docMk/>
            <pc:sldMk cId="3502159208" sldId="929"/>
            <ac:spMk id="45" creationId="{8C699F34-E2B4-DB4C-8BC0-FC67DF7C9EF5}"/>
          </ac:spMkLst>
        </pc:spChg>
        <pc:spChg chg="mod">
          <ac:chgData name="Rader, Nathan" userId="7244b1dd-4610-4b97-aeb0-d62ce9ae169d" providerId="ADAL" clId="{14C7343A-E72B-0D47-8D98-2EBB2D401EDC}" dt="2021-05-31T05:06:22.321" v="849" actId="165"/>
          <ac:spMkLst>
            <pc:docMk/>
            <pc:sldMk cId="3502159208" sldId="929"/>
            <ac:spMk id="46" creationId="{47FF983F-86D9-904C-9E9F-E26AF58D7E16}"/>
          </ac:spMkLst>
        </pc:spChg>
        <pc:spChg chg="mod">
          <ac:chgData name="Rader, Nathan" userId="7244b1dd-4610-4b97-aeb0-d62ce9ae169d" providerId="ADAL" clId="{14C7343A-E72B-0D47-8D98-2EBB2D401EDC}" dt="2021-05-31T05:06:22.321" v="849" actId="165"/>
          <ac:spMkLst>
            <pc:docMk/>
            <pc:sldMk cId="3502159208" sldId="929"/>
            <ac:spMk id="47" creationId="{45F435C2-41EC-0346-BFFE-E226B1712184}"/>
          </ac:spMkLst>
        </pc:spChg>
        <pc:spChg chg="mod">
          <ac:chgData name="Rader, Nathan" userId="7244b1dd-4610-4b97-aeb0-d62ce9ae169d" providerId="ADAL" clId="{14C7343A-E72B-0D47-8D98-2EBB2D401EDC}" dt="2021-05-31T05:06:22.321" v="849" actId="165"/>
          <ac:spMkLst>
            <pc:docMk/>
            <pc:sldMk cId="3502159208" sldId="929"/>
            <ac:spMk id="48" creationId="{D002FB07-79CD-AB49-8317-634E1FDF44CE}"/>
          </ac:spMkLst>
        </pc:spChg>
        <pc:spChg chg="mod">
          <ac:chgData name="Rader, Nathan" userId="7244b1dd-4610-4b97-aeb0-d62ce9ae169d" providerId="ADAL" clId="{14C7343A-E72B-0D47-8D98-2EBB2D401EDC}" dt="2021-05-31T05:06:22.321" v="849" actId="165"/>
          <ac:spMkLst>
            <pc:docMk/>
            <pc:sldMk cId="3502159208" sldId="929"/>
            <ac:spMk id="49" creationId="{F20CB61F-FCC8-634C-9407-538FD5B7CBBF}"/>
          </ac:spMkLst>
        </pc:spChg>
        <pc:spChg chg="mod">
          <ac:chgData name="Rader, Nathan" userId="7244b1dd-4610-4b97-aeb0-d62ce9ae169d" providerId="ADAL" clId="{14C7343A-E72B-0D47-8D98-2EBB2D401EDC}" dt="2021-05-31T05:06:22.321" v="849" actId="165"/>
          <ac:spMkLst>
            <pc:docMk/>
            <pc:sldMk cId="3502159208" sldId="929"/>
            <ac:spMk id="51" creationId="{BC07BE65-C1E1-874E-9E5B-DDE733EBFDCE}"/>
          </ac:spMkLst>
        </pc:spChg>
        <pc:spChg chg="mod">
          <ac:chgData name="Rader, Nathan" userId="7244b1dd-4610-4b97-aeb0-d62ce9ae169d" providerId="ADAL" clId="{14C7343A-E72B-0D47-8D98-2EBB2D401EDC}" dt="2021-05-31T05:06:22.321" v="849" actId="165"/>
          <ac:spMkLst>
            <pc:docMk/>
            <pc:sldMk cId="3502159208" sldId="929"/>
            <ac:spMk id="60" creationId="{55328946-0542-9744-A728-67EC063D3D43}"/>
          </ac:spMkLst>
        </pc:spChg>
        <pc:spChg chg="mod">
          <ac:chgData name="Rader, Nathan" userId="7244b1dd-4610-4b97-aeb0-d62ce9ae169d" providerId="ADAL" clId="{14C7343A-E72B-0D47-8D98-2EBB2D401EDC}" dt="2021-05-31T05:06:22.321" v="849" actId="165"/>
          <ac:spMkLst>
            <pc:docMk/>
            <pc:sldMk cId="3502159208" sldId="929"/>
            <ac:spMk id="61" creationId="{A6948B87-800C-E04F-A896-FBC0D39C2897}"/>
          </ac:spMkLst>
        </pc:spChg>
        <pc:spChg chg="mod">
          <ac:chgData name="Rader, Nathan" userId="7244b1dd-4610-4b97-aeb0-d62ce9ae169d" providerId="ADAL" clId="{14C7343A-E72B-0D47-8D98-2EBB2D401EDC}" dt="2021-05-31T05:06:22.321" v="849" actId="165"/>
          <ac:spMkLst>
            <pc:docMk/>
            <pc:sldMk cId="3502159208" sldId="929"/>
            <ac:spMk id="62" creationId="{0D2822D2-1F61-E540-8156-BA4702441C71}"/>
          </ac:spMkLst>
        </pc:spChg>
        <pc:spChg chg="mod">
          <ac:chgData name="Rader, Nathan" userId="7244b1dd-4610-4b97-aeb0-d62ce9ae169d" providerId="ADAL" clId="{14C7343A-E72B-0D47-8D98-2EBB2D401EDC}" dt="2021-05-31T05:06:22.321" v="849" actId="165"/>
          <ac:spMkLst>
            <pc:docMk/>
            <pc:sldMk cId="3502159208" sldId="929"/>
            <ac:spMk id="63" creationId="{1E43E1A9-B1D7-3C44-9D85-E800AB4090A4}"/>
          </ac:spMkLst>
        </pc:spChg>
        <pc:spChg chg="mod">
          <ac:chgData name="Rader, Nathan" userId="7244b1dd-4610-4b97-aeb0-d62ce9ae169d" providerId="ADAL" clId="{14C7343A-E72B-0D47-8D98-2EBB2D401EDC}" dt="2021-05-31T05:06:22.321" v="849" actId="165"/>
          <ac:spMkLst>
            <pc:docMk/>
            <pc:sldMk cId="3502159208" sldId="929"/>
            <ac:spMk id="65" creationId="{55CDF3CA-2CA1-314E-B05D-6DCE186DC818}"/>
          </ac:spMkLst>
        </pc:spChg>
        <pc:spChg chg="mod">
          <ac:chgData name="Rader, Nathan" userId="7244b1dd-4610-4b97-aeb0-d62ce9ae169d" providerId="ADAL" clId="{14C7343A-E72B-0D47-8D98-2EBB2D401EDC}" dt="2021-05-31T05:06:22.321" v="849" actId="165"/>
          <ac:spMkLst>
            <pc:docMk/>
            <pc:sldMk cId="3502159208" sldId="929"/>
            <ac:spMk id="66" creationId="{C60AD1A0-5ECD-9A48-9FE3-7396A4083685}"/>
          </ac:spMkLst>
        </pc:spChg>
        <pc:spChg chg="mod">
          <ac:chgData name="Rader, Nathan" userId="7244b1dd-4610-4b97-aeb0-d62ce9ae169d" providerId="ADAL" clId="{14C7343A-E72B-0D47-8D98-2EBB2D401EDC}" dt="2021-05-31T05:06:22.321" v="849" actId="165"/>
          <ac:spMkLst>
            <pc:docMk/>
            <pc:sldMk cId="3502159208" sldId="929"/>
            <ac:spMk id="67" creationId="{87904346-D184-FC44-B041-6BCA52A29E91}"/>
          </ac:spMkLst>
        </pc:spChg>
        <pc:spChg chg="mod">
          <ac:chgData name="Rader, Nathan" userId="7244b1dd-4610-4b97-aeb0-d62ce9ae169d" providerId="ADAL" clId="{14C7343A-E72B-0D47-8D98-2EBB2D401EDC}" dt="2021-05-31T05:06:22.321" v="849" actId="165"/>
          <ac:spMkLst>
            <pc:docMk/>
            <pc:sldMk cId="3502159208" sldId="929"/>
            <ac:spMk id="68" creationId="{4E2C27AA-FA3A-AC46-A673-8560B157151E}"/>
          </ac:spMkLst>
        </pc:spChg>
        <pc:spChg chg="mod">
          <ac:chgData name="Rader, Nathan" userId="7244b1dd-4610-4b97-aeb0-d62ce9ae169d" providerId="ADAL" clId="{14C7343A-E72B-0D47-8D98-2EBB2D401EDC}" dt="2021-05-31T05:06:22.321" v="849" actId="165"/>
          <ac:spMkLst>
            <pc:docMk/>
            <pc:sldMk cId="3502159208" sldId="929"/>
            <ac:spMk id="69" creationId="{E65B58B2-785D-6645-B7FA-E8D7C8C1AD9A}"/>
          </ac:spMkLst>
        </pc:spChg>
        <pc:spChg chg="mod">
          <ac:chgData name="Rader, Nathan" userId="7244b1dd-4610-4b97-aeb0-d62ce9ae169d" providerId="ADAL" clId="{14C7343A-E72B-0D47-8D98-2EBB2D401EDC}" dt="2021-05-31T05:06:22.321" v="849" actId="165"/>
          <ac:spMkLst>
            <pc:docMk/>
            <pc:sldMk cId="3502159208" sldId="929"/>
            <ac:spMk id="71" creationId="{787EE101-5B9E-3C4C-9677-FFDD989E94EF}"/>
          </ac:spMkLst>
        </pc:spChg>
        <pc:spChg chg="add mod topLvl">
          <ac:chgData name="Rader, Nathan" userId="7244b1dd-4610-4b97-aeb0-d62ce9ae169d" providerId="ADAL" clId="{14C7343A-E72B-0D47-8D98-2EBB2D401EDC}" dt="2021-05-31T05:06:22.321" v="849" actId="165"/>
          <ac:spMkLst>
            <pc:docMk/>
            <pc:sldMk cId="3502159208" sldId="929"/>
            <ac:spMk id="79" creationId="{BB97C451-4A7F-E547-BC46-79E64B4ECF79}"/>
          </ac:spMkLst>
        </pc:spChg>
        <pc:spChg chg="add mod">
          <ac:chgData name="Rader, Nathan" userId="7244b1dd-4610-4b97-aeb0-d62ce9ae169d" providerId="ADAL" clId="{14C7343A-E72B-0D47-8D98-2EBB2D401EDC}" dt="2021-05-31T05:06:22.321" v="849" actId="165"/>
          <ac:spMkLst>
            <pc:docMk/>
            <pc:sldMk cId="3502159208" sldId="929"/>
            <ac:spMk id="82" creationId="{15C51B73-B59D-D243-A220-50341A96F5D6}"/>
          </ac:spMkLst>
        </pc:spChg>
        <pc:spChg chg="add mod">
          <ac:chgData name="Rader, Nathan" userId="7244b1dd-4610-4b97-aeb0-d62ce9ae169d" providerId="ADAL" clId="{14C7343A-E72B-0D47-8D98-2EBB2D401EDC}" dt="2021-05-31T05:06:22.321" v="849" actId="165"/>
          <ac:spMkLst>
            <pc:docMk/>
            <pc:sldMk cId="3502159208" sldId="929"/>
            <ac:spMk id="87" creationId="{F420BA09-432A-C849-A1E7-66280567A6FB}"/>
          </ac:spMkLst>
        </pc:spChg>
        <pc:spChg chg="add mod topLvl">
          <ac:chgData name="Rader, Nathan" userId="7244b1dd-4610-4b97-aeb0-d62ce9ae169d" providerId="ADAL" clId="{14C7343A-E72B-0D47-8D98-2EBB2D401EDC}" dt="2021-05-31T05:06:22.321" v="849" actId="165"/>
          <ac:spMkLst>
            <pc:docMk/>
            <pc:sldMk cId="3502159208" sldId="929"/>
            <ac:spMk id="89" creationId="{8243CA44-2C81-284D-BA1C-4057C76BD448}"/>
          </ac:spMkLst>
        </pc:spChg>
        <pc:spChg chg="del mod topLvl">
          <ac:chgData name="Rader, Nathan" userId="7244b1dd-4610-4b97-aeb0-d62ce9ae169d" providerId="ADAL" clId="{14C7343A-E72B-0D47-8D98-2EBB2D401EDC}" dt="2021-05-31T05:10:30.153" v="860" actId="478"/>
          <ac:spMkLst>
            <pc:docMk/>
            <pc:sldMk cId="3502159208" sldId="929"/>
            <ac:spMk id="93" creationId="{3835FBF0-9045-034A-A519-062203437558}"/>
          </ac:spMkLst>
        </pc:spChg>
        <pc:spChg chg="del mod topLvl">
          <ac:chgData name="Rader, Nathan" userId="7244b1dd-4610-4b97-aeb0-d62ce9ae169d" providerId="ADAL" clId="{14C7343A-E72B-0D47-8D98-2EBB2D401EDC}" dt="2021-05-31T05:10:30.153" v="860" actId="478"/>
          <ac:spMkLst>
            <pc:docMk/>
            <pc:sldMk cId="3502159208" sldId="929"/>
            <ac:spMk id="94" creationId="{DFAD0E2D-E4EB-CB46-A943-C658143E702F}"/>
          </ac:spMkLst>
        </pc:spChg>
        <pc:spChg chg="del mod topLvl">
          <ac:chgData name="Rader, Nathan" userId="7244b1dd-4610-4b97-aeb0-d62ce9ae169d" providerId="ADAL" clId="{14C7343A-E72B-0D47-8D98-2EBB2D401EDC}" dt="2021-05-31T05:10:30.153" v="860" actId="478"/>
          <ac:spMkLst>
            <pc:docMk/>
            <pc:sldMk cId="3502159208" sldId="929"/>
            <ac:spMk id="95" creationId="{85F11BB3-1D34-D246-8F16-2A0C6635D307}"/>
          </ac:spMkLst>
        </pc:spChg>
        <pc:spChg chg="del mod topLvl">
          <ac:chgData name="Rader, Nathan" userId="7244b1dd-4610-4b97-aeb0-d62ce9ae169d" providerId="ADAL" clId="{14C7343A-E72B-0D47-8D98-2EBB2D401EDC}" dt="2021-05-31T05:10:30.153" v="860" actId="478"/>
          <ac:spMkLst>
            <pc:docMk/>
            <pc:sldMk cId="3502159208" sldId="929"/>
            <ac:spMk id="96" creationId="{21E8BDFA-A545-8840-81C6-D0D804D5C1D9}"/>
          </ac:spMkLst>
        </pc:spChg>
        <pc:spChg chg="del mod topLvl">
          <ac:chgData name="Rader, Nathan" userId="7244b1dd-4610-4b97-aeb0-d62ce9ae169d" providerId="ADAL" clId="{14C7343A-E72B-0D47-8D98-2EBB2D401EDC}" dt="2021-05-31T05:10:30.153" v="860" actId="478"/>
          <ac:spMkLst>
            <pc:docMk/>
            <pc:sldMk cId="3502159208" sldId="929"/>
            <ac:spMk id="98" creationId="{9AF050B9-2821-794B-9CA9-9463BE4E78AC}"/>
          </ac:spMkLst>
        </pc:spChg>
        <pc:spChg chg="del mod topLvl">
          <ac:chgData name="Rader, Nathan" userId="7244b1dd-4610-4b97-aeb0-d62ce9ae169d" providerId="ADAL" clId="{14C7343A-E72B-0D47-8D98-2EBB2D401EDC}" dt="2021-05-31T05:10:30.153" v="860" actId="478"/>
          <ac:spMkLst>
            <pc:docMk/>
            <pc:sldMk cId="3502159208" sldId="929"/>
            <ac:spMk id="99" creationId="{DA11CB3F-D1E5-8642-B510-CE8DC8357C05}"/>
          </ac:spMkLst>
        </pc:spChg>
        <pc:spChg chg="del mod topLvl">
          <ac:chgData name="Rader, Nathan" userId="7244b1dd-4610-4b97-aeb0-d62ce9ae169d" providerId="ADAL" clId="{14C7343A-E72B-0D47-8D98-2EBB2D401EDC}" dt="2021-05-31T05:10:30.153" v="860" actId="478"/>
          <ac:spMkLst>
            <pc:docMk/>
            <pc:sldMk cId="3502159208" sldId="929"/>
            <ac:spMk id="100" creationId="{71C27776-9D5D-054D-BA1C-CECD37998E17}"/>
          </ac:spMkLst>
        </pc:spChg>
        <pc:spChg chg="del mod topLvl">
          <ac:chgData name="Rader, Nathan" userId="7244b1dd-4610-4b97-aeb0-d62ce9ae169d" providerId="ADAL" clId="{14C7343A-E72B-0D47-8D98-2EBB2D401EDC}" dt="2021-05-31T05:10:30.153" v="860" actId="478"/>
          <ac:spMkLst>
            <pc:docMk/>
            <pc:sldMk cId="3502159208" sldId="929"/>
            <ac:spMk id="101" creationId="{69039585-FF34-3E42-8FEF-B0D915B1D589}"/>
          </ac:spMkLst>
        </pc:spChg>
        <pc:spChg chg="del mod topLvl">
          <ac:chgData name="Rader, Nathan" userId="7244b1dd-4610-4b97-aeb0-d62ce9ae169d" providerId="ADAL" clId="{14C7343A-E72B-0D47-8D98-2EBB2D401EDC}" dt="2021-05-31T05:10:30.153" v="860" actId="478"/>
          <ac:spMkLst>
            <pc:docMk/>
            <pc:sldMk cId="3502159208" sldId="929"/>
            <ac:spMk id="102" creationId="{4329B042-E56D-DB4B-9C7F-5421E44A9F30}"/>
          </ac:spMkLst>
        </pc:spChg>
        <pc:spChg chg="del mod topLvl">
          <ac:chgData name="Rader, Nathan" userId="7244b1dd-4610-4b97-aeb0-d62ce9ae169d" providerId="ADAL" clId="{14C7343A-E72B-0D47-8D98-2EBB2D401EDC}" dt="2021-05-31T05:10:30.153" v="860" actId="478"/>
          <ac:spMkLst>
            <pc:docMk/>
            <pc:sldMk cId="3502159208" sldId="929"/>
            <ac:spMk id="104" creationId="{1BDEDD92-17F7-CC49-ADC9-9360728840E9}"/>
          </ac:spMkLst>
        </pc:spChg>
        <pc:spChg chg="mod">
          <ac:chgData name="Rader, Nathan" userId="7244b1dd-4610-4b97-aeb0-d62ce9ae169d" providerId="ADAL" clId="{14C7343A-E72B-0D47-8D98-2EBB2D401EDC}" dt="2021-05-31T05:09:46.943" v="858"/>
          <ac:spMkLst>
            <pc:docMk/>
            <pc:sldMk cId="3502159208" sldId="929"/>
            <ac:spMk id="117" creationId="{B7DD8B37-2922-C14D-BEFC-40EBBBC4AC8B}"/>
          </ac:spMkLst>
        </pc:spChg>
        <pc:spChg chg="mod">
          <ac:chgData name="Rader, Nathan" userId="7244b1dd-4610-4b97-aeb0-d62ce9ae169d" providerId="ADAL" clId="{14C7343A-E72B-0D47-8D98-2EBB2D401EDC}" dt="2021-05-31T05:09:46.943" v="858"/>
          <ac:spMkLst>
            <pc:docMk/>
            <pc:sldMk cId="3502159208" sldId="929"/>
            <ac:spMk id="118" creationId="{C000574C-46AB-794F-822C-F9FC8EEF13A1}"/>
          </ac:spMkLst>
        </pc:spChg>
        <pc:spChg chg="mod">
          <ac:chgData name="Rader, Nathan" userId="7244b1dd-4610-4b97-aeb0-d62ce9ae169d" providerId="ADAL" clId="{14C7343A-E72B-0D47-8D98-2EBB2D401EDC}" dt="2021-05-31T05:09:46.943" v="858"/>
          <ac:spMkLst>
            <pc:docMk/>
            <pc:sldMk cId="3502159208" sldId="929"/>
            <ac:spMk id="120" creationId="{493F81F2-3427-C847-B24B-A0D8E5355F60}"/>
          </ac:spMkLst>
        </pc:spChg>
        <pc:spChg chg="mod">
          <ac:chgData name="Rader, Nathan" userId="7244b1dd-4610-4b97-aeb0-d62ce9ae169d" providerId="ADAL" clId="{14C7343A-E72B-0D47-8D98-2EBB2D401EDC}" dt="2021-05-31T05:09:46.943" v="858"/>
          <ac:spMkLst>
            <pc:docMk/>
            <pc:sldMk cId="3502159208" sldId="929"/>
            <ac:spMk id="121" creationId="{6C40E505-6D57-D549-8F03-20A922A06B50}"/>
          </ac:spMkLst>
        </pc:spChg>
        <pc:spChg chg="add del mod topLvl">
          <ac:chgData name="Rader, Nathan" userId="7244b1dd-4610-4b97-aeb0-d62ce9ae169d" providerId="ADAL" clId="{14C7343A-E72B-0D47-8D98-2EBB2D401EDC}" dt="2021-05-31T05:10:30.153" v="860" actId="478"/>
          <ac:spMkLst>
            <pc:docMk/>
            <pc:sldMk cId="3502159208" sldId="929"/>
            <ac:spMk id="124" creationId="{973D2607-E672-B747-ABAD-C1A1EEFA08F1}"/>
          </ac:spMkLst>
        </pc:spChg>
        <pc:spChg chg="mod">
          <ac:chgData name="Rader, Nathan" userId="7244b1dd-4610-4b97-aeb0-d62ce9ae169d" providerId="ADAL" clId="{14C7343A-E72B-0D47-8D98-2EBB2D401EDC}" dt="2021-05-31T05:09:46.943" v="858"/>
          <ac:spMkLst>
            <pc:docMk/>
            <pc:sldMk cId="3502159208" sldId="929"/>
            <ac:spMk id="125" creationId="{B19127B7-F95C-884E-A173-B84F5F782160}"/>
          </ac:spMkLst>
        </pc:spChg>
        <pc:spChg chg="mod">
          <ac:chgData name="Rader, Nathan" userId="7244b1dd-4610-4b97-aeb0-d62ce9ae169d" providerId="ADAL" clId="{14C7343A-E72B-0D47-8D98-2EBB2D401EDC}" dt="2021-05-31T05:09:46.943" v="858"/>
          <ac:spMkLst>
            <pc:docMk/>
            <pc:sldMk cId="3502159208" sldId="929"/>
            <ac:spMk id="127" creationId="{3F51D29F-3872-C74A-AE81-7DC1152F604F}"/>
          </ac:spMkLst>
        </pc:spChg>
        <pc:spChg chg="mod">
          <ac:chgData name="Rader, Nathan" userId="7244b1dd-4610-4b97-aeb0-d62ce9ae169d" providerId="ADAL" clId="{14C7343A-E72B-0D47-8D98-2EBB2D401EDC}" dt="2021-05-31T05:09:46.943" v="858"/>
          <ac:spMkLst>
            <pc:docMk/>
            <pc:sldMk cId="3502159208" sldId="929"/>
            <ac:spMk id="128" creationId="{B47CBEBB-4A4A-8243-B310-F781CACFE9A3}"/>
          </ac:spMkLst>
        </pc:spChg>
        <pc:spChg chg="mod">
          <ac:chgData name="Rader, Nathan" userId="7244b1dd-4610-4b97-aeb0-d62ce9ae169d" providerId="ADAL" clId="{14C7343A-E72B-0D47-8D98-2EBB2D401EDC}" dt="2021-05-31T05:09:46.943" v="858"/>
          <ac:spMkLst>
            <pc:docMk/>
            <pc:sldMk cId="3502159208" sldId="929"/>
            <ac:spMk id="129" creationId="{C9041793-A95C-5740-A027-CDE1166989DB}"/>
          </ac:spMkLst>
        </pc:spChg>
        <pc:spChg chg="add mod">
          <ac:chgData name="Rader, Nathan" userId="7244b1dd-4610-4b97-aeb0-d62ce9ae169d" providerId="ADAL" clId="{14C7343A-E72B-0D47-8D98-2EBB2D401EDC}" dt="2021-05-31T05:06:22.321" v="849" actId="165"/>
          <ac:spMkLst>
            <pc:docMk/>
            <pc:sldMk cId="3502159208" sldId="929"/>
            <ac:spMk id="131" creationId="{0F690CB5-F657-5A40-9840-4AE55C6DEDE2}"/>
          </ac:spMkLst>
        </pc:spChg>
        <pc:spChg chg="add mod topLvl">
          <ac:chgData name="Rader, Nathan" userId="7244b1dd-4610-4b97-aeb0-d62ce9ae169d" providerId="ADAL" clId="{14C7343A-E72B-0D47-8D98-2EBB2D401EDC}" dt="2021-05-31T05:06:22.321" v="849" actId="165"/>
          <ac:spMkLst>
            <pc:docMk/>
            <pc:sldMk cId="3502159208" sldId="929"/>
            <ac:spMk id="133" creationId="{E7CC82BE-5B5B-9D4B-A6EF-A31253F70834}"/>
          </ac:spMkLst>
        </pc:spChg>
        <pc:spChg chg="add mod">
          <ac:chgData name="Rader, Nathan" userId="7244b1dd-4610-4b97-aeb0-d62ce9ae169d" providerId="ADAL" clId="{14C7343A-E72B-0D47-8D98-2EBB2D401EDC}" dt="2021-05-31T05:06:22.321" v="849" actId="165"/>
          <ac:spMkLst>
            <pc:docMk/>
            <pc:sldMk cId="3502159208" sldId="929"/>
            <ac:spMk id="135" creationId="{56A129E0-114D-CC44-9C8B-B8DBC9E6C030}"/>
          </ac:spMkLst>
        </pc:spChg>
        <pc:spChg chg="add mod topLvl">
          <ac:chgData name="Rader, Nathan" userId="7244b1dd-4610-4b97-aeb0-d62ce9ae169d" providerId="ADAL" clId="{14C7343A-E72B-0D47-8D98-2EBB2D401EDC}" dt="2021-05-31T05:06:22.321" v="849" actId="165"/>
          <ac:spMkLst>
            <pc:docMk/>
            <pc:sldMk cId="3502159208" sldId="929"/>
            <ac:spMk id="137" creationId="{4B5ADA30-2052-014D-9D98-F9C8FA935973}"/>
          </ac:spMkLst>
        </pc:spChg>
        <pc:spChg chg="add del">
          <ac:chgData name="Rader, Nathan" userId="7244b1dd-4610-4b97-aeb0-d62ce9ae169d" providerId="ADAL" clId="{14C7343A-E72B-0D47-8D98-2EBB2D401EDC}" dt="2021-05-26T04:23:12.782" v="271" actId="478"/>
          <ac:spMkLst>
            <pc:docMk/>
            <pc:sldMk cId="3502159208" sldId="929"/>
            <ac:spMk id="138" creationId="{8327D9AE-8DE4-4346-93A6-890D88F47DC3}"/>
          </ac:spMkLst>
        </pc:spChg>
        <pc:spChg chg="mod">
          <ac:chgData name="Rader, Nathan" userId="7244b1dd-4610-4b97-aeb0-d62ce9ae169d" providerId="ADAL" clId="{14C7343A-E72B-0D47-8D98-2EBB2D401EDC}" dt="2021-05-31T05:09:46.943" v="858"/>
          <ac:spMkLst>
            <pc:docMk/>
            <pc:sldMk cId="3502159208" sldId="929"/>
            <ac:spMk id="138" creationId="{CC95844B-6803-AB48-A8EE-EDE2E476CE8E}"/>
          </ac:spMkLst>
        </pc:spChg>
        <pc:spChg chg="add del mod">
          <ac:chgData name="Rader, Nathan" userId="7244b1dd-4610-4b97-aeb0-d62ce9ae169d" providerId="ADAL" clId="{14C7343A-E72B-0D47-8D98-2EBB2D401EDC}" dt="2021-05-26T04:26:23.624" v="393"/>
          <ac:spMkLst>
            <pc:docMk/>
            <pc:sldMk cId="3502159208" sldId="929"/>
            <ac:spMk id="139" creationId="{9BA8DDD4-DEB8-F147-A247-2FF76A73B92F}"/>
          </ac:spMkLst>
        </pc:spChg>
        <pc:spChg chg="mod">
          <ac:chgData name="Rader, Nathan" userId="7244b1dd-4610-4b97-aeb0-d62ce9ae169d" providerId="ADAL" clId="{14C7343A-E72B-0D47-8D98-2EBB2D401EDC}" dt="2021-05-31T05:09:46.943" v="858"/>
          <ac:spMkLst>
            <pc:docMk/>
            <pc:sldMk cId="3502159208" sldId="929"/>
            <ac:spMk id="140" creationId="{A488AB50-6370-FF46-A644-F2C466280A29}"/>
          </ac:spMkLst>
        </pc:spChg>
        <pc:spChg chg="add del mod">
          <ac:chgData name="Rader, Nathan" userId="7244b1dd-4610-4b97-aeb0-d62ce9ae169d" providerId="ADAL" clId="{14C7343A-E72B-0D47-8D98-2EBB2D401EDC}" dt="2021-05-26T04:35:27.680" v="422" actId="478"/>
          <ac:spMkLst>
            <pc:docMk/>
            <pc:sldMk cId="3502159208" sldId="929"/>
            <ac:spMk id="142" creationId="{EFE20E9C-1B04-9142-A056-B9D716E5AF21}"/>
          </ac:spMkLst>
        </pc:spChg>
        <pc:spChg chg="add del mod">
          <ac:chgData name="Rader, Nathan" userId="7244b1dd-4610-4b97-aeb0-d62ce9ae169d" providerId="ADAL" clId="{14C7343A-E72B-0D47-8D98-2EBB2D401EDC}" dt="2021-05-26T04:32:49.172" v="412" actId="478"/>
          <ac:spMkLst>
            <pc:docMk/>
            <pc:sldMk cId="3502159208" sldId="929"/>
            <ac:spMk id="143" creationId="{110ADAFE-7261-0E42-B615-119B4534FF31}"/>
          </ac:spMkLst>
        </pc:spChg>
        <pc:spChg chg="add del mod">
          <ac:chgData name="Rader, Nathan" userId="7244b1dd-4610-4b97-aeb0-d62ce9ae169d" providerId="ADAL" clId="{14C7343A-E72B-0D47-8D98-2EBB2D401EDC}" dt="2021-05-26T04:36:37.271" v="428" actId="478"/>
          <ac:spMkLst>
            <pc:docMk/>
            <pc:sldMk cId="3502159208" sldId="929"/>
            <ac:spMk id="144" creationId="{D16A051A-954F-1E4F-A038-F4B6BF408399}"/>
          </ac:spMkLst>
        </pc:spChg>
        <pc:spChg chg="add del mod">
          <ac:chgData name="Rader, Nathan" userId="7244b1dd-4610-4b97-aeb0-d62ce9ae169d" providerId="ADAL" clId="{14C7343A-E72B-0D47-8D98-2EBB2D401EDC}" dt="2021-05-26T04:34:26.725" v="417" actId="478"/>
          <ac:spMkLst>
            <pc:docMk/>
            <pc:sldMk cId="3502159208" sldId="929"/>
            <ac:spMk id="145" creationId="{C683FB80-734A-EA4C-832A-CE6A5B6B76B9}"/>
          </ac:spMkLst>
        </pc:spChg>
        <pc:spChg chg="add del">
          <ac:chgData name="Rader, Nathan" userId="7244b1dd-4610-4b97-aeb0-d62ce9ae169d" providerId="ADAL" clId="{14C7343A-E72B-0D47-8D98-2EBB2D401EDC}" dt="2021-05-26T04:34:42.733" v="419" actId="478"/>
          <ac:spMkLst>
            <pc:docMk/>
            <pc:sldMk cId="3502159208" sldId="929"/>
            <ac:spMk id="146" creationId="{90A7AD69-365F-C04B-BFC5-30D23711FC0A}"/>
          </ac:spMkLst>
        </pc:spChg>
        <pc:spChg chg="add mod">
          <ac:chgData name="Rader, Nathan" userId="7244b1dd-4610-4b97-aeb0-d62ce9ae169d" providerId="ADAL" clId="{14C7343A-E72B-0D47-8D98-2EBB2D401EDC}" dt="2021-05-31T05:06:22.321" v="849" actId="165"/>
          <ac:spMkLst>
            <pc:docMk/>
            <pc:sldMk cId="3502159208" sldId="929"/>
            <ac:spMk id="147" creationId="{6E8A3235-127B-9342-9B45-9DAF0CC1A111}"/>
          </ac:spMkLst>
        </pc:spChg>
        <pc:spChg chg="add del mod">
          <ac:chgData name="Rader, Nathan" userId="7244b1dd-4610-4b97-aeb0-d62ce9ae169d" providerId="ADAL" clId="{14C7343A-E72B-0D47-8D98-2EBB2D401EDC}" dt="2021-05-26T04:36:00.836" v="425" actId="478"/>
          <ac:spMkLst>
            <pc:docMk/>
            <pc:sldMk cId="3502159208" sldId="929"/>
            <ac:spMk id="148" creationId="{F5DB2531-EF13-2942-A9A1-4261A38AF201}"/>
          </ac:spMkLst>
        </pc:spChg>
        <pc:spChg chg="add mod">
          <ac:chgData name="Rader, Nathan" userId="7244b1dd-4610-4b97-aeb0-d62ce9ae169d" providerId="ADAL" clId="{14C7343A-E72B-0D47-8D98-2EBB2D401EDC}" dt="2021-05-31T05:06:22.321" v="849" actId="165"/>
          <ac:spMkLst>
            <pc:docMk/>
            <pc:sldMk cId="3502159208" sldId="929"/>
            <ac:spMk id="149" creationId="{4684F8FE-561C-F14C-B606-B93C7694916C}"/>
          </ac:spMkLst>
        </pc:spChg>
        <pc:spChg chg="mod">
          <ac:chgData name="Rader, Nathan" userId="7244b1dd-4610-4b97-aeb0-d62ce9ae169d" providerId="ADAL" clId="{14C7343A-E72B-0D47-8D98-2EBB2D401EDC}" dt="2021-05-31T05:09:46.943" v="858"/>
          <ac:spMkLst>
            <pc:docMk/>
            <pc:sldMk cId="3502159208" sldId="929"/>
            <ac:spMk id="150" creationId="{05A60458-4EC5-EE4D-B00A-E9F53B123EC2}"/>
          </ac:spMkLst>
        </pc:spChg>
        <pc:spChg chg="add del mod">
          <ac:chgData name="Rader, Nathan" userId="7244b1dd-4610-4b97-aeb0-d62ce9ae169d" providerId="ADAL" clId="{14C7343A-E72B-0D47-8D98-2EBB2D401EDC}" dt="2021-05-26T04:43:22.492" v="436" actId="478"/>
          <ac:spMkLst>
            <pc:docMk/>
            <pc:sldMk cId="3502159208" sldId="929"/>
            <ac:spMk id="150" creationId="{8135D3C8-0FE5-2248-BB11-34695BB1F399}"/>
          </ac:spMkLst>
        </pc:spChg>
        <pc:spChg chg="mod">
          <ac:chgData name="Rader, Nathan" userId="7244b1dd-4610-4b97-aeb0-d62ce9ae169d" providerId="ADAL" clId="{14C7343A-E72B-0D47-8D98-2EBB2D401EDC}" dt="2021-05-31T05:09:46.943" v="858"/>
          <ac:spMkLst>
            <pc:docMk/>
            <pc:sldMk cId="3502159208" sldId="929"/>
            <ac:spMk id="151" creationId="{31D0F127-747A-B64A-BD1A-E8E2305B4446}"/>
          </ac:spMkLst>
        </pc:spChg>
        <pc:spChg chg="add del mod">
          <ac:chgData name="Rader, Nathan" userId="7244b1dd-4610-4b97-aeb0-d62ce9ae169d" providerId="ADAL" clId="{14C7343A-E72B-0D47-8D98-2EBB2D401EDC}" dt="2021-05-26T04:43:39.659" v="438" actId="478"/>
          <ac:spMkLst>
            <pc:docMk/>
            <pc:sldMk cId="3502159208" sldId="929"/>
            <ac:spMk id="151" creationId="{61E8FD16-78B7-194F-9855-C941B5FDB358}"/>
          </ac:spMkLst>
        </pc:spChg>
        <pc:spChg chg="mod">
          <ac:chgData name="Rader, Nathan" userId="7244b1dd-4610-4b97-aeb0-d62ce9ae169d" providerId="ADAL" clId="{14C7343A-E72B-0D47-8D98-2EBB2D401EDC}" dt="2021-05-31T05:09:46.943" v="858"/>
          <ac:spMkLst>
            <pc:docMk/>
            <pc:sldMk cId="3502159208" sldId="929"/>
            <ac:spMk id="152" creationId="{1CB45BAC-CFD2-1D4A-92E9-B9B56E02F082}"/>
          </ac:spMkLst>
        </pc:spChg>
        <pc:spChg chg="mod">
          <ac:chgData name="Rader, Nathan" userId="7244b1dd-4610-4b97-aeb0-d62ce9ae169d" providerId="ADAL" clId="{14C7343A-E72B-0D47-8D98-2EBB2D401EDC}" dt="2021-05-31T05:09:46.943" v="858"/>
          <ac:spMkLst>
            <pc:docMk/>
            <pc:sldMk cId="3502159208" sldId="929"/>
            <ac:spMk id="153" creationId="{19763331-A314-C145-82E1-6D3B13C336E3}"/>
          </ac:spMkLst>
        </pc:spChg>
        <pc:spChg chg="mod">
          <ac:chgData name="Rader, Nathan" userId="7244b1dd-4610-4b97-aeb0-d62ce9ae169d" providerId="ADAL" clId="{14C7343A-E72B-0D47-8D98-2EBB2D401EDC}" dt="2021-05-31T05:09:46.943" v="858"/>
          <ac:spMkLst>
            <pc:docMk/>
            <pc:sldMk cId="3502159208" sldId="929"/>
            <ac:spMk id="155" creationId="{898BC1D1-75A3-614E-8E68-BFF6400ABA69}"/>
          </ac:spMkLst>
        </pc:spChg>
        <pc:spChg chg="mod">
          <ac:chgData name="Rader, Nathan" userId="7244b1dd-4610-4b97-aeb0-d62ce9ae169d" providerId="ADAL" clId="{14C7343A-E72B-0D47-8D98-2EBB2D401EDC}" dt="2021-05-31T05:09:46.943" v="858"/>
          <ac:spMkLst>
            <pc:docMk/>
            <pc:sldMk cId="3502159208" sldId="929"/>
            <ac:spMk id="156" creationId="{4D16250A-8FFE-284D-AC70-5380E59746A6}"/>
          </ac:spMkLst>
        </pc:spChg>
        <pc:spChg chg="mod">
          <ac:chgData name="Rader, Nathan" userId="7244b1dd-4610-4b97-aeb0-d62ce9ae169d" providerId="ADAL" clId="{14C7343A-E72B-0D47-8D98-2EBB2D401EDC}" dt="2021-05-31T05:09:46.943" v="858"/>
          <ac:spMkLst>
            <pc:docMk/>
            <pc:sldMk cId="3502159208" sldId="929"/>
            <ac:spMk id="157" creationId="{11449FFE-7823-5D4C-8FE9-15CEE61CFAF4}"/>
          </ac:spMkLst>
        </pc:spChg>
        <pc:spChg chg="mod">
          <ac:chgData name="Rader, Nathan" userId="7244b1dd-4610-4b97-aeb0-d62ce9ae169d" providerId="ADAL" clId="{14C7343A-E72B-0D47-8D98-2EBB2D401EDC}" dt="2021-05-31T05:09:46.943" v="858"/>
          <ac:spMkLst>
            <pc:docMk/>
            <pc:sldMk cId="3502159208" sldId="929"/>
            <ac:spMk id="158" creationId="{19EAE2AA-CF77-0E43-9443-84C33603310F}"/>
          </ac:spMkLst>
        </pc:spChg>
        <pc:spChg chg="mod">
          <ac:chgData name="Rader, Nathan" userId="7244b1dd-4610-4b97-aeb0-d62ce9ae169d" providerId="ADAL" clId="{14C7343A-E72B-0D47-8D98-2EBB2D401EDC}" dt="2021-05-31T05:09:46.943" v="858"/>
          <ac:spMkLst>
            <pc:docMk/>
            <pc:sldMk cId="3502159208" sldId="929"/>
            <ac:spMk id="159" creationId="{7E4694B6-B851-7340-B492-DCA78012E78C}"/>
          </ac:spMkLst>
        </pc:spChg>
        <pc:spChg chg="add del mod topLvl">
          <ac:chgData name="Rader, Nathan" userId="7244b1dd-4610-4b97-aeb0-d62ce9ae169d" providerId="ADAL" clId="{14C7343A-E72B-0D47-8D98-2EBB2D401EDC}" dt="2021-05-31T05:10:30.153" v="860" actId="478"/>
          <ac:spMkLst>
            <pc:docMk/>
            <pc:sldMk cId="3502159208" sldId="929"/>
            <ac:spMk id="161" creationId="{0D682E14-72EF-FF4A-9764-8715445B75D3}"/>
          </ac:spMkLst>
        </pc:spChg>
        <pc:spChg chg="add mod">
          <ac:chgData name="Rader, Nathan" userId="7244b1dd-4610-4b97-aeb0-d62ce9ae169d" providerId="ADAL" clId="{14C7343A-E72B-0D47-8D98-2EBB2D401EDC}" dt="2021-05-31T05:06:22.321" v="849" actId="165"/>
          <ac:spMkLst>
            <pc:docMk/>
            <pc:sldMk cId="3502159208" sldId="929"/>
            <ac:spMk id="162" creationId="{D0D3882A-6BC4-B94A-B2F1-C4D9F0E64A6C}"/>
          </ac:spMkLst>
        </pc:spChg>
        <pc:spChg chg="mod">
          <ac:chgData name="Rader, Nathan" userId="7244b1dd-4610-4b97-aeb0-d62ce9ae169d" providerId="ADAL" clId="{14C7343A-E72B-0D47-8D98-2EBB2D401EDC}" dt="2021-05-31T05:09:46.943" v="858"/>
          <ac:spMkLst>
            <pc:docMk/>
            <pc:sldMk cId="3502159208" sldId="929"/>
            <ac:spMk id="163" creationId="{481E0451-D62A-6F40-A455-DF4735E8D619}"/>
          </ac:spMkLst>
        </pc:spChg>
        <pc:spChg chg="add del mod">
          <ac:chgData name="Rader, Nathan" userId="7244b1dd-4610-4b97-aeb0-d62ce9ae169d" providerId="ADAL" clId="{14C7343A-E72B-0D47-8D98-2EBB2D401EDC}" dt="2021-05-31T05:05:36.125" v="844" actId="478"/>
          <ac:spMkLst>
            <pc:docMk/>
            <pc:sldMk cId="3502159208" sldId="929"/>
            <ac:spMk id="165" creationId="{A16EC9AA-0E11-5A41-BB28-5DF00C91EAB3}"/>
          </ac:spMkLst>
        </pc:spChg>
        <pc:spChg chg="add mod">
          <ac:chgData name="Rader, Nathan" userId="7244b1dd-4610-4b97-aeb0-d62ce9ae169d" providerId="ADAL" clId="{14C7343A-E72B-0D47-8D98-2EBB2D401EDC}" dt="2021-05-31T05:10:19.971" v="859" actId="1076"/>
          <ac:spMkLst>
            <pc:docMk/>
            <pc:sldMk cId="3502159208" sldId="929"/>
            <ac:spMk id="174" creationId="{BC030928-852E-164B-8E0B-A22F3D641D35}"/>
          </ac:spMkLst>
        </pc:spChg>
        <pc:spChg chg="add mod">
          <ac:chgData name="Rader, Nathan" userId="7244b1dd-4610-4b97-aeb0-d62ce9ae169d" providerId="ADAL" clId="{14C7343A-E72B-0D47-8D98-2EBB2D401EDC}" dt="2021-05-31T05:10:19.971" v="859" actId="1076"/>
          <ac:spMkLst>
            <pc:docMk/>
            <pc:sldMk cId="3502159208" sldId="929"/>
            <ac:spMk id="176" creationId="{E9F290BF-9FD8-C644-960E-D0D44A416F3E}"/>
          </ac:spMkLst>
        </pc:spChg>
        <pc:spChg chg="add mod">
          <ac:chgData name="Rader, Nathan" userId="7244b1dd-4610-4b97-aeb0-d62ce9ae169d" providerId="ADAL" clId="{14C7343A-E72B-0D47-8D98-2EBB2D401EDC}" dt="2021-05-31T05:10:19.971" v="859" actId="1076"/>
          <ac:spMkLst>
            <pc:docMk/>
            <pc:sldMk cId="3502159208" sldId="929"/>
            <ac:spMk id="177" creationId="{93CAA9C0-3764-EF49-A1A5-BC394086478F}"/>
          </ac:spMkLst>
        </pc:spChg>
        <pc:spChg chg="add mod">
          <ac:chgData name="Rader, Nathan" userId="7244b1dd-4610-4b97-aeb0-d62ce9ae169d" providerId="ADAL" clId="{14C7343A-E72B-0D47-8D98-2EBB2D401EDC}" dt="2021-05-31T05:10:19.971" v="859" actId="1076"/>
          <ac:spMkLst>
            <pc:docMk/>
            <pc:sldMk cId="3502159208" sldId="929"/>
            <ac:spMk id="178" creationId="{066B8BDB-52BA-3D45-B824-7E063FB4D50D}"/>
          </ac:spMkLst>
        </pc:spChg>
        <pc:spChg chg="mod">
          <ac:chgData name="Rader, Nathan" userId="7244b1dd-4610-4b97-aeb0-d62ce9ae169d" providerId="ADAL" clId="{14C7343A-E72B-0D47-8D98-2EBB2D401EDC}" dt="2021-05-31T05:10:50.874" v="861"/>
          <ac:spMkLst>
            <pc:docMk/>
            <pc:sldMk cId="3502159208" sldId="929"/>
            <ac:spMk id="180" creationId="{BAA32958-6462-BD4E-91C7-8580BC85DDA8}"/>
          </ac:spMkLst>
        </pc:spChg>
        <pc:spChg chg="mod">
          <ac:chgData name="Rader, Nathan" userId="7244b1dd-4610-4b97-aeb0-d62ce9ae169d" providerId="ADAL" clId="{14C7343A-E72B-0D47-8D98-2EBB2D401EDC}" dt="2021-05-31T05:10:50.874" v="861"/>
          <ac:spMkLst>
            <pc:docMk/>
            <pc:sldMk cId="3502159208" sldId="929"/>
            <ac:spMk id="181" creationId="{24F1DD5C-1E2B-C844-87EB-AABBE1B45125}"/>
          </ac:spMkLst>
        </pc:spChg>
        <pc:spChg chg="mod">
          <ac:chgData name="Rader, Nathan" userId="7244b1dd-4610-4b97-aeb0-d62ce9ae169d" providerId="ADAL" clId="{14C7343A-E72B-0D47-8D98-2EBB2D401EDC}" dt="2021-05-31T05:10:50.874" v="861"/>
          <ac:spMkLst>
            <pc:docMk/>
            <pc:sldMk cId="3502159208" sldId="929"/>
            <ac:spMk id="182" creationId="{3E263CFF-3371-864D-B065-F64D6F56C05F}"/>
          </ac:spMkLst>
        </pc:spChg>
        <pc:spChg chg="mod">
          <ac:chgData name="Rader, Nathan" userId="7244b1dd-4610-4b97-aeb0-d62ce9ae169d" providerId="ADAL" clId="{14C7343A-E72B-0D47-8D98-2EBB2D401EDC}" dt="2021-05-31T05:10:50.874" v="861"/>
          <ac:spMkLst>
            <pc:docMk/>
            <pc:sldMk cId="3502159208" sldId="929"/>
            <ac:spMk id="183" creationId="{67CB1678-500A-9C42-BB4A-9A44D040D48B}"/>
          </ac:spMkLst>
        </pc:spChg>
        <pc:spChg chg="mod">
          <ac:chgData name="Rader, Nathan" userId="7244b1dd-4610-4b97-aeb0-d62ce9ae169d" providerId="ADAL" clId="{14C7343A-E72B-0D47-8D98-2EBB2D401EDC}" dt="2021-05-31T05:10:50.874" v="861"/>
          <ac:spMkLst>
            <pc:docMk/>
            <pc:sldMk cId="3502159208" sldId="929"/>
            <ac:spMk id="185" creationId="{C4B87614-66C2-354A-8448-BC47220BCE9B}"/>
          </ac:spMkLst>
        </pc:spChg>
        <pc:spChg chg="mod">
          <ac:chgData name="Rader, Nathan" userId="7244b1dd-4610-4b97-aeb0-d62ce9ae169d" providerId="ADAL" clId="{14C7343A-E72B-0D47-8D98-2EBB2D401EDC}" dt="2021-05-31T05:10:50.874" v="861"/>
          <ac:spMkLst>
            <pc:docMk/>
            <pc:sldMk cId="3502159208" sldId="929"/>
            <ac:spMk id="186" creationId="{8A227E4D-9C24-7F4E-9D9D-A5DB91643733}"/>
          </ac:spMkLst>
        </pc:spChg>
        <pc:spChg chg="mod">
          <ac:chgData name="Rader, Nathan" userId="7244b1dd-4610-4b97-aeb0-d62ce9ae169d" providerId="ADAL" clId="{14C7343A-E72B-0D47-8D98-2EBB2D401EDC}" dt="2021-05-31T05:10:50.874" v="861"/>
          <ac:spMkLst>
            <pc:docMk/>
            <pc:sldMk cId="3502159208" sldId="929"/>
            <ac:spMk id="187" creationId="{4B92F909-5D1A-A841-8F84-A0239D03CFE7}"/>
          </ac:spMkLst>
        </pc:spChg>
        <pc:spChg chg="mod">
          <ac:chgData name="Rader, Nathan" userId="7244b1dd-4610-4b97-aeb0-d62ce9ae169d" providerId="ADAL" clId="{14C7343A-E72B-0D47-8D98-2EBB2D401EDC}" dt="2021-05-31T05:10:50.874" v="861"/>
          <ac:spMkLst>
            <pc:docMk/>
            <pc:sldMk cId="3502159208" sldId="929"/>
            <ac:spMk id="188" creationId="{BF3BBB76-F1F3-CA46-B664-58BFCB6CB7BB}"/>
          </ac:spMkLst>
        </pc:spChg>
        <pc:spChg chg="mod">
          <ac:chgData name="Rader, Nathan" userId="7244b1dd-4610-4b97-aeb0-d62ce9ae169d" providerId="ADAL" clId="{14C7343A-E72B-0D47-8D98-2EBB2D401EDC}" dt="2021-05-31T05:10:50.874" v="861"/>
          <ac:spMkLst>
            <pc:docMk/>
            <pc:sldMk cId="3502159208" sldId="929"/>
            <ac:spMk id="189" creationId="{B632FDB3-DFB7-C641-82E6-D1BBF1CC8E27}"/>
          </ac:spMkLst>
        </pc:spChg>
        <pc:spChg chg="mod">
          <ac:chgData name="Rader, Nathan" userId="7244b1dd-4610-4b97-aeb0-d62ce9ae169d" providerId="ADAL" clId="{14C7343A-E72B-0D47-8D98-2EBB2D401EDC}" dt="2021-05-31T05:10:50.874" v="861"/>
          <ac:spMkLst>
            <pc:docMk/>
            <pc:sldMk cId="3502159208" sldId="929"/>
            <ac:spMk id="191" creationId="{879E3016-0DEC-344B-B680-00945F56D560}"/>
          </ac:spMkLst>
        </pc:spChg>
        <pc:spChg chg="add mod">
          <ac:chgData name="Rader, Nathan" userId="7244b1dd-4610-4b97-aeb0-d62ce9ae169d" providerId="ADAL" clId="{14C7343A-E72B-0D47-8D98-2EBB2D401EDC}" dt="2021-05-31T05:11:00.195" v="862" actId="1076"/>
          <ac:spMkLst>
            <pc:docMk/>
            <pc:sldMk cId="3502159208" sldId="929"/>
            <ac:spMk id="198" creationId="{15436852-2655-A84A-9013-409181FD3C34}"/>
          </ac:spMkLst>
        </pc:spChg>
        <pc:spChg chg="add mod">
          <ac:chgData name="Rader, Nathan" userId="7244b1dd-4610-4b97-aeb0-d62ce9ae169d" providerId="ADAL" clId="{14C7343A-E72B-0D47-8D98-2EBB2D401EDC}" dt="2021-05-31T05:11:00.195" v="862" actId="1076"/>
          <ac:spMkLst>
            <pc:docMk/>
            <pc:sldMk cId="3502159208" sldId="929"/>
            <ac:spMk id="200" creationId="{EA2EFCE2-FB63-3E4A-B713-5F2304964DDC}"/>
          </ac:spMkLst>
        </pc:spChg>
        <pc:spChg chg="mod">
          <ac:chgData name="Rader, Nathan" userId="7244b1dd-4610-4b97-aeb0-d62ce9ae169d" providerId="ADAL" clId="{14C7343A-E72B-0D47-8D98-2EBB2D401EDC}" dt="2021-05-31T05:10:50.874" v="861"/>
          <ac:spMkLst>
            <pc:docMk/>
            <pc:sldMk cId="3502159208" sldId="929"/>
            <ac:spMk id="204" creationId="{451D17CD-9283-EE49-9D40-B0FD9EFE9446}"/>
          </ac:spMkLst>
        </pc:spChg>
        <pc:spChg chg="mod">
          <ac:chgData name="Rader, Nathan" userId="7244b1dd-4610-4b97-aeb0-d62ce9ae169d" providerId="ADAL" clId="{14C7343A-E72B-0D47-8D98-2EBB2D401EDC}" dt="2021-05-31T05:10:50.874" v="861"/>
          <ac:spMkLst>
            <pc:docMk/>
            <pc:sldMk cId="3502159208" sldId="929"/>
            <ac:spMk id="205" creationId="{DFE84FD9-974B-3D49-BE6E-8A04DDB117F5}"/>
          </ac:spMkLst>
        </pc:spChg>
        <pc:spChg chg="mod">
          <ac:chgData name="Rader, Nathan" userId="7244b1dd-4610-4b97-aeb0-d62ce9ae169d" providerId="ADAL" clId="{14C7343A-E72B-0D47-8D98-2EBB2D401EDC}" dt="2021-05-31T05:10:50.874" v="861"/>
          <ac:spMkLst>
            <pc:docMk/>
            <pc:sldMk cId="3502159208" sldId="929"/>
            <ac:spMk id="206" creationId="{05C08403-389B-6D42-B8CD-7E8C19E5E8D2}"/>
          </ac:spMkLst>
        </pc:spChg>
        <pc:spChg chg="mod">
          <ac:chgData name="Rader, Nathan" userId="7244b1dd-4610-4b97-aeb0-d62ce9ae169d" providerId="ADAL" clId="{14C7343A-E72B-0D47-8D98-2EBB2D401EDC}" dt="2021-05-31T05:10:50.874" v="861"/>
          <ac:spMkLst>
            <pc:docMk/>
            <pc:sldMk cId="3502159208" sldId="929"/>
            <ac:spMk id="207" creationId="{60359D61-16C9-364B-A17A-785728145FA1}"/>
          </ac:spMkLst>
        </pc:spChg>
        <pc:spChg chg="mod">
          <ac:chgData name="Rader, Nathan" userId="7244b1dd-4610-4b97-aeb0-d62ce9ae169d" providerId="ADAL" clId="{14C7343A-E72B-0D47-8D98-2EBB2D401EDC}" dt="2021-05-31T05:10:50.874" v="861"/>
          <ac:spMkLst>
            <pc:docMk/>
            <pc:sldMk cId="3502159208" sldId="929"/>
            <ac:spMk id="209" creationId="{3D7030E3-2E15-6B43-B4A2-B99384463CFC}"/>
          </ac:spMkLst>
        </pc:spChg>
        <pc:spChg chg="mod">
          <ac:chgData name="Rader, Nathan" userId="7244b1dd-4610-4b97-aeb0-d62ce9ae169d" providerId="ADAL" clId="{14C7343A-E72B-0D47-8D98-2EBB2D401EDC}" dt="2021-05-31T05:10:50.874" v="861"/>
          <ac:spMkLst>
            <pc:docMk/>
            <pc:sldMk cId="3502159208" sldId="929"/>
            <ac:spMk id="210" creationId="{BC86F02E-BA41-0743-9318-27BC33C6F580}"/>
          </ac:spMkLst>
        </pc:spChg>
        <pc:spChg chg="mod">
          <ac:chgData name="Rader, Nathan" userId="7244b1dd-4610-4b97-aeb0-d62ce9ae169d" providerId="ADAL" clId="{14C7343A-E72B-0D47-8D98-2EBB2D401EDC}" dt="2021-05-31T05:10:50.874" v="861"/>
          <ac:spMkLst>
            <pc:docMk/>
            <pc:sldMk cId="3502159208" sldId="929"/>
            <ac:spMk id="211" creationId="{04DE7F00-BDD4-DD48-B480-9747206A6F76}"/>
          </ac:spMkLst>
        </pc:spChg>
        <pc:spChg chg="mod">
          <ac:chgData name="Rader, Nathan" userId="7244b1dd-4610-4b97-aeb0-d62ce9ae169d" providerId="ADAL" clId="{14C7343A-E72B-0D47-8D98-2EBB2D401EDC}" dt="2021-05-31T05:10:50.874" v="861"/>
          <ac:spMkLst>
            <pc:docMk/>
            <pc:sldMk cId="3502159208" sldId="929"/>
            <ac:spMk id="212" creationId="{9ED44D4C-2CB9-E443-904E-5F6A9858247D}"/>
          </ac:spMkLst>
        </pc:spChg>
        <pc:spChg chg="mod">
          <ac:chgData name="Rader, Nathan" userId="7244b1dd-4610-4b97-aeb0-d62ce9ae169d" providerId="ADAL" clId="{14C7343A-E72B-0D47-8D98-2EBB2D401EDC}" dt="2021-05-31T05:10:50.874" v="861"/>
          <ac:spMkLst>
            <pc:docMk/>
            <pc:sldMk cId="3502159208" sldId="929"/>
            <ac:spMk id="213" creationId="{48EAD105-0D08-B145-AB49-DD5F92FA3FDA}"/>
          </ac:spMkLst>
        </pc:spChg>
        <pc:spChg chg="mod">
          <ac:chgData name="Rader, Nathan" userId="7244b1dd-4610-4b97-aeb0-d62ce9ae169d" providerId="ADAL" clId="{14C7343A-E72B-0D47-8D98-2EBB2D401EDC}" dt="2021-05-31T05:10:50.874" v="861"/>
          <ac:spMkLst>
            <pc:docMk/>
            <pc:sldMk cId="3502159208" sldId="929"/>
            <ac:spMk id="215" creationId="{FE32FDE1-C7A6-A643-ABA1-519F5B4234AD}"/>
          </ac:spMkLst>
        </pc:spChg>
        <pc:spChg chg="add mod">
          <ac:chgData name="Rader, Nathan" userId="7244b1dd-4610-4b97-aeb0-d62ce9ae169d" providerId="ADAL" clId="{14C7343A-E72B-0D47-8D98-2EBB2D401EDC}" dt="2021-05-31T05:11:00.195" v="862" actId="1076"/>
          <ac:spMkLst>
            <pc:docMk/>
            <pc:sldMk cId="3502159208" sldId="929"/>
            <ac:spMk id="223" creationId="{26280D19-A763-AB46-8C85-8A93FFA17002}"/>
          </ac:spMkLst>
        </pc:spChg>
        <pc:spChg chg="add mod">
          <ac:chgData name="Rader, Nathan" userId="7244b1dd-4610-4b97-aeb0-d62ce9ae169d" providerId="ADAL" clId="{14C7343A-E72B-0D47-8D98-2EBB2D401EDC}" dt="2021-05-31T05:11:00.195" v="862" actId="1076"/>
          <ac:spMkLst>
            <pc:docMk/>
            <pc:sldMk cId="3502159208" sldId="929"/>
            <ac:spMk id="225" creationId="{434EEA14-09AB-7B4C-8BB8-CF4C076E4E39}"/>
          </ac:spMkLst>
        </pc:spChg>
        <pc:spChg chg="add mod">
          <ac:chgData name="Rader, Nathan" userId="7244b1dd-4610-4b97-aeb0-d62ce9ae169d" providerId="ADAL" clId="{14C7343A-E72B-0D47-8D98-2EBB2D401EDC}" dt="2021-05-31T05:11:00.195" v="862" actId="1076"/>
          <ac:spMkLst>
            <pc:docMk/>
            <pc:sldMk cId="3502159208" sldId="929"/>
            <ac:spMk id="226" creationId="{CA84D4B1-BF4B-824A-9CE9-C04CC2645D04}"/>
          </ac:spMkLst>
        </pc:spChg>
        <pc:grpChg chg="add mod topLvl">
          <ac:chgData name="Rader, Nathan" userId="7244b1dd-4610-4b97-aeb0-d62ce9ae169d" providerId="ADAL" clId="{14C7343A-E72B-0D47-8D98-2EBB2D401EDC}" dt="2021-05-31T05:06:22.321" v="849" actId="165"/>
          <ac:grpSpMkLst>
            <pc:docMk/>
            <pc:sldMk cId="3502159208" sldId="929"/>
            <ac:grpSpMk id="8" creationId="{2D24878D-7956-4545-B5A6-77AA7AB8265C}"/>
          </ac:grpSpMkLst>
        </pc:grpChg>
        <pc:grpChg chg="mod topLvl">
          <ac:chgData name="Rader, Nathan" userId="7244b1dd-4610-4b97-aeb0-d62ce9ae169d" providerId="ADAL" clId="{14C7343A-E72B-0D47-8D98-2EBB2D401EDC}" dt="2021-05-31T05:06:22.321" v="849" actId="165"/>
          <ac:grpSpMkLst>
            <pc:docMk/>
            <pc:sldMk cId="3502159208" sldId="929"/>
            <ac:grpSpMk id="13" creationId="{1ED7CB5D-C5B9-4E2F-8628-DE64B6DDEF2E}"/>
          </ac:grpSpMkLst>
        </pc:grpChg>
        <pc:grpChg chg="mod topLvl">
          <ac:chgData name="Rader, Nathan" userId="7244b1dd-4610-4b97-aeb0-d62ce9ae169d" providerId="ADAL" clId="{14C7343A-E72B-0D47-8D98-2EBB2D401EDC}" dt="2021-05-31T05:06:22.321" v="849" actId="165"/>
          <ac:grpSpMkLst>
            <pc:docMk/>
            <pc:sldMk cId="3502159208" sldId="929"/>
            <ac:grpSpMk id="14" creationId="{29B119CE-DA92-4AAF-B705-F69253FEC710}"/>
          </ac:grpSpMkLst>
        </pc:grpChg>
        <pc:grpChg chg="mod topLvl">
          <ac:chgData name="Rader, Nathan" userId="7244b1dd-4610-4b97-aeb0-d62ce9ae169d" providerId="ADAL" clId="{14C7343A-E72B-0D47-8D98-2EBB2D401EDC}" dt="2021-05-31T05:06:22.321" v="849" actId="165"/>
          <ac:grpSpMkLst>
            <pc:docMk/>
            <pc:sldMk cId="3502159208" sldId="929"/>
            <ac:grpSpMk id="16" creationId="{A6FF4E63-0A7A-4B56-BF9D-0337406AD1F9}"/>
          </ac:grpSpMkLst>
        </pc:grpChg>
        <pc:grpChg chg="add mod topLvl">
          <ac:chgData name="Rader, Nathan" userId="7244b1dd-4610-4b97-aeb0-d62ce9ae169d" providerId="ADAL" clId="{14C7343A-E72B-0D47-8D98-2EBB2D401EDC}" dt="2021-05-31T05:06:22.321" v="849" actId="165"/>
          <ac:grpSpMkLst>
            <pc:docMk/>
            <pc:sldMk cId="3502159208" sldId="929"/>
            <ac:grpSpMk id="21" creationId="{E69E4907-FE76-5942-B9A2-8EBEF3C7B317}"/>
          </ac:grpSpMkLst>
        </pc:grpChg>
        <pc:grpChg chg="mod topLvl">
          <ac:chgData name="Rader, Nathan" userId="7244b1dd-4610-4b97-aeb0-d62ce9ae169d" providerId="ADAL" clId="{14C7343A-E72B-0D47-8D98-2EBB2D401EDC}" dt="2021-05-31T05:06:22.321" v="849" actId="165"/>
          <ac:grpSpMkLst>
            <pc:docMk/>
            <pc:sldMk cId="3502159208" sldId="929"/>
            <ac:grpSpMk id="25" creationId="{30E58CF9-114A-4043-BBCF-B7DCB0B170AF}"/>
          </ac:grpSpMkLst>
        </pc:grpChg>
        <pc:grpChg chg="del mod topLvl">
          <ac:chgData name="Rader, Nathan" userId="7244b1dd-4610-4b97-aeb0-d62ce9ae169d" providerId="ADAL" clId="{14C7343A-E72B-0D47-8D98-2EBB2D401EDC}" dt="2021-05-31T05:09:45.499" v="857" actId="478"/>
          <ac:grpSpMkLst>
            <pc:docMk/>
            <pc:sldMk cId="3502159208" sldId="929"/>
            <ac:grpSpMk id="26" creationId="{8912C36C-FE3F-4B9D-9090-79509469F0B9}"/>
          </ac:grpSpMkLst>
        </pc:grpChg>
        <pc:grpChg chg="del mod topLvl">
          <ac:chgData name="Rader, Nathan" userId="7244b1dd-4610-4b97-aeb0-d62ce9ae169d" providerId="ADAL" clId="{14C7343A-E72B-0D47-8D98-2EBB2D401EDC}" dt="2021-05-31T05:09:42.588" v="856" actId="478"/>
          <ac:grpSpMkLst>
            <pc:docMk/>
            <pc:sldMk cId="3502159208" sldId="929"/>
            <ac:grpSpMk id="27" creationId="{CC25C4C6-3217-4760-AFD7-B24C995A999F}"/>
          </ac:grpSpMkLst>
        </pc:grpChg>
        <pc:grpChg chg="del mod topLvl">
          <ac:chgData name="Rader, Nathan" userId="7244b1dd-4610-4b97-aeb0-d62ce9ae169d" providerId="ADAL" clId="{14C7343A-E72B-0D47-8D98-2EBB2D401EDC}" dt="2021-05-31T05:10:30.153" v="860" actId="478"/>
          <ac:grpSpMkLst>
            <pc:docMk/>
            <pc:sldMk cId="3502159208" sldId="929"/>
            <ac:grpSpMk id="29" creationId="{CFD9B7E2-3CA6-4BA7-AF8F-D03F0BEFB275}"/>
          </ac:grpSpMkLst>
        </pc:grpChg>
        <pc:grpChg chg="del mod topLvl">
          <ac:chgData name="Rader, Nathan" userId="7244b1dd-4610-4b97-aeb0-d62ce9ae169d" providerId="ADAL" clId="{14C7343A-E72B-0D47-8D98-2EBB2D401EDC}" dt="2021-05-31T05:08:15.136" v="852" actId="165"/>
          <ac:grpSpMkLst>
            <pc:docMk/>
            <pc:sldMk cId="3502159208" sldId="929"/>
            <ac:grpSpMk id="30" creationId="{8727FE7A-1983-4124-8209-0A75F0FA63EC}"/>
          </ac:grpSpMkLst>
        </pc:grpChg>
        <pc:grpChg chg="del mod">
          <ac:chgData name="Rader, Nathan" userId="7244b1dd-4610-4b97-aeb0-d62ce9ae169d" providerId="ADAL" clId="{14C7343A-E72B-0D47-8D98-2EBB2D401EDC}" dt="2021-05-31T05:06:22.321" v="849" actId="165"/>
          <ac:grpSpMkLst>
            <pc:docMk/>
            <pc:sldMk cId="3502159208" sldId="929"/>
            <ac:grpSpMk id="31" creationId="{26FCC69D-9B4A-4820-ABBD-444A1F163BEA}"/>
          </ac:grpSpMkLst>
        </pc:grpChg>
        <pc:grpChg chg="add del mod">
          <ac:chgData name="Rader, Nathan" userId="7244b1dd-4610-4b97-aeb0-d62ce9ae169d" providerId="ADAL" clId="{14C7343A-E72B-0D47-8D98-2EBB2D401EDC}" dt="2021-05-26T04:02:11.617" v="66" actId="165"/>
          <ac:grpSpMkLst>
            <pc:docMk/>
            <pc:sldMk cId="3502159208" sldId="929"/>
            <ac:grpSpMk id="36" creationId="{818FC8F0-21AF-6042-8596-A16B8EC64060}"/>
          </ac:grpSpMkLst>
        </pc:grpChg>
        <pc:grpChg chg="add mod">
          <ac:chgData name="Rader, Nathan" userId="7244b1dd-4610-4b97-aeb0-d62ce9ae169d" providerId="ADAL" clId="{14C7343A-E72B-0D47-8D98-2EBB2D401EDC}" dt="2021-05-31T05:06:22.321" v="849" actId="165"/>
          <ac:grpSpMkLst>
            <pc:docMk/>
            <pc:sldMk cId="3502159208" sldId="929"/>
            <ac:grpSpMk id="38" creationId="{8F726E9C-EA17-3F42-8547-C41B6055EFD5}"/>
          </ac:grpSpMkLst>
        </pc:grpChg>
        <pc:grpChg chg="add mod topLvl">
          <ac:chgData name="Rader, Nathan" userId="7244b1dd-4610-4b97-aeb0-d62ce9ae169d" providerId="ADAL" clId="{14C7343A-E72B-0D47-8D98-2EBB2D401EDC}" dt="2021-05-31T05:06:22.321" v="849" actId="165"/>
          <ac:grpSpMkLst>
            <pc:docMk/>
            <pc:sldMk cId="3502159208" sldId="929"/>
            <ac:grpSpMk id="39" creationId="{06367F7D-4E37-E04D-BE60-AC00405345FE}"/>
          </ac:grpSpMkLst>
        </pc:grpChg>
        <pc:grpChg chg="mod">
          <ac:chgData name="Rader, Nathan" userId="7244b1dd-4610-4b97-aeb0-d62ce9ae169d" providerId="ADAL" clId="{14C7343A-E72B-0D47-8D98-2EBB2D401EDC}" dt="2021-05-31T05:06:22.321" v="849" actId="165"/>
          <ac:grpSpMkLst>
            <pc:docMk/>
            <pc:sldMk cId="3502159208" sldId="929"/>
            <ac:grpSpMk id="44" creationId="{BE60FBFF-E6C0-6741-B040-03EEFC5C2427}"/>
          </ac:grpSpMkLst>
        </pc:grpChg>
        <pc:grpChg chg="mod">
          <ac:chgData name="Rader, Nathan" userId="7244b1dd-4610-4b97-aeb0-d62ce9ae169d" providerId="ADAL" clId="{14C7343A-E72B-0D47-8D98-2EBB2D401EDC}" dt="2021-05-31T05:06:22.321" v="849" actId="165"/>
          <ac:grpSpMkLst>
            <pc:docMk/>
            <pc:sldMk cId="3502159208" sldId="929"/>
            <ac:grpSpMk id="50" creationId="{33F3013F-1A30-B249-BD08-28F8362F4357}"/>
          </ac:grpSpMkLst>
        </pc:grpChg>
        <pc:grpChg chg="add mod">
          <ac:chgData name="Rader, Nathan" userId="7244b1dd-4610-4b97-aeb0-d62ce9ae169d" providerId="ADAL" clId="{14C7343A-E72B-0D47-8D98-2EBB2D401EDC}" dt="2021-05-31T05:06:22.321" v="849" actId="165"/>
          <ac:grpSpMkLst>
            <pc:docMk/>
            <pc:sldMk cId="3502159208" sldId="929"/>
            <ac:grpSpMk id="59" creationId="{495E45F4-5B69-D04B-A078-D60F6E439CCE}"/>
          </ac:grpSpMkLst>
        </pc:grpChg>
        <pc:grpChg chg="mod">
          <ac:chgData name="Rader, Nathan" userId="7244b1dd-4610-4b97-aeb0-d62ce9ae169d" providerId="ADAL" clId="{14C7343A-E72B-0D47-8D98-2EBB2D401EDC}" dt="2021-05-31T05:06:22.321" v="849" actId="165"/>
          <ac:grpSpMkLst>
            <pc:docMk/>
            <pc:sldMk cId="3502159208" sldId="929"/>
            <ac:grpSpMk id="64" creationId="{7EC4A0B7-927E-314C-B3BC-758314F96CCC}"/>
          </ac:grpSpMkLst>
        </pc:grpChg>
        <pc:grpChg chg="mod">
          <ac:chgData name="Rader, Nathan" userId="7244b1dd-4610-4b97-aeb0-d62ce9ae169d" providerId="ADAL" clId="{14C7343A-E72B-0D47-8D98-2EBB2D401EDC}" dt="2021-05-31T05:06:22.321" v="849" actId="165"/>
          <ac:grpSpMkLst>
            <pc:docMk/>
            <pc:sldMk cId="3502159208" sldId="929"/>
            <ac:grpSpMk id="70" creationId="{6FA9EB92-30F8-774C-AF40-4811CD3629D8}"/>
          </ac:grpSpMkLst>
        </pc:grpChg>
        <pc:grpChg chg="add del mod topLvl">
          <ac:chgData name="Rader, Nathan" userId="7244b1dd-4610-4b97-aeb0-d62ce9ae169d" providerId="ADAL" clId="{14C7343A-E72B-0D47-8D98-2EBB2D401EDC}" dt="2021-05-31T05:08:28.637" v="855" actId="165"/>
          <ac:grpSpMkLst>
            <pc:docMk/>
            <pc:sldMk cId="3502159208" sldId="929"/>
            <ac:grpSpMk id="92" creationId="{4D349277-7D41-E149-A286-40802279666B}"/>
          </ac:grpSpMkLst>
        </pc:grpChg>
        <pc:grpChg chg="del mod topLvl">
          <ac:chgData name="Rader, Nathan" userId="7244b1dd-4610-4b97-aeb0-d62ce9ae169d" providerId="ADAL" clId="{14C7343A-E72B-0D47-8D98-2EBB2D401EDC}" dt="2021-05-31T05:10:30.153" v="860" actId="478"/>
          <ac:grpSpMkLst>
            <pc:docMk/>
            <pc:sldMk cId="3502159208" sldId="929"/>
            <ac:grpSpMk id="97" creationId="{F3E32084-4D41-D943-BEC1-8D2C8255FBF1}"/>
          </ac:grpSpMkLst>
        </pc:grpChg>
        <pc:grpChg chg="del mod topLvl">
          <ac:chgData name="Rader, Nathan" userId="7244b1dd-4610-4b97-aeb0-d62ce9ae169d" providerId="ADAL" clId="{14C7343A-E72B-0D47-8D98-2EBB2D401EDC}" dt="2021-05-31T05:10:30.153" v="860" actId="478"/>
          <ac:grpSpMkLst>
            <pc:docMk/>
            <pc:sldMk cId="3502159208" sldId="929"/>
            <ac:grpSpMk id="103" creationId="{E0B1DF1C-A199-6740-87DD-D30682A7B3F6}"/>
          </ac:grpSpMkLst>
        </pc:grpChg>
        <pc:grpChg chg="add mod">
          <ac:chgData name="Rader, Nathan" userId="7244b1dd-4610-4b97-aeb0-d62ce9ae169d" providerId="ADAL" clId="{14C7343A-E72B-0D47-8D98-2EBB2D401EDC}" dt="2021-05-31T05:10:19.971" v="859" actId="1076"/>
          <ac:grpSpMkLst>
            <pc:docMk/>
            <pc:sldMk cId="3502159208" sldId="929"/>
            <ac:grpSpMk id="116" creationId="{B5CDF86B-A32E-DE44-9A1D-18ADCB13F249}"/>
          </ac:grpSpMkLst>
        </pc:grpChg>
        <pc:grpChg chg="mod">
          <ac:chgData name="Rader, Nathan" userId="7244b1dd-4610-4b97-aeb0-d62ce9ae169d" providerId="ADAL" clId="{14C7343A-E72B-0D47-8D98-2EBB2D401EDC}" dt="2021-05-31T05:09:46.943" v="858"/>
          <ac:grpSpMkLst>
            <pc:docMk/>
            <pc:sldMk cId="3502159208" sldId="929"/>
            <ac:grpSpMk id="122" creationId="{446137C6-F298-4048-84A1-E70D7864EB73}"/>
          </ac:grpSpMkLst>
        </pc:grpChg>
        <pc:grpChg chg="mod">
          <ac:chgData name="Rader, Nathan" userId="7244b1dd-4610-4b97-aeb0-d62ce9ae169d" providerId="ADAL" clId="{14C7343A-E72B-0D47-8D98-2EBB2D401EDC}" dt="2021-05-31T05:09:46.943" v="858"/>
          <ac:grpSpMkLst>
            <pc:docMk/>
            <pc:sldMk cId="3502159208" sldId="929"/>
            <ac:grpSpMk id="139" creationId="{00046D0F-E747-6845-B3AB-28E1195BF0CA}"/>
          </ac:grpSpMkLst>
        </pc:grpChg>
        <pc:grpChg chg="add del mod">
          <ac:chgData name="Rader, Nathan" userId="7244b1dd-4610-4b97-aeb0-d62ce9ae169d" providerId="ADAL" clId="{14C7343A-E72B-0D47-8D98-2EBB2D401EDC}" dt="2021-05-26T04:28:48.682" v="402" actId="165"/>
          <ac:grpSpMkLst>
            <pc:docMk/>
            <pc:sldMk cId="3502159208" sldId="929"/>
            <ac:grpSpMk id="140" creationId="{46FA0EB8-8ED6-E444-8339-B5FF19D74A4C}"/>
          </ac:grpSpMkLst>
        </pc:grpChg>
        <pc:grpChg chg="add del mod">
          <ac:chgData name="Rader, Nathan" userId="7244b1dd-4610-4b97-aeb0-d62ce9ae169d" providerId="ADAL" clId="{14C7343A-E72B-0D47-8D98-2EBB2D401EDC}" dt="2021-05-26T04:28:48.682" v="402" actId="165"/>
          <ac:grpSpMkLst>
            <pc:docMk/>
            <pc:sldMk cId="3502159208" sldId="929"/>
            <ac:grpSpMk id="141" creationId="{8D266F6A-29E9-F043-8653-83FB9B36BC1D}"/>
          </ac:grpSpMkLst>
        </pc:grpChg>
        <pc:grpChg chg="add mod">
          <ac:chgData name="Rader, Nathan" userId="7244b1dd-4610-4b97-aeb0-d62ce9ae169d" providerId="ADAL" clId="{14C7343A-E72B-0D47-8D98-2EBB2D401EDC}" dt="2021-05-31T05:10:19.971" v="859" actId="1076"/>
          <ac:grpSpMkLst>
            <pc:docMk/>
            <pc:sldMk cId="3502159208" sldId="929"/>
            <ac:grpSpMk id="148" creationId="{08569964-9851-F44C-B73C-1C2DB04E3A7E}"/>
          </ac:grpSpMkLst>
        </pc:grpChg>
        <pc:grpChg chg="mod">
          <ac:chgData name="Rader, Nathan" userId="7244b1dd-4610-4b97-aeb0-d62ce9ae169d" providerId="ADAL" clId="{14C7343A-E72B-0D47-8D98-2EBB2D401EDC}" dt="2021-05-31T05:09:46.943" v="858"/>
          <ac:grpSpMkLst>
            <pc:docMk/>
            <pc:sldMk cId="3502159208" sldId="929"/>
            <ac:grpSpMk id="154" creationId="{970CCFBC-3B89-DA4F-8392-32C162CD68A4}"/>
          </ac:grpSpMkLst>
        </pc:grpChg>
        <pc:grpChg chg="mod">
          <ac:chgData name="Rader, Nathan" userId="7244b1dd-4610-4b97-aeb0-d62ce9ae169d" providerId="ADAL" clId="{14C7343A-E72B-0D47-8D98-2EBB2D401EDC}" dt="2021-05-31T05:09:46.943" v="858"/>
          <ac:grpSpMkLst>
            <pc:docMk/>
            <pc:sldMk cId="3502159208" sldId="929"/>
            <ac:grpSpMk id="160" creationId="{8F10E832-9E54-0E46-A180-D82E89295A4C}"/>
          </ac:grpSpMkLst>
        </pc:grpChg>
        <pc:grpChg chg="add mod">
          <ac:chgData name="Rader, Nathan" userId="7244b1dd-4610-4b97-aeb0-d62ce9ae169d" providerId="ADAL" clId="{14C7343A-E72B-0D47-8D98-2EBB2D401EDC}" dt="2021-05-31T05:11:00.195" v="862" actId="1076"/>
          <ac:grpSpMkLst>
            <pc:docMk/>
            <pc:sldMk cId="3502159208" sldId="929"/>
            <ac:grpSpMk id="179" creationId="{28DDD918-1D3E-664F-A928-C8AB9FD17FA9}"/>
          </ac:grpSpMkLst>
        </pc:grpChg>
        <pc:grpChg chg="mod">
          <ac:chgData name="Rader, Nathan" userId="7244b1dd-4610-4b97-aeb0-d62ce9ae169d" providerId="ADAL" clId="{14C7343A-E72B-0D47-8D98-2EBB2D401EDC}" dt="2021-05-31T05:10:50.874" v="861"/>
          <ac:grpSpMkLst>
            <pc:docMk/>
            <pc:sldMk cId="3502159208" sldId="929"/>
            <ac:grpSpMk id="184" creationId="{4A82CF02-5D78-F34E-B32F-0E45FC036E85}"/>
          </ac:grpSpMkLst>
        </pc:grpChg>
        <pc:grpChg chg="mod">
          <ac:chgData name="Rader, Nathan" userId="7244b1dd-4610-4b97-aeb0-d62ce9ae169d" providerId="ADAL" clId="{14C7343A-E72B-0D47-8D98-2EBB2D401EDC}" dt="2021-05-31T05:10:50.874" v="861"/>
          <ac:grpSpMkLst>
            <pc:docMk/>
            <pc:sldMk cId="3502159208" sldId="929"/>
            <ac:grpSpMk id="190" creationId="{91EEC4E0-C154-F342-87F3-D4B51D56A1EE}"/>
          </ac:grpSpMkLst>
        </pc:grpChg>
        <pc:grpChg chg="add mod">
          <ac:chgData name="Rader, Nathan" userId="7244b1dd-4610-4b97-aeb0-d62ce9ae169d" providerId="ADAL" clId="{14C7343A-E72B-0D47-8D98-2EBB2D401EDC}" dt="2021-05-31T05:11:00.195" v="862" actId="1076"/>
          <ac:grpSpMkLst>
            <pc:docMk/>
            <pc:sldMk cId="3502159208" sldId="929"/>
            <ac:grpSpMk id="203" creationId="{C4CE3718-CCC5-C648-81AA-0190F19D92F2}"/>
          </ac:grpSpMkLst>
        </pc:grpChg>
        <pc:grpChg chg="mod">
          <ac:chgData name="Rader, Nathan" userId="7244b1dd-4610-4b97-aeb0-d62ce9ae169d" providerId="ADAL" clId="{14C7343A-E72B-0D47-8D98-2EBB2D401EDC}" dt="2021-05-31T05:10:50.874" v="861"/>
          <ac:grpSpMkLst>
            <pc:docMk/>
            <pc:sldMk cId="3502159208" sldId="929"/>
            <ac:grpSpMk id="208" creationId="{94845CAF-3AC1-F647-92A3-272C586A4ADD}"/>
          </ac:grpSpMkLst>
        </pc:grpChg>
        <pc:grpChg chg="mod">
          <ac:chgData name="Rader, Nathan" userId="7244b1dd-4610-4b97-aeb0-d62ce9ae169d" providerId="ADAL" clId="{14C7343A-E72B-0D47-8D98-2EBB2D401EDC}" dt="2021-05-31T05:10:50.874" v="861"/>
          <ac:grpSpMkLst>
            <pc:docMk/>
            <pc:sldMk cId="3502159208" sldId="929"/>
            <ac:grpSpMk id="214" creationId="{CCD40D32-7FFB-474D-AD05-CBD92AF0CBA6}"/>
          </ac:grpSpMkLst>
        </pc:grpChg>
        <pc:picChg chg="add del mod">
          <ac:chgData name="Rader, Nathan" userId="7244b1dd-4610-4b97-aeb0-d62ce9ae169d" providerId="ADAL" clId="{14C7343A-E72B-0D47-8D98-2EBB2D401EDC}" dt="2021-05-26T04:12:40.518" v="108" actId="478"/>
          <ac:picMkLst>
            <pc:docMk/>
            <pc:sldMk cId="3502159208" sldId="929"/>
            <ac:picMk id="37" creationId="{45EB9371-AAAB-A04C-B0A8-E2EFBB65FB63}"/>
          </ac:picMkLst>
        </pc:picChg>
        <pc:cxnChg chg="mod">
          <ac:chgData name="Rader, Nathan" userId="7244b1dd-4610-4b97-aeb0-d62ce9ae169d" providerId="ADAL" clId="{14C7343A-E72B-0D47-8D98-2EBB2D401EDC}" dt="2021-05-31T05:06:22.321" v="849" actId="165"/>
          <ac:cxnSpMkLst>
            <pc:docMk/>
            <pc:sldMk cId="3502159208" sldId="929"/>
            <ac:cxnSpMk id="9" creationId="{553BFC8A-438A-7544-8863-9C2A2F5793EF}"/>
          </ac:cxnSpMkLst>
        </pc:cxnChg>
        <pc:cxnChg chg="mod">
          <ac:chgData name="Rader, Nathan" userId="7244b1dd-4610-4b97-aeb0-d62ce9ae169d" providerId="ADAL" clId="{14C7343A-E72B-0D47-8D98-2EBB2D401EDC}" dt="2021-05-31T05:06:22.321" v="849" actId="165"/>
          <ac:cxnSpMkLst>
            <pc:docMk/>
            <pc:sldMk cId="3502159208" sldId="929"/>
            <ac:cxnSpMk id="10" creationId="{CBF911E2-1AD0-364B-893A-9C32D0EC9CBD}"/>
          </ac:cxnSpMkLst>
        </pc:cxnChg>
        <pc:cxnChg chg="mod">
          <ac:chgData name="Rader, Nathan" userId="7244b1dd-4610-4b97-aeb0-d62ce9ae169d" providerId="ADAL" clId="{14C7343A-E72B-0D47-8D98-2EBB2D401EDC}" dt="2021-05-31T05:06:22.321" v="849" actId="165"/>
          <ac:cxnSpMkLst>
            <pc:docMk/>
            <pc:sldMk cId="3502159208" sldId="929"/>
            <ac:cxnSpMk id="11" creationId="{7E50AD4B-134A-144D-8AE1-5B5FA0EE5CDD}"/>
          </ac:cxnSpMkLst>
        </pc:cxnChg>
        <pc:cxnChg chg="mod">
          <ac:chgData name="Rader, Nathan" userId="7244b1dd-4610-4b97-aeb0-d62ce9ae169d" providerId="ADAL" clId="{14C7343A-E72B-0D47-8D98-2EBB2D401EDC}" dt="2021-05-31T05:06:22.321" v="849" actId="165"/>
          <ac:cxnSpMkLst>
            <pc:docMk/>
            <pc:sldMk cId="3502159208" sldId="929"/>
            <ac:cxnSpMk id="22" creationId="{9B8E724E-65D9-5C42-AC04-0E5F47EB01A6}"/>
          </ac:cxnSpMkLst>
        </pc:cxnChg>
        <pc:cxnChg chg="mod">
          <ac:chgData name="Rader, Nathan" userId="7244b1dd-4610-4b97-aeb0-d62ce9ae169d" providerId="ADAL" clId="{14C7343A-E72B-0D47-8D98-2EBB2D401EDC}" dt="2021-05-31T05:06:22.321" v="849" actId="165"/>
          <ac:cxnSpMkLst>
            <pc:docMk/>
            <pc:sldMk cId="3502159208" sldId="929"/>
            <ac:cxnSpMk id="23" creationId="{F78B3E9B-F6CA-5848-A097-7113D77DBE46}"/>
          </ac:cxnSpMkLst>
        </pc:cxnChg>
        <pc:cxnChg chg="mod">
          <ac:chgData name="Rader, Nathan" userId="7244b1dd-4610-4b97-aeb0-d62ce9ae169d" providerId="ADAL" clId="{14C7343A-E72B-0D47-8D98-2EBB2D401EDC}" dt="2021-05-31T05:06:22.321" v="849" actId="165"/>
          <ac:cxnSpMkLst>
            <pc:docMk/>
            <pc:sldMk cId="3502159208" sldId="929"/>
            <ac:cxnSpMk id="24" creationId="{DE3E1321-BBD1-4D42-AD53-11628177395F}"/>
          </ac:cxnSpMkLst>
        </pc:cxnChg>
        <pc:cxnChg chg="add del mod topLvl">
          <ac:chgData name="Rader, Nathan" userId="7244b1dd-4610-4b97-aeb0-d62ce9ae169d" providerId="ADAL" clId="{14C7343A-E72B-0D47-8D98-2EBB2D401EDC}" dt="2021-05-26T04:26:22.535" v="391" actId="478"/>
          <ac:cxnSpMkLst>
            <pc:docMk/>
            <pc:sldMk cId="3502159208" sldId="929"/>
            <ac:cxnSpMk id="30" creationId="{6A2ED228-C405-3F4B-9A92-AA061A10B699}"/>
          </ac:cxnSpMkLst>
        </pc:cxnChg>
        <pc:cxnChg chg="add del mod topLvl">
          <ac:chgData name="Rader, Nathan" userId="7244b1dd-4610-4b97-aeb0-d62ce9ae169d" providerId="ADAL" clId="{14C7343A-E72B-0D47-8D98-2EBB2D401EDC}" dt="2021-05-26T04:02:18.243" v="68" actId="478"/>
          <ac:cxnSpMkLst>
            <pc:docMk/>
            <pc:sldMk cId="3502159208" sldId="929"/>
            <ac:cxnSpMk id="34" creationId="{99C7B200-CA09-B340-B49A-9DE2659E4DD2}"/>
          </ac:cxnSpMkLst>
        </pc:cxnChg>
        <pc:cxnChg chg="del mod">
          <ac:chgData name="Rader, Nathan" userId="7244b1dd-4610-4b97-aeb0-d62ce9ae169d" providerId="ADAL" clId="{14C7343A-E72B-0D47-8D98-2EBB2D401EDC}" dt="2021-05-26T04:26:26.817" v="394" actId="478"/>
          <ac:cxnSpMkLst>
            <pc:docMk/>
            <pc:sldMk cId="3502159208" sldId="929"/>
            <ac:cxnSpMk id="52" creationId="{85A221B9-60DD-864D-8632-396324E75BC1}"/>
          </ac:cxnSpMkLst>
        </pc:cxnChg>
        <pc:cxnChg chg="mod">
          <ac:chgData name="Rader, Nathan" userId="7244b1dd-4610-4b97-aeb0-d62ce9ae169d" providerId="ADAL" clId="{14C7343A-E72B-0D47-8D98-2EBB2D401EDC}" dt="2021-05-31T05:06:22.321" v="849" actId="165"/>
          <ac:cxnSpMkLst>
            <pc:docMk/>
            <pc:sldMk cId="3502159208" sldId="929"/>
            <ac:cxnSpMk id="53" creationId="{27AC9648-3DA9-C145-BBE6-3E0CB8DF1D68}"/>
          </ac:cxnSpMkLst>
        </pc:cxnChg>
        <pc:cxnChg chg="mod">
          <ac:chgData name="Rader, Nathan" userId="7244b1dd-4610-4b97-aeb0-d62ce9ae169d" providerId="ADAL" clId="{14C7343A-E72B-0D47-8D98-2EBB2D401EDC}" dt="2021-05-31T05:06:22.321" v="849" actId="165"/>
          <ac:cxnSpMkLst>
            <pc:docMk/>
            <pc:sldMk cId="3502159208" sldId="929"/>
            <ac:cxnSpMk id="54" creationId="{85D89E18-C966-7D41-BF2F-C623E32CA43D}"/>
          </ac:cxnSpMkLst>
        </pc:cxnChg>
        <pc:cxnChg chg="mod">
          <ac:chgData name="Rader, Nathan" userId="7244b1dd-4610-4b97-aeb0-d62ce9ae169d" providerId="ADAL" clId="{14C7343A-E72B-0D47-8D98-2EBB2D401EDC}" dt="2021-05-31T05:06:22.321" v="849" actId="165"/>
          <ac:cxnSpMkLst>
            <pc:docMk/>
            <pc:sldMk cId="3502159208" sldId="929"/>
            <ac:cxnSpMk id="55" creationId="{12D8F75E-E3DE-5F46-9923-77FA0B8CE659}"/>
          </ac:cxnSpMkLst>
        </pc:cxnChg>
        <pc:cxnChg chg="mod">
          <ac:chgData name="Rader, Nathan" userId="7244b1dd-4610-4b97-aeb0-d62ce9ae169d" providerId="ADAL" clId="{14C7343A-E72B-0D47-8D98-2EBB2D401EDC}" dt="2021-05-31T05:06:22.321" v="849" actId="165"/>
          <ac:cxnSpMkLst>
            <pc:docMk/>
            <pc:sldMk cId="3502159208" sldId="929"/>
            <ac:cxnSpMk id="56" creationId="{FD3666F1-8300-1E41-B54B-7983007425E7}"/>
          </ac:cxnSpMkLst>
        </pc:cxnChg>
        <pc:cxnChg chg="mod">
          <ac:chgData name="Rader, Nathan" userId="7244b1dd-4610-4b97-aeb0-d62ce9ae169d" providerId="ADAL" clId="{14C7343A-E72B-0D47-8D98-2EBB2D401EDC}" dt="2021-05-31T05:06:22.321" v="849" actId="165"/>
          <ac:cxnSpMkLst>
            <pc:docMk/>
            <pc:sldMk cId="3502159208" sldId="929"/>
            <ac:cxnSpMk id="57" creationId="{5C4DCBDF-1924-B44B-A66F-69A030CEBEB7}"/>
          </ac:cxnSpMkLst>
        </pc:cxnChg>
        <pc:cxnChg chg="mod">
          <ac:chgData name="Rader, Nathan" userId="7244b1dd-4610-4b97-aeb0-d62ce9ae169d" providerId="ADAL" clId="{14C7343A-E72B-0D47-8D98-2EBB2D401EDC}" dt="2021-05-31T05:06:22.321" v="849" actId="165"/>
          <ac:cxnSpMkLst>
            <pc:docMk/>
            <pc:sldMk cId="3502159208" sldId="929"/>
            <ac:cxnSpMk id="58" creationId="{41B0C1D2-1968-C744-8B70-E4F881103F0B}"/>
          </ac:cxnSpMkLst>
        </pc:cxnChg>
        <pc:cxnChg chg="mod">
          <ac:chgData name="Rader, Nathan" userId="7244b1dd-4610-4b97-aeb0-d62ce9ae169d" providerId="ADAL" clId="{14C7343A-E72B-0D47-8D98-2EBB2D401EDC}" dt="2021-05-31T05:06:22.321" v="849" actId="165"/>
          <ac:cxnSpMkLst>
            <pc:docMk/>
            <pc:sldMk cId="3502159208" sldId="929"/>
            <ac:cxnSpMk id="72" creationId="{DBE0C488-1548-6A4D-BE97-47A546439922}"/>
          </ac:cxnSpMkLst>
        </pc:cxnChg>
        <pc:cxnChg chg="mod">
          <ac:chgData name="Rader, Nathan" userId="7244b1dd-4610-4b97-aeb0-d62ce9ae169d" providerId="ADAL" clId="{14C7343A-E72B-0D47-8D98-2EBB2D401EDC}" dt="2021-05-31T05:06:22.321" v="849" actId="165"/>
          <ac:cxnSpMkLst>
            <pc:docMk/>
            <pc:sldMk cId="3502159208" sldId="929"/>
            <ac:cxnSpMk id="73" creationId="{DDD0E7ED-B4A9-CD49-9412-D307637EEC67}"/>
          </ac:cxnSpMkLst>
        </pc:cxnChg>
        <pc:cxnChg chg="mod">
          <ac:chgData name="Rader, Nathan" userId="7244b1dd-4610-4b97-aeb0-d62ce9ae169d" providerId="ADAL" clId="{14C7343A-E72B-0D47-8D98-2EBB2D401EDC}" dt="2021-05-31T05:09:42.588" v="856" actId="478"/>
          <ac:cxnSpMkLst>
            <pc:docMk/>
            <pc:sldMk cId="3502159208" sldId="929"/>
            <ac:cxnSpMk id="74" creationId="{911E0E8E-9E25-8142-8589-6EA1A1C48E68}"/>
          </ac:cxnSpMkLst>
        </pc:cxnChg>
        <pc:cxnChg chg="mod">
          <ac:chgData name="Rader, Nathan" userId="7244b1dd-4610-4b97-aeb0-d62ce9ae169d" providerId="ADAL" clId="{14C7343A-E72B-0D47-8D98-2EBB2D401EDC}" dt="2021-05-31T05:06:22.321" v="849" actId="165"/>
          <ac:cxnSpMkLst>
            <pc:docMk/>
            <pc:sldMk cId="3502159208" sldId="929"/>
            <ac:cxnSpMk id="75" creationId="{E396BB14-CF89-DE48-9F53-FE942FF72F55}"/>
          </ac:cxnSpMkLst>
        </pc:cxnChg>
        <pc:cxnChg chg="mod">
          <ac:chgData name="Rader, Nathan" userId="7244b1dd-4610-4b97-aeb0-d62ce9ae169d" providerId="ADAL" clId="{14C7343A-E72B-0D47-8D98-2EBB2D401EDC}" dt="2021-05-31T05:06:22.321" v="849" actId="165"/>
          <ac:cxnSpMkLst>
            <pc:docMk/>
            <pc:sldMk cId="3502159208" sldId="929"/>
            <ac:cxnSpMk id="76" creationId="{DA737643-8658-0144-A0C4-BD1392AA3902}"/>
          </ac:cxnSpMkLst>
        </pc:cxnChg>
        <pc:cxnChg chg="mod">
          <ac:chgData name="Rader, Nathan" userId="7244b1dd-4610-4b97-aeb0-d62ce9ae169d" providerId="ADAL" clId="{14C7343A-E72B-0D47-8D98-2EBB2D401EDC}" dt="2021-05-31T05:06:22.321" v="849" actId="165"/>
          <ac:cxnSpMkLst>
            <pc:docMk/>
            <pc:sldMk cId="3502159208" sldId="929"/>
            <ac:cxnSpMk id="77" creationId="{110604E9-CAEC-4C4F-838A-B8D0086EF007}"/>
          </ac:cxnSpMkLst>
        </pc:cxnChg>
        <pc:cxnChg chg="mod">
          <ac:chgData name="Rader, Nathan" userId="7244b1dd-4610-4b97-aeb0-d62ce9ae169d" providerId="ADAL" clId="{14C7343A-E72B-0D47-8D98-2EBB2D401EDC}" dt="2021-05-31T05:06:22.321" v="849" actId="165"/>
          <ac:cxnSpMkLst>
            <pc:docMk/>
            <pc:sldMk cId="3502159208" sldId="929"/>
            <ac:cxnSpMk id="78" creationId="{B995E9B3-F925-D940-9BF5-9736F0E7EC80}"/>
          </ac:cxnSpMkLst>
        </pc:cxnChg>
        <pc:cxnChg chg="add mod">
          <ac:chgData name="Rader, Nathan" userId="7244b1dd-4610-4b97-aeb0-d62ce9ae169d" providerId="ADAL" clId="{14C7343A-E72B-0D47-8D98-2EBB2D401EDC}" dt="2021-05-31T05:09:45.499" v="857" actId="478"/>
          <ac:cxnSpMkLst>
            <pc:docMk/>
            <pc:sldMk cId="3502159208" sldId="929"/>
            <ac:cxnSpMk id="80" creationId="{FAA1F292-9419-DE43-9E0F-032DE9DF46E1}"/>
          </ac:cxnSpMkLst>
        </pc:cxnChg>
        <pc:cxnChg chg="add mod">
          <ac:chgData name="Rader, Nathan" userId="7244b1dd-4610-4b97-aeb0-d62ce9ae169d" providerId="ADAL" clId="{14C7343A-E72B-0D47-8D98-2EBB2D401EDC}" dt="2021-05-31T05:09:42.588" v="856" actId="478"/>
          <ac:cxnSpMkLst>
            <pc:docMk/>
            <pc:sldMk cId="3502159208" sldId="929"/>
            <ac:cxnSpMk id="86" creationId="{6E78639C-F2D5-464D-80AD-F31DFEB0E687}"/>
          </ac:cxnSpMkLst>
        </pc:cxnChg>
        <pc:cxnChg chg="add mod topLvl">
          <ac:chgData name="Rader, Nathan" userId="7244b1dd-4610-4b97-aeb0-d62ce9ae169d" providerId="ADAL" clId="{14C7343A-E72B-0D47-8D98-2EBB2D401EDC}" dt="2021-05-31T05:10:30.153" v="860" actId="478"/>
          <ac:cxnSpMkLst>
            <pc:docMk/>
            <pc:sldMk cId="3502159208" sldId="929"/>
            <ac:cxnSpMk id="88" creationId="{945B2A11-926F-2C4F-B700-644A90434B49}"/>
          </ac:cxnSpMkLst>
        </pc:cxnChg>
        <pc:cxnChg chg="del mod">
          <ac:chgData name="Rader, Nathan" userId="7244b1dd-4610-4b97-aeb0-d62ce9ae169d" providerId="ADAL" clId="{14C7343A-E72B-0D47-8D98-2EBB2D401EDC}" dt="2021-05-26T04:26:31.132" v="395" actId="478"/>
          <ac:cxnSpMkLst>
            <pc:docMk/>
            <pc:sldMk cId="3502159208" sldId="929"/>
            <ac:cxnSpMk id="105" creationId="{94540F39-5078-E548-924A-AAE88930295D}"/>
          </ac:cxnSpMkLst>
        </pc:cxnChg>
        <pc:cxnChg chg="mod">
          <ac:chgData name="Rader, Nathan" userId="7244b1dd-4610-4b97-aeb0-d62ce9ae169d" providerId="ADAL" clId="{14C7343A-E72B-0D47-8D98-2EBB2D401EDC}" dt="2021-05-31T05:08:28.637" v="855" actId="165"/>
          <ac:cxnSpMkLst>
            <pc:docMk/>
            <pc:sldMk cId="3502159208" sldId="929"/>
            <ac:cxnSpMk id="106" creationId="{18A5D569-5D55-E84C-881B-93002E5A6F4A}"/>
          </ac:cxnSpMkLst>
        </pc:cxnChg>
        <pc:cxnChg chg="mod">
          <ac:chgData name="Rader, Nathan" userId="7244b1dd-4610-4b97-aeb0-d62ce9ae169d" providerId="ADAL" clId="{14C7343A-E72B-0D47-8D98-2EBB2D401EDC}" dt="2021-05-31T05:08:28.637" v="855" actId="165"/>
          <ac:cxnSpMkLst>
            <pc:docMk/>
            <pc:sldMk cId="3502159208" sldId="929"/>
            <ac:cxnSpMk id="107" creationId="{E0201DBF-4E74-F744-A8BA-96860DB7D3EB}"/>
          </ac:cxnSpMkLst>
        </pc:cxnChg>
        <pc:cxnChg chg="mod">
          <ac:chgData name="Rader, Nathan" userId="7244b1dd-4610-4b97-aeb0-d62ce9ae169d" providerId="ADAL" clId="{14C7343A-E72B-0D47-8D98-2EBB2D401EDC}" dt="2021-05-31T05:08:28.637" v="855" actId="165"/>
          <ac:cxnSpMkLst>
            <pc:docMk/>
            <pc:sldMk cId="3502159208" sldId="929"/>
            <ac:cxnSpMk id="108" creationId="{12F6EA05-AC70-C049-BE5F-4ED84396B539}"/>
          </ac:cxnSpMkLst>
        </pc:cxnChg>
        <pc:cxnChg chg="mod">
          <ac:chgData name="Rader, Nathan" userId="7244b1dd-4610-4b97-aeb0-d62ce9ae169d" providerId="ADAL" clId="{14C7343A-E72B-0D47-8D98-2EBB2D401EDC}" dt="2021-05-31T05:08:28.637" v="855" actId="165"/>
          <ac:cxnSpMkLst>
            <pc:docMk/>
            <pc:sldMk cId="3502159208" sldId="929"/>
            <ac:cxnSpMk id="109" creationId="{3F133CE5-1B8C-2845-9E1D-6791E2A8CA60}"/>
          </ac:cxnSpMkLst>
        </pc:cxnChg>
        <pc:cxnChg chg="mod">
          <ac:chgData name="Rader, Nathan" userId="7244b1dd-4610-4b97-aeb0-d62ce9ae169d" providerId="ADAL" clId="{14C7343A-E72B-0D47-8D98-2EBB2D401EDC}" dt="2021-05-31T05:08:28.637" v="855" actId="165"/>
          <ac:cxnSpMkLst>
            <pc:docMk/>
            <pc:sldMk cId="3502159208" sldId="929"/>
            <ac:cxnSpMk id="110" creationId="{FFF67A63-B974-E64E-B5ED-C3C73AF96A38}"/>
          </ac:cxnSpMkLst>
        </pc:cxnChg>
        <pc:cxnChg chg="mod">
          <ac:chgData name="Rader, Nathan" userId="7244b1dd-4610-4b97-aeb0-d62ce9ae169d" providerId="ADAL" clId="{14C7343A-E72B-0D47-8D98-2EBB2D401EDC}" dt="2021-05-31T05:08:28.637" v="855" actId="165"/>
          <ac:cxnSpMkLst>
            <pc:docMk/>
            <pc:sldMk cId="3502159208" sldId="929"/>
            <ac:cxnSpMk id="111" creationId="{2B9BB40D-8763-5A45-9D13-7C6036148DF1}"/>
          </ac:cxnSpMkLst>
        </pc:cxnChg>
        <pc:cxnChg chg="add mod topLvl">
          <ac:chgData name="Rader, Nathan" userId="7244b1dd-4610-4b97-aeb0-d62ce9ae169d" providerId="ADAL" clId="{14C7343A-E72B-0D47-8D98-2EBB2D401EDC}" dt="2021-05-31T05:10:30.153" v="860" actId="478"/>
          <ac:cxnSpMkLst>
            <pc:docMk/>
            <pc:sldMk cId="3502159208" sldId="929"/>
            <ac:cxnSpMk id="115" creationId="{D3C93696-8C60-804E-AC6F-D53EABC75BDD}"/>
          </ac:cxnSpMkLst>
        </pc:cxnChg>
        <pc:cxnChg chg="add mod topLvl">
          <ac:chgData name="Rader, Nathan" userId="7244b1dd-4610-4b97-aeb0-d62ce9ae169d" providerId="ADAL" clId="{14C7343A-E72B-0D47-8D98-2EBB2D401EDC}" dt="2021-05-31T05:10:30.153" v="860" actId="478"/>
          <ac:cxnSpMkLst>
            <pc:docMk/>
            <pc:sldMk cId="3502159208" sldId="929"/>
            <ac:cxnSpMk id="119" creationId="{9614280E-EF1E-3545-A2BC-180BD37AB56F}"/>
          </ac:cxnSpMkLst>
        </pc:cxnChg>
        <pc:cxnChg chg="add del mod topLvl">
          <ac:chgData name="Rader, Nathan" userId="7244b1dd-4610-4b97-aeb0-d62ce9ae169d" providerId="ADAL" clId="{14C7343A-E72B-0D47-8D98-2EBB2D401EDC}" dt="2021-05-31T05:10:30.153" v="860" actId="478"/>
          <ac:cxnSpMkLst>
            <pc:docMk/>
            <pc:sldMk cId="3502159208" sldId="929"/>
            <ac:cxnSpMk id="123" creationId="{1A758ED4-2421-DE4C-BA43-F0712CF8DA57}"/>
          </ac:cxnSpMkLst>
        </pc:cxnChg>
        <pc:cxnChg chg="add del mod topLvl">
          <ac:chgData name="Rader, Nathan" userId="7244b1dd-4610-4b97-aeb0-d62ce9ae169d" providerId="ADAL" clId="{14C7343A-E72B-0D47-8D98-2EBB2D401EDC}" dt="2021-05-31T05:10:30.153" v="860" actId="478"/>
          <ac:cxnSpMkLst>
            <pc:docMk/>
            <pc:sldMk cId="3502159208" sldId="929"/>
            <ac:cxnSpMk id="126" creationId="{3B5CF78E-8ABE-104B-B165-B37086430899}"/>
          </ac:cxnSpMkLst>
        </pc:cxnChg>
        <pc:cxnChg chg="add mod">
          <ac:chgData name="Rader, Nathan" userId="7244b1dd-4610-4b97-aeb0-d62ce9ae169d" providerId="ADAL" clId="{14C7343A-E72B-0D47-8D98-2EBB2D401EDC}" dt="2021-05-31T05:06:22.321" v="849" actId="165"/>
          <ac:cxnSpMkLst>
            <pc:docMk/>
            <pc:sldMk cId="3502159208" sldId="929"/>
            <ac:cxnSpMk id="130" creationId="{374B8861-81BC-B643-B1A7-F37479C80FBB}"/>
          </ac:cxnSpMkLst>
        </pc:cxnChg>
        <pc:cxnChg chg="add mod topLvl">
          <ac:chgData name="Rader, Nathan" userId="7244b1dd-4610-4b97-aeb0-d62ce9ae169d" providerId="ADAL" clId="{14C7343A-E72B-0D47-8D98-2EBB2D401EDC}" dt="2021-05-31T05:06:22.321" v="849" actId="165"/>
          <ac:cxnSpMkLst>
            <pc:docMk/>
            <pc:sldMk cId="3502159208" sldId="929"/>
            <ac:cxnSpMk id="132" creationId="{C2F05F44-33CE-CB43-AD94-9D0BFA699DA5}"/>
          </ac:cxnSpMkLst>
        </pc:cxnChg>
        <pc:cxnChg chg="add mod">
          <ac:chgData name="Rader, Nathan" userId="7244b1dd-4610-4b97-aeb0-d62ce9ae169d" providerId="ADAL" clId="{14C7343A-E72B-0D47-8D98-2EBB2D401EDC}" dt="2021-05-31T05:06:22.321" v="849" actId="165"/>
          <ac:cxnSpMkLst>
            <pc:docMk/>
            <pc:sldMk cId="3502159208" sldId="929"/>
            <ac:cxnSpMk id="134" creationId="{4BA52B57-295E-0A46-880A-678AD0B07869}"/>
          </ac:cxnSpMkLst>
        </pc:cxnChg>
        <pc:cxnChg chg="add mod topLvl">
          <ac:chgData name="Rader, Nathan" userId="7244b1dd-4610-4b97-aeb0-d62ce9ae169d" providerId="ADAL" clId="{14C7343A-E72B-0D47-8D98-2EBB2D401EDC}" dt="2021-05-31T05:06:22.321" v="849" actId="165"/>
          <ac:cxnSpMkLst>
            <pc:docMk/>
            <pc:sldMk cId="3502159208" sldId="929"/>
            <ac:cxnSpMk id="136" creationId="{DC1F5577-CEC0-8242-B2E7-393AEC76C9FF}"/>
          </ac:cxnSpMkLst>
        </pc:cxnChg>
        <pc:cxnChg chg="mod">
          <ac:chgData name="Rader, Nathan" userId="7244b1dd-4610-4b97-aeb0-d62ce9ae169d" providerId="ADAL" clId="{14C7343A-E72B-0D47-8D98-2EBB2D401EDC}" dt="2021-05-31T05:09:46.943" v="858"/>
          <ac:cxnSpMkLst>
            <pc:docMk/>
            <pc:sldMk cId="3502159208" sldId="929"/>
            <ac:cxnSpMk id="141" creationId="{358EFC98-D9B4-DD40-B632-B29D3B697374}"/>
          </ac:cxnSpMkLst>
        </pc:cxnChg>
        <pc:cxnChg chg="mod">
          <ac:chgData name="Rader, Nathan" userId="7244b1dd-4610-4b97-aeb0-d62ce9ae169d" providerId="ADAL" clId="{14C7343A-E72B-0D47-8D98-2EBB2D401EDC}" dt="2021-05-31T05:09:46.943" v="858"/>
          <ac:cxnSpMkLst>
            <pc:docMk/>
            <pc:sldMk cId="3502159208" sldId="929"/>
            <ac:cxnSpMk id="142" creationId="{27816061-8A42-5043-AC58-47FB3D4095C6}"/>
          </ac:cxnSpMkLst>
        </pc:cxnChg>
        <pc:cxnChg chg="mod">
          <ac:chgData name="Rader, Nathan" userId="7244b1dd-4610-4b97-aeb0-d62ce9ae169d" providerId="ADAL" clId="{14C7343A-E72B-0D47-8D98-2EBB2D401EDC}" dt="2021-05-31T05:09:46.943" v="858"/>
          <ac:cxnSpMkLst>
            <pc:docMk/>
            <pc:sldMk cId="3502159208" sldId="929"/>
            <ac:cxnSpMk id="143" creationId="{637BDB48-A8FA-E544-9D30-6ECB7EA15824}"/>
          </ac:cxnSpMkLst>
        </pc:cxnChg>
        <pc:cxnChg chg="mod">
          <ac:chgData name="Rader, Nathan" userId="7244b1dd-4610-4b97-aeb0-d62ce9ae169d" providerId="ADAL" clId="{14C7343A-E72B-0D47-8D98-2EBB2D401EDC}" dt="2021-05-31T05:09:46.943" v="858"/>
          <ac:cxnSpMkLst>
            <pc:docMk/>
            <pc:sldMk cId="3502159208" sldId="929"/>
            <ac:cxnSpMk id="144" creationId="{52BFE451-6FA8-6D40-B37B-BB7017983B0F}"/>
          </ac:cxnSpMkLst>
        </pc:cxnChg>
        <pc:cxnChg chg="mod">
          <ac:chgData name="Rader, Nathan" userId="7244b1dd-4610-4b97-aeb0-d62ce9ae169d" providerId="ADAL" clId="{14C7343A-E72B-0D47-8D98-2EBB2D401EDC}" dt="2021-05-31T05:09:46.943" v="858"/>
          <ac:cxnSpMkLst>
            <pc:docMk/>
            <pc:sldMk cId="3502159208" sldId="929"/>
            <ac:cxnSpMk id="145" creationId="{392FBF17-F582-B541-B017-DDC427D8B69D}"/>
          </ac:cxnSpMkLst>
        </pc:cxnChg>
        <pc:cxnChg chg="mod">
          <ac:chgData name="Rader, Nathan" userId="7244b1dd-4610-4b97-aeb0-d62ce9ae169d" providerId="ADAL" clId="{14C7343A-E72B-0D47-8D98-2EBB2D401EDC}" dt="2021-05-31T05:09:46.943" v="858"/>
          <ac:cxnSpMkLst>
            <pc:docMk/>
            <pc:sldMk cId="3502159208" sldId="929"/>
            <ac:cxnSpMk id="146" creationId="{A60D4999-4F5D-F94F-9052-81A95F632F71}"/>
          </ac:cxnSpMkLst>
        </pc:cxnChg>
        <pc:cxnChg chg="add del mod">
          <ac:chgData name="Rader, Nathan" userId="7244b1dd-4610-4b97-aeb0-d62ce9ae169d" providerId="ADAL" clId="{14C7343A-E72B-0D47-8D98-2EBB2D401EDC}" dt="2021-05-26T04:43:42.371" v="439" actId="478"/>
          <ac:cxnSpMkLst>
            <pc:docMk/>
            <pc:sldMk cId="3502159208" sldId="929"/>
            <ac:cxnSpMk id="153" creationId="{C361736C-3FFE-D346-81BB-6DFD49A27641}"/>
          </ac:cxnSpMkLst>
        </pc:cxnChg>
        <pc:cxnChg chg="add mod">
          <ac:chgData name="Rader, Nathan" userId="7244b1dd-4610-4b97-aeb0-d62ce9ae169d" providerId="ADAL" clId="{14C7343A-E72B-0D47-8D98-2EBB2D401EDC}" dt="2021-05-31T05:10:30.153" v="860" actId="478"/>
          <ac:cxnSpMkLst>
            <pc:docMk/>
            <pc:sldMk cId="3502159208" sldId="929"/>
            <ac:cxnSpMk id="164" creationId="{C360D0DE-D503-AC4E-8FE5-179DA748EE4F}"/>
          </ac:cxnSpMkLst>
        </pc:cxnChg>
        <pc:cxnChg chg="mod">
          <ac:chgData name="Rader, Nathan" userId="7244b1dd-4610-4b97-aeb0-d62ce9ae169d" providerId="ADAL" clId="{14C7343A-E72B-0D47-8D98-2EBB2D401EDC}" dt="2021-05-31T05:09:46.943" v="858"/>
          <ac:cxnSpMkLst>
            <pc:docMk/>
            <pc:sldMk cId="3502159208" sldId="929"/>
            <ac:cxnSpMk id="166" creationId="{9E5DDF44-57AA-BD49-8337-CD9F113A9E5C}"/>
          </ac:cxnSpMkLst>
        </pc:cxnChg>
        <pc:cxnChg chg="mod">
          <ac:chgData name="Rader, Nathan" userId="7244b1dd-4610-4b97-aeb0-d62ce9ae169d" providerId="ADAL" clId="{14C7343A-E72B-0D47-8D98-2EBB2D401EDC}" dt="2021-05-31T05:09:46.943" v="858"/>
          <ac:cxnSpMkLst>
            <pc:docMk/>
            <pc:sldMk cId="3502159208" sldId="929"/>
            <ac:cxnSpMk id="167" creationId="{600F13A3-052D-4A4B-9CE3-D91164DF5B41}"/>
          </ac:cxnSpMkLst>
        </pc:cxnChg>
        <pc:cxnChg chg="mod">
          <ac:chgData name="Rader, Nathan" userId="7244b1dd-4610-4b97-aeb0-d62ce9ae169d" providerId="ADAL" clId="{14C7343A-E72B-0D47-8D98-2EBB2D401EDC}" dt="2021-05-31T05:09:46.943" v="858"/>
          <ac:cxnSpMkLst>
            <pc:docMk/>
            <pc:sldMk cId="3502159208" sldId="929"/>
            <ac:cxnSpMk id="168" creationId="{AF397CA1-9CD5-304C-88EF-F3208A57022C}"/>
          </ac:cxnSpMkLst>
        </pc:cxnChg>
        <pc:cxnChg chg="mod">
          <ac:chgData name="Rader, Nathan" userId="7244b1dd-4610-4b97-aeb0-d62ce9ae169d" providerId="ADAL" clId="{14C7343A-E72B-0D47-8D98-2EBB2D401EDC}" dt="2021-05-31T05:09:46.943" v="858"/>
          <ac:cxnSpMkLst>
            <pc:docMk/>
            <pc:sldMk cId="3502159208" sldId="929"/>
            <ac:cxnSpMk id="169" creationId="{75EFA71A-F947-8D4F-98A1-F76D1514BBBB}"/>
          </ac:cxnSpMkLst>
        </pc:cxnChg>
        <pc:cxnChg chg="mod">
          <ac:chgData name="Rader, Nathan" userId="7244b1dd-4610-4b97-aeb0-d62ce9ae169d" providerId="ADAL" clId="{14C7343A-E72B-0D47-8D98-2EBB2D401EDC}" dt="2021-05-31T05:09:46.943" v="858"/>
          <ac:cxnSpMkLst>
            <pc:docMk/>
            <pc:sldMk cId="3502159208" sldId="929"/>
            <ac:cxnSpMk id="170" creationId="{FCE1744D-B005-364D-A296-51CA7ED4D6BD}"/>
          </ac:cxnSpMkLst>
        </pc:cxnChg>
        <pc:cxnChg chg="mod">
          <ac:chgData name="Rader, Nathan" userId="7244b1dd-4610-4b97-aeb0-d62ce9ae169d" providerId="ADAL" clId="{14C7343A-E72B-0D47-8D98-2EBB2D401EDC}" dt="2021-05-31T05:09:46.943" v="858"/>
          <ac:cxnSpMkLst>
            <pc:docMk/>
            <pc:sldMk cId="3502159208" sldId="929"/>
            <ac:cxnSpMk id="171" creationId="{18DC1D8C-F96F-5442-BBA8-330396D36061}"/>
          </ac:cxnSpMkLst>
        </pc:cxnChg>
        <pc:cxnChg chg="mod">
          <ac:chgData name="Rader, Nathan" userId="7244b1dd-4610-4b97-aeb0-d62ce9ae169d" providerId="ADAL" clId="{14C7343A-E72B-0D47-8D98-2EBB2D401EDC}" dt="2021-05-31T05:09:46.943" v="858"/>
          <ac:cxnSpMkLst>
            <pc:docMk/>
            <pc:sldMk cId="3502159208" sldId="929"/>
            <ac:cxnSpMk id="172" creationId="{511827CC-5CD8-BF4B-8189-DA830F33E69D}"/>
          </ac:cxnSpMkLst>
        </pc:cxnChg>
        <pc:cxnChg chg="add mod">
          <ac:chgData name="Rader, Nathan" userId="7244b1dd-4610-4b97-aeb0-d62ce9ae169d" providerId="ADAL" clId="{14C7343A-E72B-0D47-8D98-2EBB2D401EDC}" dt="2021-05-31T05:10:19.971" v="859" actId="1076"/>
          <ac:cxnSpMkLst>
            <pc:docMk/>
            <pc:sldMk cId="3502159208" sldId="929"/>
            <ac:cxnSpMk id="173" creationId="{2079A60F-917A-FC40-83EA-8D41D3A5FB28}"/>
          </ac:cxnSpMkLst>
        </pc:cxnChg>
        <pc:cxnChg chg="add mod">
          <ac:chgData name="Rader, Nathan" userId="7244b1dd-4610-4b97-aeb0-d62ce9ae169d" providerId="ADAL" clId="{14C7343A-E72B-0D47-8D98-2EBB2D401EDC}" dt="2021-05-31T05:10:19.971" v="859" actId="1076"/>
          <ac:cxnSpMkLst>
            <pc:docMk/>
            <pc:sldMk cId="3502159208" sldId="929"/>
            <ac:cxnSpMk id="175" creationId="{4B8DCC57-1769-3C43-972C-AFDE5F45BFD5}"/>
          </ac:cxnSpMkLst>
        </pc:cxnChg>
        <pc:cxnChg chg="mod">
          <ac:chgData name="Rader, Nathan" userId="7244b1dd-4610-4b97-aeb0-d62ce9ae169d" providerId="ADAL" clId="{14C7343A-E72B-0D47-8D98-2EBB2D401EDC}" dt="2021-05-31T05:10:50.874" v="861"/>
          <ac:cxnSpMkLst>
            <pc:docMk/>
            <pc:sldMk cId="3502159208" sldId="929"/>
            <ac:cxnSpMk id="192" creationId="{B705D5A7-04D1-CE4D-9DB1-FCFB0E927B3F}"/>
          </ac:cxnSpMkLst>
        </pc:cxnChg>
        <pc:cxnChg chg="mod">
          <ac:chgData name="Rader, Nathan" userId="7244b1dd-4610-4b97-aeb0-d62ce9ae169d" providerId="ADAL" clId="{14C7343A-E72B-0D47-8D98-2EBB2D401EDC}" dt="2021-05-31T05:10:50.874" v="861"/>
          <ac:cxnSpMkLst>
            <pc:docMk/>
            <pc:sldMk cId="3502159208" sldId="929"/>
            <ac:cxnSpMk id="193" creationId="{8204A77E-CD2E-EA41-B812-8B9FE62B75EF}"/>
          </ac:cxnSpMkLst>
        </pc:cxnChg>
        <pc:cxnChg chg="mod">
          <ac:chgData name="Rader, Nathan" userId="7244b1dd-4610-4b97-aeb0-d62ce9ae169d" providerId="ADAL" clId="{14C7343A-E72B-0D47-8D98-2EBB2D401EDC}" dt="2021-05-31T05:10:50.874" v="861"/>
          <ac:cxnSpMkLst>
            <pc:docMk/>
            <pc:sldMk cId="3502159208" sldId="929"/>
            <ac:cxnSpMk id="194" creationId="{F1838046-AEBB-2A40-B17D-BED9674A1BB5}"/>
          </ac:cxnSpMkLst>
        </pc:cxnChg>
        <pc:cxnChg chg="mod">
          <ac:chgData name="Rader, Nathan" userId="7244b1dd-4610-4b97-aeb0-d62ce9ae169d" providerId="ADAL" clId="{14C7343A-E72B-0D47-8D98-2EBB2D401EDC}" dt="2021-05-31T05:10:50.874" v="861"/>
          <ac:cxnSpMkLst>
            <pc:docMk/>
            <pc:sldMk cId="3502159208" sldId="929"/>
            <ac:cxnSpMk id="195" creationId="{A361B47F-5AF0-1243-827D-E9FAD7C7F8EB}"/>
          </ac:cxnSpMkLst>
        </pc:cxnChg>
        <pc:cxnChg chg="mod">
          <ac:chgData name="Rader, Nathan" userId="7244b1dd-4610-4b97-aeb0-d62ce9ae169d" providerId="ADAL" clId="{14C7343A-E72B-0D47-8D98-2EBB2D401EDC}" dt="2021-05-31T05:10:50.874" v="861"/>
          <ac:cxnSpMkLst>
            <pc:docMk/>
            <pc:sldMk cId="3502159208" sldId="929"/>
            <ac:cxnSpMk id="196" creationId="{01152E57-AE5D-E642-BC45-1F1CA3A2674E}"/>
          </ac:cxnSpMkLst>
        </pc:cxnChg>
        <pc:cxnChg chg="mod">
          <ac:chgData name="Rader, Nathan" userId="7244b1dd-4610-4b97-aeb0-d62ce9ae169d" providerId="ADAL" clId="{14C7343A-E72B-0D47-8D98-2EBB2D401EDC}" dt="2021-05-31T05:10:50.874" v="861"/>
          <ac:cxnSpMkLst>
            <pc:docMk/>
            <pc:sldMk cId="3502159208" sldId="929"/>
            <ac:cxnSpMk id="197" creationId="{B8A62F81-2078-2F41-B1E3-5AA3C2E611A7}"/>
          </ac:cxnSpMkLst>
        </pc:cxnChg>
        <pc:cxnChg chg="add mod">
          <ac:chgData name="Rader, Nathan" userId="7244b1dd-4610-4b97-aeb0-d62ce9ae169d" providerId="ADAL" clId="{14C7343A-E72B-0D47-8D98-2EBB2D401EDC}" dt="2021-05-31T05:11:00.195" v="862" actId="1076"/>
          <ac:cxnSpMkLst>
            <pc:docMk/>
            <pc:sldMk cId="3502159208" sldId="929"/>
            <ac:cxnSpMk id="199" creationId="{56AFD446-E4CD-1F44-AB2F-23908B4789C9}"/>
          </ac:cxnSpMkLst>
        </pc:cxnChg>
        <pc:cxnChg chg="add mod">
          <ac:chgData name="Rader, Nathan" userId="7244b1dd-4610-4b97-aeb0-d62ce9ae169d" providerId="ADAL" clId="{14C7343A-E72B-0D47-8D98-2EBB2D401EDC}" dt="2021-05-31T05:11:00.195" v="862" actId="1076"/>
          <ac:cxnSpMkLst>
            <pc:docMk/>
            <pc:sldMk cId="3502159208" sldId="929"/>
            <ac:cxnSpMk id="201" creationId="{5C9DC532-92FD-0F44-8105-EE46EE436968}"/>
          </ac:cxnSpMkLst>
        </pc:cxnChg>
        <pc:cxnChg chg="add mod">
          <ac:chgData name="Rader, Nathan" userId="7244b1dd-4610-4b97-aeb0-d62ce9ae169d" providerId="ADAL" clId="{14C7343A-E72B-0D47-8D98-2EBB2D401EDC}" dt="2021-05-31T05:11:00.195" v="862" actId="1076"/>
          <ac:cxnSpMkLst>
            <pc:docMk/>
            <pc:sldMk cId="3502159208" sldId="929"/>
            <ac:cxnSpMk id="202" creationId="{C81DE4A1-B579-0D43-AA58-A9AB306E333A}"/>
          </ac:cxnSpMkLst>
        </pc:cxnChg>
        <pc:cxnChg chg="mod">
          <ac:chgData name="Rader, Nathan" userId="7244b1dd-4610-4b97-aeb0-d62ce9ae169d" providerId="ADAL" clId="{14C7343A-E72B-0D47-8D98-2EBB2D401EDC}" dt="2021-05-31T05:10:50.874" v="861"/>
          <ac:cxnSpMkLst>
            <pc:docMk/>
            <pc:sldMk cId="3502159208" sldId="929"/>
            <ac:cxnSpMk id="216" creationId="{88A2E994-59EA-C549-AA54-B1420ED62368}"/>
          </ac:cxnSpMkLst>
        </pc:cxnChg>
        <pc:cxnChg chg="mod">
          <ac:chgData name="Rader, Nathan" userId="7244b1dd-4610-4b97-aeb0-d62ce9ae169d" providerId="ADAL" clId="{14C7343A-E72B-0D47-8D98-2EBB2D401EDC}" dt="2021-05-31T05:10:50.874" v="861"/>
          <ac:cxnSpMkLst>
            <pc:docMk/>
            <pc:sldMk cId="3502159208" sldId="929"/>
            <ac:cxnSpMk id="217" creationId="{30BB4E8F-2EB4-1F48-9444-250E3D94CD77}"/>
          </ac:cxnSpMkLst>
        </pc:cxnChg>
        <pc:cxnChg chg="mod">
          <ac:chgData name="Rader, Nathan" userId="7244b1dd-4610-4b97-aeb0-d62ce9ae169d" providerId="ADAL" clId="{14C7343A-E72B-0D47-8D98-2EBB2D401EDC}" dt="2021-05-31T05:10:50.874" v="861"/>
          <ac:cxnSpMkLst>
            <pc:docMk/>
            <pc:sldMk cId="3502159208" sldId="929"/>
            <ac:cxnSpMk id="218" creationId="{4EB49E25-B323-5A4A-AC02-9A0B7E539851}"/>
          </ac:cxnSpMkLst>
        </pc:cxnChg>
        <pc:cxnChg chg="mod">
          <ac:chgData name="Rader, Nathan" userId="7244b1dd-4610-4b97-aeb0-d62ce9ae169d" providerId="ADAL" clId="{14C7343A-E72B-0D47-8D98-2EBB2D401EDC}" dt="2021-05-31T05:10:50.874" v="861"/>
          <ac:cxnSpMkLst>
            <pc:docMk/>
            <pc:sldMk cId="3502159208" sldId="929"/>
            <ac:cxnSpMk id="219" creationId="{8829ED8C-49BE-5A49-BE50-A043FA7DA9C1}"/>
          </ac:cxnSpMkLst>
        </pc:cxnChg>
        <pc:cxnChg chg="mod">
          <ac:chgData name="Rader, Nathan" userId="7244b1dd-4610-4b97-aeb0-d62ce9ae169d" providerId="ADAL" clId="{14C7343A-E72B-0D47-8D98-2EBB2D401EDC}" dt="2021-05-31T05:10:50.874" v="861"/>
          <ac:cxnSpMkLst>
            <pc:docMk/>
            <pc:sldMk cId="3502159208" sldId="929"/>
            <ac:cxnSpMk id="220" creationId="{024AE747-0826-ED4F-A20E-C121F20E2B1D}"/>
          </ac:cxnSpMkLst>
        </pc:cxnChg>
        <pc:cxnChg chg="mod">
          <ac:chgData name="Rader, Nathan" userId="7244b1dd-4610-4b97-aeb0-d62ce9ae169d" providerId="ADAL" clId="{14C7343A-E72B-0D47-8D98-2EBB2D401EDC}" dt="2021-05-31T05:10:50.874" v="861"/>
          <ac:cxnSpMkLst>
            <pc:docMk/>
            <pc:sldMk cId="3502159208" sldId="929"/>
            <ac:cxnSpMk id="221" creationId="{8D0DD98D-884F-B549-9685-2A3968296C97}"/>
          </ac:cxnSpMkLst>
        </pc:cxnChg>
        <pc:cxnChg chg="add mod">
          <ac:chgData name="Rader, Nathan" userId="7244b1dd-4610-4b97-aeb0-d62ce9ae169d" providerId="ADAL" clId="{14C7343A-E72B-0D47-8D98-2EBB2D401EDC}" dt="2021-05-31T05:11:00.195" v="862" actId="1076"/>
          <ac:cxnSpMkLst>
            <pc:docMk/>
            <pc:sldMk cId="3502159208" sldId="929"/>
            <ac:cxnSpMk id="222" creationId="{9786EE0D-135B-7D45-B739-09B97342A67C}"/>
          </ac:cxnSpMkLst>
        </pc:cxnChg>
        <pc:cxnChg chg="add mod">
          <ac:chgData name="Rader, Nathan" userId="7244b1dd-4610-4b97-aeb0-d62ce9ae169d" providerId="ADAL" clId="{14C7343A-E72B-0D47-8D98-2EBB2D401EDC}" dt="2021-05-31T05:11:00.195" v="862" actId="1076"/>
          <ac:cxnSpMkLst>
            <pc:docMk/>
            <pc:sldMk cId="3502159208" sldId="929"/>
            <ac:cxnSpMk id="224" creationId="{29B08DD0-42D3-DB43-86EB-8DAF5247BE86}"/>
          </ac:cxnSpMkLst>
        </pc:cxnChg>
        <pc:cxnChg chg="add mod">
          <ac:chgData name="Rader, Nathan" userId="7244b1dd-4610-4b97-aeb0-d62ce9ae169d" providerId="ADAL" clId="{14C7343A-E72B-0D47-8D98-2EBB2D401EDC}" dt="2021-05-31T05:11:00.195" v="862" actId="1076"/>
          <ac:cxnSpMkLst>
            <pc:docMk/>
            <pc:sldMk cId="3502159208" sldId="929"/>
            <ac:cxnSpMk id="227" creationId="{37A6FBD7-EFD1-F648-B39C-9E748067A444}"/>
          </ac:cxnSpMkLst>
        </pc:cxnChg>
      </pc:sldChg>
    </pc:docChg>
  </pc:docChgLst>
  <pc:docChgLst>
    <pc:chgData name="Kisliuk, Adrian (ext)" userId="6e619ce3-2643-4cdf-9a13-b4c269650021" providerId="ADAL" clId="{2F91516B-777A-4469-987E-B21E99E57CC9}"/>
    <pc:docChg chg="undo redo custSel addSld delSld modSld sldOrd">
      <pc:chgData name="Kisliuk, Adrian (ext)" userId="6e619ce3-2643-4cdf-9a13-b4c269650021" providerId="ADAL" clId="{2F91516B-777A-4469-987E-B21E99E57CC9}" dt="2021-04-14T09:02:17.127" v="7698" actId="20577"/>
      <pc:docMkLst>
        <pc:docMk/>
      </pc:docMkLst>
      <pc:sldChg chg="modSp mod modTransition">
        <pc:chgData name="Kisliuk, Adrian (ext)" userId="6e619ce3-2643-4cdf-9a13-b4c269650021" providerId="ADAL" clId="{2F91516B-777A-4469-987E-B21E99E57CC9}" dt="2021-04-14T09:02:17.127" v="7698" actId="20577"/>
        <pc:sldMkLst>
          <pc:docMk/>
          <pc:sldMk cId="3888384040" sldId="474"/>
        </pc:sldMkLst>
        <pc:spChg chg="mod">
          <ac:chgData name="Kisliuk, Adrian (ext)" userId="6e619ce3-2643-4cdf-9a13-b4c269650021" providerId="ADAL" clId="{2F91516B-777A-4469-987E-B21E99E57CC9}" dt="2021-04-14T09:02:17.127" v="7698" actId="20577"/>
          <ac:spMkLst>
            <pc:docMk/>
            <pc:sldMk cId="3888384040" sldId="474"/>
            <ac:spMk id="10" creationId="{00000000-0000-0000-0000-000000000000}"/>
          </ac:spMkLst>
        </pc:spChg>
      </pc:sldChg>
      <pc:sldChg chg="modSp">
        <pc:chgData name="Kisliuk, Adrian (ext)" userId="6e619ce3-2643-4cdf-9a13-b4c269650021" providerId="ADAL" clId="{2F91516B-777A-4469-987E-B21E99E57CC9}" dt="2021-04-13T14:42:02.705" v="6736" actId="11530"/>
        <pc:sldMkLst>
          <pc:docMk/>
          <pc:sldMk cId="3217164513" sldId="833"/>
        </pc:sldMkLst>
        <pc:spChg chg="mod">
          <ac:chgData name="Kisliuk, Adrian (ext)" userId="6e619ce3-2643-4cdf-9a13-b4c269650021" providerId="ADAL" clId="{2F91516B-777A-4469-987E-B21E99E57CC9}" dt="2021-04-13T14:42:02.705" v="6736" actId="11530"/>
          <ac:spMkLst>
            <pc:docMk/>
            <pc:sldMk cId="3217164513" sldId="833"/>
            <ac:spMk id="32" creationId="{DA99D21D-0AD7-4A7E-9602-DCBC860847F1}"/>
          </ac:spMkLst>
        </pc:spChg>
        <pc:spChg chg="mod">
          <ac:chgData name="Kisliuk, Adrian (ext)" userId="6e619ce3-2643-4cdf-9a13-b4c269650021" providerId="ADAL" clId="{2F91516B-777A-4469-987E-B21E99E57CC9}" dt="2021-04-13T14:42:02.705" v="6736" actId="11530"/>
          <ac:spMkLst>
            <pc:docMk/>
            <pc:sldMk cId="3217164513" sldId="833"/>
            <ac:spMk id="33" creationId="{992D1074-C583-484C-85C4-37F8D5D59A8C}"/>
          </ac:spMkLst>
        </pc:spChg>
        <pc:spChg chg="mod">
          <ac:chgData name="Kisliuk, Adrian (ext)" userId="6e619ce3-2643-4cdf-9a13-b4c269650021" providerId="ADAL" clId="{2F91516B-777A-4469-987E-B21E99E57CC9}" dt="2021-04-13T14:42:02.705" v="6736" actId="11530"/>
          <ac:spMkLst>
            <pc:docMk/>
            <pc:sldMk cId="3217164513" sldId="833"/>
            <ac:spMk id="34" creationId="{EC228732-8A0E-43E7-B7C7-82EF3A584AFB}"/>
          </ac:spMkLst>
        </pc:spChg>
        <pc:spChg chg="mod">
          <ac:chgData name="Kisliuk, Adrian (ext)" userId="6e619ce3-2643-4cdf-9a13-b4c269650021" providerId="ADAL" clId="{2F91516B-777A-4469-987E-B21E99E57CC9}" dt="2021-04-13T14:42:02.705" v="6736" actId="11530"/>
          <ac:spMkLst>
            <pc:docMk/>
            <pc:sldMk cId="3217164513" sldId="833"/>
            <ac:spMk id="35" creationId="{78A17BAE-8640-4431-A76D-EC0926C0323F}"/>
          </ac:spMkLst>
        </pc:spChg>
        <pc:spChg chg="mod">
          <ac:chgData name="Kisliuk, Adrian (ext)" userId="6e619ce3-2643-4cdf-9a13-b4c269650021" providerId="ADAL" clId="{2F91516B-777A-4469-987E-B21E99E57CC9}" dt="2021-04-13T14:42:02.705" v="6736" actId="11530"/>
          <ac:spMkLst>
            <pc:docMk/>
            <pc:sldMk cId="3217164513" sldId="833"/>
            <ac:spMk id="36" creationId="{44E53A76-1FF2-4561-AB4A-3F6C08A2FDD4}"/>
          </ac:spMkLst>
        </pc:spChg>
        <pc:spChg chg="mod">
          <ac:chgData name="Kisliuk, Adrian (ext)" userId="6e619ce3-2643-4cdf-9a13-b4c269650021" providerId="ADAL" clId="{2F91516B-777A-4469-987E-B21E99E57CC9}" dt="2021-04-13T14:42:02.705" v="6736" actId="11530"/>
          <ac:spMkLst>
            <pc:docMk/>
            <pc:sldMk cId="3217164513" sldId="833"/>
            <ac:spMk id="43" creationId="{B9067C4C-21AB-49D4-BD59-3CD7826D0B1F}"/>
          </ac:spMkLst>
        </pc:spChg>
        <pc:spChg chg="mod">
          <ac:chgData name="Kisliuk, Adrian (ext)" userId="6e619ce3-2643-4cdf-9a13-b4c269650021" providerId="ADAL" clId="{2F91516B-777A-4469-987E-B21E99E57CC9}" dt="2021-04-13T14:42:02.705" v="6736" actId="11530"/>
          <ac:spMkLst>
            <pc:docMk/>
            <pc:sldMk cId="3217164513" sldId="833"/>
            <ac:spMk id="44" creationId="{6C0F3FDB-9047-4906-9E63-DCEE0779FD77}"/>
          </ac:spMkLst>
        </pc:spChg>
        <pc:spChg chg="mod">
          <ac:chgData name="Kisliuk, Adrian (ext)" userId="6e619ce3-2643-4cdf-9a13-b4c269650021" providerId="ADAL" clId="{2F91516B-777A-4469-987E-B21E99E57CC9}" dt="2021-04-13T14:42:02.705" v="6736" actId="11530"/>
          <ac:spMkLst>
            <pc:docMk/>
            <pc:sldMk cId="3217164513" sldId="833"/>
            <ac:spMk id="45" creationId="{DDFF6376-166C-4D27-8D6A-16635BB15179}"/>
          </ac:spMkLst>
        </pc:spChg>
        <pc:spChg chg="mod">
          <ac:chgData name="Kisliuk, Adrian (ext)" userId="6e619ce3-2643-4cdf-9a13-b4c269650021" providerId="ADAL" clId="{2F91516B-777A-4469-987E-B21E99E57CC9}" dt="2021-04-13T14:42:02.705" v="6736" actId="11530"/>
          <ac:spMkLst>
            <pc:docMk/>
            <pc:sldMk cId="3217164513" sldId="833"/>
            <ac:spMk id="59" creationId="{C4ED78C6-0F2E-476B-9A02-F42B53222EA6}"/>
          </ac:spMkLst>
        </pc:spChg>
        <pc:spChg chg="mod">
          <ac:chgData name="Kisliuk, Adrian (ext)" userId="6e619ce3-2643-4cdf-9a13-b4c269650021" providerId="ADAL" clId="{2F91516B-777A-4469-987E-B21E99E57CC9}" dt="2021-04-13T14:42:02.705" v="6736" actId="11530"/>
          <ac:spMkLst>
            <pc:docMk/>
            <pc:sldMk cId="3217164513" sldId="833"/>
            <ac:spMk id="69" creationId="{0B5DCB8A-087B-4670-9212-F2E3FEC89102}"/>
          </ac:spMkLst>
        </pc:spChg>
        <pc:spChg chg="mod">
          <ac:chgData name="Kisliuk, Adrian (ext)" userId="6e619ce3-2643-4cdf-9a13-b4c269650021" providerId="ADAL" clId="{2F91516B-777A-4469-987E-B21E99E57CC9}" dt="2021-04-13T14:42:02.705" v="6736" actId="11530"/>
          <ac:spMkLst>
            <pc:docMk/>
            <pc:sldMk cId="3217164513" sldId="833"/>
            <ac:spMk id="70" creationId="{A6E85F34-F3FF-45FB-8F43-6E829CE9DD65}"/>
          </ac:spMkLst>
        </pc:spChg>
        <pc:spChg chg="mod">
          <ac:chgData name="Kisliuk, Adrian (ext)" userId="6e619ce3-2643-4cdf-9a13-b4c269650021" providerId="ADAL" clId="{2F91516B-777A-4469-987E-B21E99E57CC9}" dt="2021-04-13T14:42:02.705" v="6736" actId="11530"/>
          <ac:spMkLst>
            <pc:docMk/>
            <pc:sldMk cId="3217164513" sldId="833"/>
            <ac:spMk id="71" creationId="{4B62EC6E-0E3B-4D8A-A332-428F7C77471E}"/>
          </ac:spMkLst>
        </pc:spChg>
        <pc:spChg chg="mod">
          <ac:chgData name="Kisliuk, Adrian (ext)" userId="6e619ce3-2643-4cdf-9a13-b4c269650021" providerId="ADAL" clId="{2F91516B-777A-4469-987E-B21E99E57CC9}" dt="2021-04-13T14:42:02.705" v="6736" actId="11530"/>
          <ac:spMkLst>
            <pc:docMk/>
            <pc:sldMk cId="3217164513" sldId="833"/>
            <ac:spMk id="72" creationId="{F387C8CF-50CE-4F74-8615-0F336D3BC11D}"/>
          </ac:spMkLst>
        </pc:spChg>
        <pc:spChg chg="mod">
          <ac:chgData name="Kisliuk, Adrian (ext)" userId="6e619ce3-2643-4cdf-9a13-b4c269650021" providerId="ADAL" clId="{2F91516B-777A-4469-987E-B21E99E57CC9}" dt="2021-04-13T14:42:02.705" v="6736" actId="11530"/>
          <ac:spMkLst>
            <pc:docMk/>
            <pc:sldMk cId="3217164513" sldId="833"/>
            <ac:spMk id="73" creationId="{E078C03A-75D8-40C1-BCF7-FDEEABC87E83}"/>
          </ac:spMkLst>
        </pc:spChg>
        <pc:spChg chg="mod">
          <ac:chgData name="Kisliuk, Adrian (ext)" userId="6e619ce3-2643-4cdf-9a13-b4c269650021" providerId="ADAL" clId="{2F91516B-777A-4469-987E-B21E99E57CC9}" dt="2021-04-13T14:42:02.705" v="6736" actId="11530"/>
          <ac:spMkLst>
            <pc:docMk/>
            <pc:sldMk cId="3217164513" sldId="833"/>
            <ac:spMk id="80" creationId="{F7C31C21-A9CE-4A5C-BE0D-C82F7ABAB293}"/>
          </ac:spMkLst>
        </pc:spChg>
        <pc:spChg chg="mod">
          <ac:chgData name="Kisliuk, Adrian (ext)" userId="6e619ce3-2643-4cdf-9a13-b4c269650021" providerId="ADAL" clId="{2F91516B-777A-4469-987E-B21E99E57CC9}" dt="2021-04-13T14:42:02.705" v="6736" actId="11530"/>
          <ac:spMkLst>
            <pc:docMk/>
            <pc:sldMk cId="3217164513" sldId="833"/>
            <ac:spMk id="81" creationId="{5F4D3579-ADF4-42A4-A94F-8E1F8B62510B}"/>
          </ac:spMkLst>
        </pc:spChg>
        <pc:spChg chg="mod">
          <ac:chgData name="Kisliuk, Adrian (ext)" userId="6e619ce3-2643-4cdf-9a13-b4c269650021" providerId="ADAL" clId="{2F91516B-777A-4469-987E-B21E99E57CC9}" dt="2021-04-13T14:42:02.705" v="6736" actId="11530"/>
          <ac:spMkLst>
            <pc:docMk/>
            <pc:sldMk cId="3217164513" sldId="833"/>
            <ac:spMk id="82" creationId="{7DFB7BB8-4991-4C5C-87B1-4C1FC01A2439}"/>
          </ac:spMkLst>
        </pc:spChg>
        <pc:spChg chg="mod">
          <ac:chgData name="Kisliuk, Adrian (ext)" userId="6e619ce3-2643-4cdf-9a13-b4c269650021" providerId="ADAL" clId="{2F91516B-777A-4469-987E-B21E99E57CC9}" dt="2021-04-13T14:42:02.705" v="6736" actId="11530"/>
          <ac:spMkLst>
            <pc:docMk/>
            <pc:sldMk cId="3217164513" sldId="833"/>
            <ac:spMk id="90" creationId="{3030FB26-5D29-4D7A-B8F1-B81F4F0B157A}"/>
          </ac:spMkLst>
        </pc:spChg>
      </pc:sldChg>
      <pc:sldChg chg="del">
        <pc:chgData name="Kisliuk, Adrian (ext)" userId="6e619ce3-2643-4cdf-9a13-b4c269650021" providerId="ADAL" clId="{2F91516B-777A-4469-987E-B21E99E57CC9}" dt="2021-04-13T14:28:41.570" v="6508" actId="47"/>
        <pc:sldMkLst>
          <pc:docMk/>
          <pc:sldMk cId="3131407806" sldId="845"/>
        </pc:sldMkLst>
      </pc:sldChg>
      <pc:sldChg chg="del">
        <pc:chgData name="Kisliuk, Adrian (ext)" userId="6e619ce3-2643-4cdf-9a13-b4c269650021" providerId="ADAL" clId="{2F91516B-777A-4469-987E-B21E99E57CC9}" dt="2021-04-13T14:28:41.570" v="6508" actId="47"/>
        <pc:sldMkLst>
          <pc:docMk/>
          <pc:sldMk cId="851236108" sldId="846"/>
        </pc:sldMkLst>
      </pc:sldChg>
      <pc:sldChg chg="del">
        <pc:chgData name="Kisliuk, Adrian (ext)" userId="6e619ce3-2643-4cdf-9a13-b4c269650021" providerId="ADAL" clId="{2F91516B-777A-4469-987E-B21E99E57CC9}" dt="2021-04-13T14:28:41.570" v="6508" actId="47"/>
        <pc:sldMkLst>
          <pc:docMk/>
          <pc:sldMk cId="1067639731" sldId="847"/>
        </pc:sldMkLst>
      </pc:sldChg>
      <pc:sldChg chg="del">
        <pc:chgData name="Kisliuk, Adrian (ext)" userId="6e619ce3-2643-4cdf-9a13-b4c269650021" providerId="ADAL" clId="{2F91516B-777A-4469-987E-B21E99E57CC9}" dt="2021-04-13T14:28:41.570" v="6508" actId="47"/>
        <pc:sldMkLst>
          <pc:docMk/>
          <pc:sldMk cId="1129299907" sldId="848"/>
        </pc:sldMkLst>
      </pc:sldChg>
      <pc:sldChg chg="addSp delSp modSp mod">
        <pc:chgData name="Kisliuk, Adrian (ext)" userId="6e619ce3-2643-4cdf-9a13-b4c269650021" providerId="ADAL" clId="{2F91516B-777A-4469-987E-B21E99E57CC9}" dt="2021-04-13T14:56:20.073" v="6929"/>
        <pc:sldMkLst>
          <pc:docMk/>
          <pc:sldMk cId="1627132099" sldId="849"/>
        </pc:sldMkLst>
        <pc:spChg chg="add del mod">
          <ac:chgData name="Kisliuk, Adrian (ext)" userId="6e619ce3-2643-4cdf-9a13-b4c269650021" providerId="ADAL" clId="{2F91516B-777A-4469-987E-B21E99E57CC9}" dt="2021-04-13T14:56:20.073" v="6929"/>
          <ac:spMkLst>
            <pc:docMk/>
            <pc:sldMk cId="1627132099" sldId="849"/>
            <ac:spMk id="12" creationId="{FA668339-11C2-42BA-BED6-C09531CA738B}"/>
          </ac:spMkLst>
        </pc:spChg>
        <pc:spChg chg="mod">
          <ac:chgData name="Kisliuk, Adrian (ext)" userId="6e619ce3-2643-4cdf-9a13-b4c269650021" providerId="ADAL" clId="{2F91516B-777A-4469-987E-B21E99E57CC9}" dt="2021-04-12T21:29:16.188" v="4309" actId="114"/>
          <ac:spMkLst>
            <pc:docMk/>
            <pc:sldMk cId="1627132099" sldId="849"/>
            <ac:spMk id="41" creationId="{E93AE095-6BBA-4A81-A7A1-FFD7B8304500}"/>
          </ac:spMkLst>
        </pc:spChg>
        <pc:spChg chg="mod">
          <ac:chgData name="Kisliuk, Adrian (ext)" userId="6e619ce3-2643-4cdf-9a13-b4c269650021" providerId="ADAL" clId="{2F91516B-777A-4469-987E-B21E99E57CC9}" dt="2021-04-13T14:46:27.207" v="6760" actId="1076"/>
          <ac:spMkLst>
            <pc:docMk/>
            <pc:sldMk cId="1627132099" sldId="849"/>
            <ac:spMk id="44" creationId="{5BE3AE2B-4A0E-4204-B25A-B404EC4FDDA8}"/>
          </ac:spMkLst>
        </pc:spChg>
        <pc:picChg chg="del mod">
          <ac:chgData name="Kisliuk, Adrian (ext)" userId="6e619ce3-2643-4cdf-9a13-b4c269650021" providerId="ADAL" clId="{2F91516B-777A-4469-987E-B21E99E57CC9}" dt="2021-04-13T14:44:59.917" v="6744" actId="478"/>
          <ac:picMkLst>
            <pc:docMk/>
            <pc:sldMk cId="1627132099" sldId="849"/>
            <ac:picMk id="5" creationId="{399BAB72-161B-4538-86A9-083786AB9CE3}"/>
          </ac:picMkLst>
        </pc:picChg>
        <pc:picChg chg="add del mod">
          <ac:chgData name="Kisliuk, Adrian (ext)" userId="6e619ce3-2643-4cdf-9a13-b4c269650021" providerId="ADAL" clId="{2F91516B-777A-4469-987E-B21E99E57CC9}" dt="2021-04-13T14:46:05.803" v="6755" actId="478"/>
          <ac:picMkLst>
            <pc:docMk/>
            <pc:sldMk cId="1627132099" sldId="849"/>
            <ac:picMk id="8" creationId="{43E78A5D-2995-4802-8455-0DE4FE075AC0}"/>
          </ac:picMkLst>
        </pc:picChg>
        <pc:picChg chg="add del mod">
          <ac:chgData name="Kisliuk, Adrian (ext)" userId="6e619ce3-2643-4cdf-9a13-b4c269650021" providerId="ADAL" clId="{2F91516B-777A-4469-987E-B21E99E57CC9}" dt="2021-04-13T14:55:39.451" v="6869" actId="21"/>
          <ac:picMkLst>
            <pc:docMk/>
            <pc:sldMk cId="1627132099" sldId="849"/>
            <ac:picMk id="10" creationId="{510FC355-F626-482B-B4E4-80308B774650}"/>
          </ac:picMkLst>
        </pc:picChg>
        <pc:cxnChg chg="add del mod">
          <ac:chgData name="Kisliuk, Adrian (ext)" userId="6e619ce3-2643-4cdf-9a13-b4c269650021" providerId="ADAL" clId="{2F91516B-777A-4469-987E-B21E99E57CC9}" dt="2021-04-13T14:45:28.389" v="6748" actId="478"/>
          <ac:cxnSpMkLst>
            <pc:docMk/>
            <pc:sldMk cId="1627132099" sldId="849"/>
            <ac:cxnSpMk id="9" creationId="{25838499-F2E6-4636-B2D9-A53B45E4DE67}"/>
          </ac:cxnSpMkLst>
        </pc:cxnChg>
        <pc:cxnChg chg="add del mod">
          <ac:chgData name="Kisliuk, Adrian (ext)" userId="6e619ce3-2643-4cdf-9a13-b4c269650021" providerId="ADAL" clId="{2F91516B-777A-4469-987E-B21E99E57CC9}" dt="2021-04-13T14:49:46.006" v="6797"/>
          <ac:cxnSpMkLst>
            <pc:docMk/>
            <pc:sldMk cId="1627132099" sldId="849"/>
            <ac:cxnSpMk id="11" creationId="{139611CB-C5AE-487F-8F45-8065BC30EF6C}"/>
          </ac:cxnSpMkLst>
        </pc:cxnChg>
      </pc:sldChg>
      <pc:sldChg chg="addSp delSp modSp mod">
        <pc:chgData name="Kisliuk, Adrian (ext)" userId="6e619ce3-2643-4cdf-9a13-b4c269650021" providerId="ADAL" clId="{2F91516B-777A-4469-987E-B21E99E57CC9}" dt="2021-04-13T18:34:46.464" v="7045" actId="1076"/>
        <pc:sldMkLst>
          <pc:docMk/>
          <pc:sldMk cId="3424724315" sldId="850"/>
        </pc:sldMkLst>
        <pc:spChg chg="add del mod">
          <ac:chgData name="Kisliuk, Adrian (ext)" userId="6e619ce3-2643-4cdf-9a13-b4c269650021" providerId="ADAL" clId="{2F91516B-777A-4469-987E-B21E99E57CC9}" dt="2021-04-13T14:13:05.292" v="6389" actId="478"/>
          <ac:spMkLst>
            <pc:docMk/>
            <pc:sldMk cId="3424724315" sldId="850"/>
            <ac:spMk id="8" creationId="{BDDA33B9-7583-493B-91F6-E40E6441CF88}"/>
          </ac:spMkLst>
        </pc:spChg>
        <pc:spChg chg="mod">
          <ac:chgData name="Kisliuk, Adrian (ext)" userId="6e619ce3-2643-4cdf-9a13-b4c269650021" providerId="ADAL" clId="{2F91516B-777A-4469-987E-B21E99E57CC9}" dt="2021-04-13T18:34:46.464" v="7045" actId="1076"/>
          <ac:spMkLst>
            <pc:docMk/>
            <pc:sldMk cId="3424724315" sldId="850"/>
            <ac:spMk id="26" creationId="{CE1C3E13-AF8F-4301-B411-986CE84A3DD5}"/>
          </ac:spMkLst>
        </pc:spChg>
        <pc:cxnChg chg="add mod">
          <ac:chgData name="Kisliuk, Adrian (ext)" userId="6e619ce3-2643-4cdf-9a13-b4c269650021" providerId="ADAL" clId="{2F91516B-777A-4469-987E-B21E99E57CC9}" dt="2021-04-13T14:13:46.445" v="6406" actId="1036"/>
          <ac:cxnSpMkLst>
            <pc:docMk/>
            <pc:sldMk cId="3424724315" sldId="850"/>
            <ac:cxnSpMk id="9" creationId="{3DD83A66-4A24-4AF3-93FD-17C43013DBFE}"/>
          </ac:cxnSpMkLst>
        </pc:cxnChg>
        <pc:cxnChg chg="del">
          <ac:chgData name="Kisliuk, Adrian (ext)" userId="6e619ce3-2643-4cdf-9a13-b4c269650021" providerId="ADAL" clId="{2F91516B-777A-4469-987E-B21E99E57CC9}" dt="2021-04-13T14:13:21.819" v="6391" actId="478"/>
          <ac:cxnSpMkLst>
            <pc:docMk/>
            <pc:sldMk cId="3424724315" sldId="850"/>
            <ac:cxnSpMk id="12" creationId="{B9C97427-D5FD-46D0-AA98-AE1D9BFFC619}"/>
          </ac:cxnSpMkLst>
        </pc:cxnChg>
      </pc:sldChg>
      <pc:sldChg chg="addSp delSp modSp mod">
        <pc:chgData name="Kisliuk, Adrian (ext)" userId="6e619ce3-2643-4cdf-9a13-b4c269650021" providerId="ADAL" clId="{2F91516B-777A-4469-987E-B21E99E57CC9}" dt="2021-04-13T14:13:49.709" v="6408"/>
        <pc:sldMkLst>
          <pc:docMk/>
          <pc:sldMk cId="530366835" sldId="851"/>
        </pc:sldMkLst>
        <pc:cxnChg chg="add del mod">
          <ac:chgData name="Kisliuk, Adrian (ext)" userId="6e619ce3-2643-4cdf-9a13-b4c269650021" providerId="ADAL" clId="{2F91516B-777A-4469-987E-B21E99E57CC9}" dt="2021-04-12T14:51:44.322" v="1042"/>
          <ac:cxnSpMkLst>
            <pc:docMk/>
            <pc:sldMk cId="530366835" sldId="851"/>
            <ac:cxnSpMk id="8" creationId="{3D867E03-8B41-4A27-BEFB-C553DAE86E9A}"/>
          </ac:cxnSpMkLst>
        </pc:cxnChg>
        <pc:cxnChg chg="add mod">
          <ac:chgData name="Kisliuk, Adrian (ext)" userId="6e619ce3-2643-4cdf-9a13-b4c269650021" providerId="ADAL" clId="{2F91516B-777A-4469-987E-B21E99E57CC9}" dt="2021-04-13T14:13:49.709" v="6408"/>
          <ac:cxnSpMkLst>
            <pc:docMk/>
            <pc:sldMk cId="530366835" sldId="851"/>
            <ac:cxnSpMk id="8" creationId="{8D27728E-6CD8-4716-A340-2B1687F90AE7}"/>
          </ac:cxnSpMkLst>
        </pc:cxnChg>
        <pc:cxnChg chg="del">
          <ac:chgData name="Kisliuk, Adrian (ext)" userId="6e619ce3-2643-4cdf-9a13-b4c269650021" providerId="ADAL" clId="{2F91516B-777A-4469-987E-B21E99E57CC9}" dt="2021-04-13T14:13:49.325" v="6407" actId="478"/>
          <ac:cxnSpMkLst>
            <pc:docMk/>
            <pc:sldMk cId="530366835" sldId="851"/>
            <ac:cxnSpMk id="12" creationId="{B9C97427-D5FD-46D0-AA98-AE1D9BFFC619}"/>
          </ac:cxnSpMkLst>
        </pc:cxnChg>
      </pc:sldChg>
      <pc:sldChg chg="addSp delSp modSp mod">
        <pc:chgData name="Kisliuk, Adrian (ext)" userId="6e619ce3-2643-4cdf-9a13-b4c269650021" providerId="ADAL" clId="{2F91516B-777A-4469-987E-B21E99E57CC9}" dt="2021-04-13T14:56:02.438" v="6927" actId="478"/>
        <pc:sldMkLst>
          <pc:docMk/>
          <pc:sldMk cId="408860177" sldId="852"/>
        </pc:sldMkLst>
        <pc:spChg chg="mod ord">
          <ac:chgData name="Kisliuk, Adrian (ext)" userId="6e619ce3-2643-4cdf-9a13-b4c269650021" providerId="ADAL" clId="{2F91516B-777A-4469-987E-B21E99E57CC9}" dt="2021-04-13T14:55:47.205" v="6914"/>
          <ac:spMkLst>
            <pc:docMk/>
            <pc:sldMk cId="408860177" sldId="852"/>
            <ac:spMk id="2" creationId="{C11920DB-DB27-4D35-BC7B-E98157E38E05}"/>
          </ac:spMkLst>
        </pc:spChg>
        <pc:spChg chg="add del mod ord modVis">
          <ac:chgData name="Kisliuk, Adrian (ext)" userId="6e619ce3-2643-4cdf-9a13-b4c269650021" providerId="ADAL" clId="{2F91516B-777A-4469-987E-B21E99E57CC9}" dt="2021-04-13T14:55:47.207" v="6924"/>
          <ac:spMkLst>
            <pc:docMk/>
            <pc:sldMk cId="408860177" sldId="852"/>
            <ac:spMk id="3" creationId="{9971A67F-E24C-4C6C-ADD9-0A6122FF08D7}"/>
          </ac:spMkLst>
        </pc:spChg>
        <pc:spChg chg="mod ord">
          <ac:chgData name="Kisliuk, Adrian (ext)" userId="6e619ce3-2643-4cdf-9a13-b4c269650021" providerId="ADAL" clId="{2F91516B-777A-4469-987E-B21E99E57CC9}" dt="2021-04-13T14:55:47.205" v="6916"/>
          <ac:spMkLst>
            <pc:docMk/>
            <pc:sldMk cId="408860177" sldId="852"/>
            <ac:spMk id="4" creationId="{00000000-0000-0000-0000-000000000000}"/>
          </ac:spMkLst>
        </pc:spChg>
        <pc:spChg chg="add del mod">
          <ac:chgData name="Kisliuk, Adrian (ext)" userId="6e619ce3-2643-4cdf-9a13-b4c269650021" providerId="ADAL" clId="{2F91516B-777A-4469-987E-B21E99E57CC9}" dt="2021-04-13T14:14:06.950" v="6412"/>
          <ac:spMkLst>
            <pc:docMk/>
            <pc:sldMk cId="408860177" sldId="852"/>
            <ac:spMk id="9" creationId="{95B3B07E-A79A-4479-A19D-4F05512080E5}"/>
          </ac:spMkLst>
        </pc:spChg>
        <pc:spChg chg="mod ord">
          <ac:chgData name="Kisliuk, Adrian (ext)" userId="6e619ce3-2643-4cdf-9a13-b4c269650021" providerId="ADAL" clId="{2F91516B-777A-4469-987E-B21E99E57CC9}" dt="2021-04-13T14:55:47.206" v="6918"/>
          <ac:spMkLst>
            <pc:docMk/>
            <pc:sldMk cId="408860177" sldId="852"/>
            <ac:spMk id="11" creationId="{4F40012B-730E-4563-9DD9-41229AD9971E}"/>
          </ac:spMkLst>
        </pc:spChg>
        <pc:spChg chg="add del mod ord">
          <ac:chgData name="Kisliuk, Adrian (ext)" userId="6e619ce3-2643-4cdf-9a13-b4c269650021" providerId="ADAL" clId="{2F91516B-777A-4469-987E-B21E99E57CC9}" dt="2021-04-13T14:55:47.206" v="6920"/>
          <ac:spMkLst>
            <pc:docMk/>
            <pc:sldMk cId="408860177" sldId="852"/>
            <ac:spMk id="13" creationId="{73821551-7EF5-4C59-9DF7-6839525ACB76}"/>
          </ac:spMkLst>
        </pc:spChg>
        <pc:graphicFrameChg chg="mod ord">
          <ac:chgData name="Kisliuk, Adrian (ext)" userId="6e619ce3-2643-4cdf-9a13-b4c269650021" providerId="ADAL" clId="{2F91516B-777A-4469-987E-B21E99E57CC9}" dt="2021-04-13T14:55:47.223" v="6926"/>
          <ac:graphicFrameMkLst>
            <pc:docMk/>
            <pc:sldMk cId="408860177" sldId="852"/>
            <ac:graphicFrameMk id="6" creationId="{4828E88A-D5C2-4929-A058-2CC608F5A67D}"/>
          </ac:graphicFrameMkLst>
        </pc:graphicFrameChg>
        <pc:picChg chg="add del mod">
          <ac:chgData name="Kisliuk, Adrian (ext)" userId="6e619ce3-2643-4cdf-9a13-b4c269650021" providerId="ADAL" clId="{2F91516B-777A-4469-987E-B21E99E57CC9}" dt="2021-04-13T14:45:07.858" v="6746" actId="478"/>
          <ac:picMkLst>
            <pc:docMk/>
            <pc:sldMk cId="408860177" sldId="852"/>
            <ac:picMk id="9" creationId="{59DE4574-E679-404D-A270-6C57B842189A}"/>
          </ac:picMkLst>
        </pc:picChg>
        <pc:picChg chg="add del mod">
          <ac:chgData name="Kisliuk, Adrian (ext)" userId="6e619ce3-2643-4cdf-9a13-b4c269650021" providerId="ADAL" clId="{2F91516B-777A-4469-987E-B21E99E57CC9}" dt="2021-04-13T14:46:18.611" v="6759" actId="478"/>
          <ac:picMkLst>
            <pc:docMk/>
            <pc:sldMk cId="408860177" sldId="852"/>
            <ac:picMk id="10" creationId="{9D12E892-2A63-4605-8F79-DE8F726284CD}"/>
          </ac:picMkLst>
        </pc:picChg>
        <pc:picChg chg="add del mod ord">
          <ac:chgData name="Kisliuk, Adrian (ext)" userId="6e619ce3-2643-4cdf-9a13-b4c269650021" providerId="ADAL" clId="{2F91516B-777A-4469-987E-B21E99E57CC9}" dt="2021-04-13T14:56:02.438" v="6927" actId="478"/>
          <ac:picMkLst>
            <pc:docMk/>
            <pc:sldMk cId="408860177" sldId="852"/>
            <ac:picMk id="12" creationId="{11EC3743-A2FE-4213-A705-FEDB4BE9FE82}"/>
          </ac:picMkLst>
        </pc:picChg>
        <pc:cxnChg chg="add mod ord">
          <ac:chgData name="Kisliuk, Adrian (ext)" userId="6e619ce3-2643-4cdf-9a13-b4c269650021" providerId="ADAL" clId="{2F91516B-777A-4469-987E-B21E99E57CC9}" dt="2021-04-13T14:55:47.207" v="6922"/>
          <ac:cxnSpMkLst>
            <pc:docMk/>
            <pc:sldMk cId="408860177" sldId="852"/>
            <ac:cxnSpMk id="8" creationId="{4AC5AF5E-11B6-4764-A9BE-CD94962D63BD}"/>
          </ac:cxnSpMkLst>
        </pc:cxnChg>
        <pc:cxnChg chg="del">
          <ac:chgData name="Kisliuk, Adrian (ext)" userId="6e619ce3-2643-4cdf-9a13-b4c269650021" providerId="ADAL" clId="{2F91516B-777A-4469-987E-B21E99E57CC9}" dt="2021-04-13T14:13:55.714" v="6409" actId="478"/>
          <ac:cxnSpMkLst>
            <pc:docMk/>
            <pc:sldMk cId="408860177" sldId="852"/>
            <ac:cxnSpMk id="10" creationId="{B3BB365F-3A8D-47B6-8C63-8B2E4FF522BE}"/>
          </ac:cxnSpMkLst>
        </pc:cxnChg>
      </pc:sldChg>
      <pc:sldChg chg="addSp delSp modSp mod">
        <pc:chgData name="Kisliuk, Adrian (ext)" userId="6e619ce3-2643-4cdf-9a13-b4c269650021" providerId="ADAL" clId="{2F91516B-777A-4469-987E-B21E99E57CC9}" dt="2021-04-13T18:33:04.613" v="7041" actId="1076"/>
        <pc:sldMkLst>
          <pc:docMk/>
          <pc:sldMk cId="2552030312" sldId="854"/>
        </pc:sldMkLst>
        <pc:spChg chg="mod">
          <ac:chgData name="Kisliuk, Adrian (ext)" userId="6e619ce3-2643-4cdf-9a13-b4c269650021" providerId="ADAL" clId="{2F91516B-777A-4469-987E-B21E99E57CC9}" dt="2021-04-12T16:19:14.951" v="3281" actId="948"/>
          <ac:spMkLst>
            <pc:docMk/>
            <pc:sldMk cId="2552030312" sldId="854"/>
            <ac:spMk id="2" creationId="{DE936FAF-2E76-49E3-A26B-EE542092B6EF}"/>
          </ac:spMkLst>
        </pc:spChg>
        <pc:spChg chg="add del mod modVis">
          <ac:chgData name="Kisliuk, Adrian (ext)" userId="6e619ce3-2643-4cdf-9a13-b4c269650021" providerId="ADAL" clId="{2F91516B-777A-4469-987E-B21E99E57CC9}" dt="2021-04-12T16:19:13.918" v="3276"/>
          <ac:spMkLst>
            <pc:docMk/>
            <pc:sldMk cId="2552030312" sldId="854"/>
            <ac:spMk id="3" creationId="{962EC18A-2990-45D3-9996-40DE6199F75D}"/>
          </ac:spMkLst>
        </pc:spChg>
        <pc:spChg chg="add del mod modVis">
          <ac:chgData name="Kisliuk, Adrian (ext)" userId="6e619ce3-2643-4cdf-9a13-b4c269650021" providerId="ADAL" clId="{2F91516B-777A-4469-987E-B21E99E57CC9}" dt="2021-04-12T16:19:14.976" v="3318"/>
          <ac:spMkLst>
            <pc:docMk/>
            <pc:sldMk cId="2552030312" sldId="854"/>
            <ac:spMk id="5" creationId="{BBFE6384-F091-403A-A3B9-BC0170B63110}"/>
          </ac:spMkLst>
        </pc:spChg>
        <pc:spChg chg="mod">
          <ac:chgData name="Kisliuk, Adrian (ext)" userId="6e619ce3-2643-4cdf-9a13-b4c269650021" providerId="ADAL" clId="{2F91516B-777A-4469-987E-B21E99E57CC9}" dt="2021-04-13T18:32:59.568" v="7040" actId="1076"/>
          <ac:spMkLst>
            <pc:docMk/>
            <pc:sldMk cId="2552030312" sldId="854"/>
            <ac:spMk id="8" creationId="{B6B871D8-C132-479D-8579-2FE6462D86E3}"/>
          </ac:spMkLst>
        </pc:spChg>
        <pc:spChg chg="mod">
          <ac:chgData name="Kisliuk, Adrian (ext)" userId="6e619ce3-2643-4cdf-9a13-b4c269650021" providerId="ADAL" clId="{2F91516B-777A-4469-987E-B21E99E57CC9}" dt="2021-04-13T18:32:50.473" v="7039" actId="1076"/>
          <ac:spMkLst>
            <pc:docMk/>
            <pc:sldMk cId="2552030312" sldId="854"/>
            <ac:spMk id="9" creationId="{C964F4FF-7D56-466B-A1EC-110646CC99CD}"/>
          </ac:spMkLst>
        </pc:spChg>
        <pc:spChg chg="mod">
          <ac:chgData name="Kisliuk, Adrian (ext)" userId="6e619ce3-2643-4cdf-9a13-b4c269650021" providerId="ADAL" clId="{2F91516B-777A-4469-987E-B21E99E57CC9}" dt="2021-04-13T18:33:04.613" v="7041" actId="1076"/>
          <ac:spMkLst>
            <pc:docMk/>
            <pc:sldMk cId="2552030312" sldId="854"/>
            <ac:spMk id="10" creationId="{B7926D57-2347-40FA-8399-D501F67CB29D}"/>
          </ac:spMkLst>
        </pc:spChg>
        <pc:spChg chg="add mod">
          <ac:chgData name="Kisliuk, Adrian (ext)" userId="6e619ce3-2643-4cdf-9a13-b4c269650021" providerId="ADAL" clId="{2F91516B-777A-4469-987E-B21E99E57CC9}" dt="2021-04-13T14:46:49.497" v="6762" actId="571"/>
          <ac:spMkLst>
            <pc:docMk/>
            <pc:sldMk cId="2552030312" sldId="854"/>
            <ac:spMk id="11" creationId="{7A601CAE-86CF-4BF5-B178-1E5B8A32635C}"/>
          </ac:spMkLst>
        </pc:spChg>
        <pc:spChg chg="del">
          <ac:chgData name="Kisliuk, Adrian (ext)" userId="6e619ce3-2643-4cdf-9a13-b4c269650021" providerId="ADAL" clId="{2F91516B-777A-4469-987E-B21E99E57CC9}" dt="2021-04-13T13:37:37.451" v="6092" actId="478"/>
          <ac:spMkLst>
            <pc:docMk/>
            <pc:sldMk cId="2552030312" sldId="854"/>
            <ac:spMk id="12" creationId="{662D00B7-5296-455B-B25E-D3F826783A9C}"/>
          </ac:spMkLst>
        </pc:spChg>
        <pc:spChg chg="del mod">
          <ac:chgData name="Kisliuk, Adrian (ext)" userId="6e619ce3-2643-4cdf-9a13-b4c269650021" providerId="ADAL" clId="{2F91516B-777A-4469-987E-B21E99E57CC9}" dt="2021-04-13T18:32:40.096" v="7038" actId="478"/>
          <ac:spMkLst>
            <pc:docMk/>
            <pc:sldMk cId="2552030312" sldId="854"/>
            <ac:spMk id="13" creationId="{3043B1C5-4A96-41FC-93F9-B73808B192DC}"/>
          </ac:spMkLst>
        </pc:spChg>
        <pc:graphicFrameChg chg="mod">
          <ac:chgData name="Kisliuk, Adrian (ext)" userId="6e619ce3-2643-4cdf-9a13-b4c269650021" providerId="ADAL" clId="{2F91516B-777A-4469-987E-B21E99E57CC9}" dt="2021-04-12T16:19:14.977" v="3320"/>
          <ac:graphicFrameMkLst>
            <pc:docMk/>
            <pc:sldMk cId="2552030312" sldId="854"/>
            <ac:graphicFrameMk id="6" creationId="{580DFCAE-76C4-413B-B499-F7B76F1E13AF}"/>
          </ac:graphicFrameMkLst>
        </pc:graphicFrameChg>
      </pc:sldChg>
      <pc:sldChg chg="addSp delSp modSp add del mod modTransition modShow">
        <pc:chgData name="Kisliuk, Adrian (ext)" userId="6e619ce3-2643-4cdf-9a13-b4c269650021" providerId="ADAL" clId="{2F91516B-777A-4469-987E-B21E99E57CC9}" dt="2021-04-13T14:28:26.342" v="6507" actId="47"/>
        <pc:sldMkLst>
          <pc:docMk/>
          <pc:sldMk cId="26788742" sldId="855"/>
        </pc:sldMkLst>
        <pc:spChg chg="mod">
          <ac:chgData name="Kisliuk, Adrian (ext)" userId="6e619ce3-2643-4cdf-9a13-b4c269650021" providerId="ADAL" clId="{2F91516B-777A-4469-987E-B21E99E57CC9}" dt="2021-04-12T14:00:46.386" v="220" actId="948"/>
          <ac:spMkLst>
            <pc:docMk/>
            <pc:sldMk cId="26788742" sldId="855"/>
            <ac:spMk id="2" creationId="{DE936FAF-2E76-49E3-A26B-EE542092B6EF}"/>
          </ac:spMkLst>
        </pc:spChg>
        <pc:spChg chg="add del mod modVis">
          <ac:chgData name="Kisliuk, Adrian (ext)" userId="6e619ce3-2643-4cdf-9a13-b4c269650021" providerId="ADAL" clId="{2F91516B-777A-4469-987E-B21E99E57CC9}" dt="2021-04-12T14:00:35.718" v="47"/>
          <ac:spMkLst>
            <pc:docMk/>
            <pc:sldMk cId="26788742" sldId="855"/>
            <ac:spMk id="3" creationId="{C62743D8-E301-4BFA-BB99-6A094A4829F1}"/>
          </ac:spMkLst>
        </pc:spChg>
        <pc:spChg chg="add del mod modVis">
          <ac:chgData name="Kisliuk, Adrian (ext)" userId="6e619ce3-2643-4cdf-9a13-b4c269650021" providerId="ADAL" clId="{2F91516B-777A-4469-987E-B21E99E57CC9}" dt="2021-04-12T14:00:36.351" v="88"/>
          <ac:spMkLst>
            <pc:docMk/>
            <pc:sldMk cId="26788742" sldId="855"/>
            <ac:spMk id="7" creationId="{9EFA4A87-B2E8-41CF-A7B1-A4624CF6CD02}"/>
          </ac:spMkLst>
        </pc:spChg>
        <pc:spChg chg="add del mod modVis">
          <ac:chgData name="Kisliuk, Adrian (ext)" userId="6e619ce3-2643-4cdf-9a13-b4c269650021" providerId="ADAL" clId="{2F91516B-777A-4469-987E-B21E99E57CC9}" dt="2021-04-12T14:00:39.038" v="131"/>
          <ac:spMkLst>
            <pc:docMk/>
            <pc:sldMk cId="26788742" sldId="855"/>
            <ac:spMk id="8" creationId="{D8BBC5E3-8E99-4AB7-A81F-03D15227F1DD}"/>
          </ac:spMkLst>
        </pc:spChg>
        <pc:spChg chg="add del mod modVis">
          <ac:chgData name="Kisliuk, Adrian (ext)" userId="6e619ce3-2643-4cdf-9a13-b4c269650021" providerId="ADAL" clId="{2F91516B-777A-4469-987E-B21E99E57CC9}" dt="2021-04-12T14:00:39.984" v="175"/>
          <ac:spMkLst>
            <pc:docMk/>
            <pc:sldMk cId="26788742" sldId="855"/>
            <ac:spMk id="9" creationId="{7C7C743D-48D2-42E1-8F7B-E9238163ACD0}"/>
          </ac:spMkLst>
        </pc:spChg>
        <pc:spChg chg="add del mod modVis">
          <ac:chgData name="Kisliuk, Adrian (ext)" userId="6e619ce3-2643-4cdf-9a13-b4c269650021" providerId="ADAL" clId="{2F91516B-777A-4469-987E-B21E99E57CC9}" dt="2021-04-12T14:00:43.139" v="216"/>
          <ac:spMkLst>
            <pc:docMk/>
            <pc:sldMk cId="26788742" sldId="855"/>
            <ac:spMk id="10" creationId="{EC0CEB84-7B8D-4D6B-B5AB-0E5136F5A8BF}"/>
          </ac:spMkLst>
        </pc:spChg>
        <pc:spChg chg="add del mod modVis">
          <ac:chgData name="Kisliuk, Adrian (ext)" userId="6e619ce3-2643-4cdf-9a13-b4c269650021" providerId="ADAL" clId="{2F91516B-777A-4469-987E-B21E99E57CC9}" dt="2021-04-12T14:00:46.429" v="257"/>
          <ac:spMkLst>
            <pc:docMk/>
            <pc:sldMk cId="26788742" sldId="855"/>
            <ac:spMk id="11" creationId="{F8FAEE69-FD0B-456A-A7C5-310928A5E70D}"/>
          </ac:spMkLst>
        </pc:spChg>
        <pc:spChg chg="del">
          <ac:chgData name="Kisliuk, Adrian (ext)" userId="6e619ce3-2643-4cdf-9a13-b4c269650021" providerId="ADAL" clId="{2F91516B-777A-4469-987E-B21E99E57CC9}" dt="2021-04-12T14:00:57.120" v="263" actId="478"/>
          <ac:spMkLst>
            <pc:docMk/>
            <pc:sldMk cId="26788742" sldId="855"/>
            <ac:spMk id="41" creationId="{E93AE095-6BBA-4A81-A7A1-FFD7B8304500}"/>
          </ac:spMkLst>
        </pc:spChg>
        <pc:spChg chg="mod">
          <ac:chgData name="Kisliuk, Adrian (ext)" userId="6e619ce3-2643-4cdf-9a13-b4c269650021" providerId="ADAL" clId="{2F91516B-777A-4469-987E-B21E99E57CC9}" dt="2021-04-12T14:07:14.921" v="361" actId="108"/>
          <ac:spMkLst>
            <pc:docMk/>
            <pc:sldMk cId="26788742" sldId="855"/>
            <ac:spMk id="44" creationId="{5BE3AE2B-4A0E-4204-B25A-B404EC4FDDA8}"/>
          </ac:spMkLst>
        </pc:spChg>
        <pc:graphicFrameChg chg="mod">
          <ac:chgData name="Kisliuk, Adrian (ext)" userId="6e619ce3-2643-4cdf-9a13-b4c269650021" providerId="ADAL" clId="{2F91516B-777A-4469-987E-B21E99E57CC9}" dt="2021-04-13T14:26:26.832" v="6504"/>
          <ac:graphicFrameMkLst>
            <pc:docMk/>
            <pc:sldMk cId="26788742" sldId="855"/>
            <ac:graphicFrameMk id="6" creationId="{580DFCAE-76C4-413B-B499-F7B76F1E13AF}"/>
          </ac:graphicFrameMkLst>
        </pc:graphicFrameChg>
        <pc:picChg chg="del">
          <ac:chgData name="Kisliuk, Adrian (ext)" userId="6e619ce3-2643-4cdf-9a13-b4c269650021" providerId="ADAL" clId="{2F91516B-777A-4469-987E-B21E99E57CC9}" dt="2021-04-12T14:00:47.442" v="260" actId="478"/>
          <ac:picMkLst>
            <pc:docMk/>
            <pc:sldMk cId="26788742" sldId="855"/>
            <ac:picMk id="5" creationId="{399BAB72-161B-4538-86A9-083786AB9CE3}"/>
          </ac:picMkLst>
        </pc:picChg>
      </pc:sldChg>
      <pc:sldChg chg="modSp add del mod modTransition modShow">
        <pc:chgData name="Kisliuk, Adrian (ext)" userId="6e619ce3-2643-4cdf-9a13-b4c269650021" providerId="ADAL" clId="{2F91516B-777A-4469-987E-B21E99E57CC9}" dt="2021-04-13T14:28:26.342" v="6507" actId="47"/>
        <pc:sldMkLst>
          <pc:docMk/>
          <pc:sldMk cId="2356136602" sldId="856"/>
        </pc:sldMkLst>
        <pc:spChg chg="mod">
          <ac:chgData name="Kisliuk, Adrian (ext)" userId="6e619ce3-2643-4cdf-9a13-b4c269650021" providerId="ADAL" clId="{2F91516B-777A-4469-987E-B21E99E57CC9}" dt="2021-04-12T14:08:06.982" v="370" actId="20577"/>
          <ac:spMkLst>
            <pc:docMk/>
            <pc:sldMk cId="2356136602" sldId="856"/>
            <ac:spMk id="44" creationId="{5BE3AE2B-4A0E-4204-B25A-B404EC4FDDA8}"/>
          </ac:spMkLst>
        </pc:spChg>
      </pc:sldChg>
      <pc:sldChg chg="modSp add del mod modTransition modShow">
        <pc:chgData name="Kisliuk, Adrian (ext)" userId="6e619ce3-2643-4cdf-9a13-b4c269650021" providerId="ADAL" clId="{2F91516B-777A-4469-987E-B21E99E57CC9}" dt="2021-04-13T14:28:26.342" v="6507" actId="47"/>
        <pc:sldMkLst>
          <pc:docMk/>
          <pc:sldMk cId="1194993252" sldId="857"/>
        </pc:sldMkLst>
        <pc:spChg chg="mod">
          <ac:chgData name="Kisliuk, Adrian (ext)" userId="6e619ce3-2643-4cdf-9a13-b4c269650021" providerId="ADAL" clId="{2F91516B-777A-4469-987E-B21E99E57CC9}" dt="2021-04-12T14:11:03.013" v="421" actId="20577"/>
          <ac:spMkLst>
            <pc:docMk/>
            <pc:sldMk cId="1194993252" sldId="857"/>
            <ac:spMk id="44" creationId="{5BE3AE2B-4A0E-4204-B25A-B404EC4FDDA8}"/>
          </ac:spMkLst>
        </pc:spChg>
      </pc:sldChg>
      <pc:sldChg chg="modSp add del mod ord modTransition modShow">
        <pc:chgData name="Kisliuk, Adrian (ext)" userId="6e619ce3-2643-4cdf-9a13-b4c269650021" providerId="ADAL" clId="{2F91516B-777A-4469-987E-B21E99E57CC9}" dt="2021-04-13T14:28:26.342" v="6507" actId="47"/>
        <pc:sldMkLst>
          <pc:docMk/>
          <pc:sldMk cId="862925289" sldId="858"/>
        </pc:sldMkLst>
        <pc:graphicFrameChg chg="mod">
          <ac:chgData name="Kisliuk, Adrian (ext)" userId="6e619ce3-2643-4cdf-9a13-b4c269650021" providerId="ADAL" clId="{2F91516B-777A-4469-987E-B21E99E57CC9}" dt="2021-04-13T14:26:26.851" v="6506"/>
          <ac:graphicFrameMkLst>
            <pc:docMk/>
            <pc:sldMk cId="862925289" sldId="858"/>
            <ac:graphicFrameMk id="6" creationId="{580DFCAE-76C4-413B-B499-F7B76F1E13AF}"/>
          </ac:graphicFrameMkLst>
        </pc:graphicFrameChg>
      </pc:sldChg>
      <pc:sldChg chg="modSp add mod ord modTransition modShow">
        <pc:chgData name="Kisliuk, Adrian (ext)" userId="6e619ce3-2643-4cdf-9a13-b4c269650021" providerId="ADAL" clId="{2F91516B-777A-4469-987E-B21E99E57CC9}" dt="2021-04-13T14:25:37.409" v="6500" actId="20577"/>
        <pc:sldMkLst>
          <pc:docMk/>
          <pc:sldMk cId="2088302067" sldId="859"/>
        </pc:sldMkLst>
        <pc:spChg chg="mod">
          <ac:chgData name="Kisliuk, Adrian (ext)" userId="6e619ce3-2643-4cdf-9a13-b4c269650021" providerId="ADAL" clId="{2F91516B-777A-4469-987E-B21E99E57CC9}" dt="2021-04-12T14:10:35.229" v="400" actId="948"/>
          <ac:spMkLst>
            <pc:docMk/>
            <pc:sldMk cId="2088302067" sldId="859"/>
            <ac:spMk id="2" creationId="{DE936FAF-2E76-49E3-A26B-EE542092B6EF}"/>
          </ac:spMkLst>
        </pc:spChg>
        <pc:spChg chg="mod">
          <ac:chgData name="Kisliuk, Adrian (ext)" userId="6e619ce3-2643-4cdf-9a13-b4c269650021" providerId="ADAL" clId="{2F91516B-777A-4469-987E-B21E99E57CC9}" dt="2021-04-13T14:25:37.409" v="6500" actId="20577"/>
          <ac:spMkLst>
            <pc:docMk/>
            <pc:sldMk cId="2088302067" sldId="859"/>
            <ac:spMk id="44" creationId="{5BE3AE2B-4A0E-4204-B25A-B404EC4FDDA8}"/>
          </ac:spMkLst>
        </pc:spChg>
        <pc:graphicFrameChg chg="mod">
          <ac:chgData name="Kisliuk, Adrian (ext)" userId="6e619ce3-2643-4cdf-9a13-b4c269650021" providerId="ADAL" clId="{2F91516B-777A-4469-987E-B21E99E57CC9}" dt="2021-04-12T14:10:35.232" v="402"/>
          <ac:graphicFrameMkLst>
            <pc:docMk/>
            <pc:sldMk cId="2088302067" sldId="859"/>
            <ac:graphicFrameMk id="6" creationId="{580DFCAE-76C4-413B-B499-F7B76F1E13AF}"/>
          </ac:graphicFrameMkLst>
        </pc:graphicFrameChg>
      </pc:sldChg>
      <pc:sldChg chg="add del mod modTransition modShow">
        <pc:chgData name="Kisliuk, Adrian (ext)" userId="6e619ce3-2643-4cdf-9a13-b4c269650021" providerId="ADAL" clId="{2F91516B-777A-4469-987E-B21E99E57CC9}" dt="2021-04-13T14:28:26.342" v="6507" actId="47"/>
        <pc:sldMkLst>
          <pc:docMk/>
          <pc:sldMk cId="1223250927" sldId="860"/>
        </pc:sldMkLst>
      </pc:sldChg>
      <pc:sldChg chg="addSp delSp modSp add del mod">
        <pc:chgData name="Kisliuk, Adrian (ext)" userId="6e619ce3-2643-4cdf-9a13-b4c269650021" providerId="ADAL" clId="{2F91516B-777A-4469-987E-B21E99E57CC9}" dt="2021-04-14T09:01:59.531" v="7694" actId="47"/>
        <pc:sldMkLst>
          <pc:docMk/>
          <pc:sldMk cId="588479061" sldId="861"/>
        </pc:sldMkLst>
        <pc:spChg chg="mod">
          <ac:chgData name="Kisliuk, Adrian (ext)" userId="6e619ce3-2643-4cdf-9a13-b4c269650021" providerId="ADAL" clId="{2F91516B-777A-4469-987E-B21E99E57CC9}" dt="2021-04-12T16:22:57.321" v="3633" actId="948"/>
          <ac:spMkLst>
            <pc:docMk/>
            <pc:sldMk cId="588479061" sldId="861"/>
            <ac:spMk id="2" creationId="{DE936FAF-2E76-49E3-A26B-EE542092B6EF}"/>
          </ac:spMkLst>
        </pc:spChg>
        <pc:spChg chg="add del mod">
          <ac:chgData name="Kisliuk, Adrian (ext)" userId="6e619ce3-2643-4cdf-9a13-b4c269650021" providerId="ADAL" clId="{2F91516B-777A-4469-987E-B21E99E57CC9}" dt="2021-04-13T13:27:44.521" v="5433" actId="478"/>
          <ac:spMkLst>
            <pc:docMk/>
            <pc:sldMk cId="588479061" sldId="861"/>
            <ac:spMk id="8" creationId="{B770DFCD-481B-4E10-9BE0-922F51CC6FD1}"/>
          </ac:spMkLst>
        </pc:spChg>
        <pc:spChg chg="add del mod">
          <ac:chgData name="Kisliuk, Adrian (ext)" userId="6e619ce3-2643-4cdf-9a13-b4c269650021" providerId="ADAL" clId="{2F91516B-777A-4469-987E-B21E99E57CC9}" dt="2021-04-13T13:30:41.220" v="5440" actId="478"/>
          <ac:spMkLst>
            <pc:docMk/>
            <pc:sldMk cId="588479061" sldId="861"/>
            <ac:spMk id="9" creationId="{1C2B6D7D-629B-4E2F-82EE-83C633F8EB6A}"/>
          </ac:spMkLst>
        </pc:spChg>
        <pc:spChg chg="add mod">
          <ac:chgData name="Kisliuk, Adrian (ext)" userId="6e619ce3-2643-4cdf-9a13-b4c269650021" providerId="ADAL" clId="{2F91516B-777A-4469-987E-B21E99E57CC9}" dt="2021-04-13T12:46:10.433" v="4619" actId="1038"/>
          <ac:spMkLst>
            <pc:docMk/>
            <pc:sldMk cId="588479061" sldId="861"/>
            <ac:spMk id="12" creationId="{13DDFB9B-B73F-4BDD-9450-596059F82F6F}"/>
          </ac:spMkLst>
        </pc:spChg>
        <pc:spChg chg="add del mod">
          <ac:chgData name="Kisliuk, Adrian (ext)" userId="6e619ce3-2643-4cdf-9a13-b4c269650021" providerId="ADAL" clId="{2F91516B-777A-4469-987E-B21E99E57CC9}" dt="2021-04-13T12:44:03.895" v="4558" actId="478"/>
          <ac:spMkLst>
            <pc:docMk/>
            <pc:sldMk cId="588479061" sldId="861"/>
            <ac:spMk id="13" creationId="{B21EA573-EC69-40BB-8632-E200AB0268D0}"/>
          </ac:spMkLst>
        </pc:spChg>
        <pc:spChg chg="add mod">
          <ac:chgData name="Kisliuk, Adrian (ext)" userId="6e619ce3-2643-4cdf-9a13-b4c269650021" providerId="ADAL" clId="{2F91516B-777A-4469-987E-B21E99E57CC9}" dt="2021-04-14T08:22:09.472" v="7057" actId="1076"/>
          <ac:spMkLst>
            <pc:docMk/>
            <pc:sldMk cId="588479061" sldId="861"/>
            <ac:spMk id="19" creationId="{153306F1-2A0E-4D68-BA66-B8AF04BFEC63}"/>
          </ac:spMkLst>
        </pc:spChg>
        <pc:spChg chg="add del mod">
          <ac:chgData name="Kisliuk, Adrian (ext)" userId="6e619ce3-2643-4cdf-9a13-b4c269650021" providerId="ADAL" clId="{2F91516B-777A-4469-987E-B21E99E57CC9}" dt="2021-04-12T15:36:57.749" v="2537" actId="478"/>
          <ac:spMkLst>
            <pc:docMk/>
            <pc:sldMk cId="588479061" sldId="861"/>
            <ac:spMk id="20" creationId="{9A4BEDE0-5D67-4BE2-AF24-515966F093EF}"/>
          </ac:spMkLst>
        </pc:spChg>
        <pc:spChg chg="add del mod">
          <ac:chgData name="Kisliuk, Adrian (ext)" userId="6e619ce3-2643-4cdf-9a13-b4c269650021" providerId="ADAL" clId="{2F91516B-777A-4469-987E-B21E99E57CC9}" dt="2021-04-12T14:39:28.432" v="841" actId="478"/>
          <ac:spMkLst>
            <pc:docMk/>
            <pc:sldMk cId="588479061" sldId="861"/>
            <ac:spMk id="21" creationId="{9597610C-93B2-4E68-B494-B8A9E8FB4871}"/>
          </ac:spMkLst>
        </pc:spChg>
        <pc:spChg chg="add del mod">
          <ac:chgData name="Kisliuk, Adrian (ext)" userId="6e619ce3-2643-4cdf-9a13-b4c269650021" providerId="ADAL" clId="{2F91516B-777A-4469-987E-B21E99E57CC9}" dt="2021-04-12T15:13:00.921" v="2162" actId="478"/>
          <ac:spMkLst>
            <pc:docMk/>
            <pc:sldMk cId="588479061" sldId="861"/>
            <ac:spMk id="22" creationId="{C2109E81-E217-48B1-A86B-2852D953F3F0}"/>
          </ac:spMkLst>
        </pc:spChg>
        <pc:spChg chg="add mod">
          <ac:chgData name="Kisliuk, Adrian (ext)" userId="6e619ce3-2643-4cdf-9a13-b4c269650021" providerId="ADAL" clId="{2F91516B-777A-4469-987E-B21E99E57CC9}" dt="2021-04-13T12:46:10.433" v="4619" actId="1038"/>
          <ac:spMkLst>
            <pc:docMk/>
            <pc:sldMk cId="588479061" sldId="861"/>
            <ac:spMk id="23" creationId="{624170FD-30D4-4052-9186-927A77A3C792}"/>
          </ac:spMkLst>
        </pc:spChg>
        <pc:spChg chg="add mod">
          <ac:chgData name="Kisliuk, Adrian (ext)" userId="6e619ce3-2643-4cdf-9a13-b4c269650021" providerId="ADAL" clId="{2F91516B-777A-4469-987E-B21E99E57CC9}" dt="2021-04-13T12:46:10.433" v="4619" actId="1038"/>
          <ac:spMkLst>
            <pc:docMk/>
            <pc:sldMk cId="588479061" sldId="861"/>
            <ac:spMk id="24" creationId="{CC6C6EE1-EACB-4F1C-9536-D61F24ED4CC5}"/>
          </ac:spMkLst>
        </pc:spChg>
        <pc:spChg chg="add del mod">
          <ac:chgData name="Kisliuk, Adrian (ext)" userId="6e619ce3-2643-4cdf-9a13-b4c269650021" providerId="ADAL" clId="{2F91516B-777A-4469-987E-B21E99E57CC9}" dt="2021-04-12T14:45:38.381" v="981" actId="478"/>
          <ac:spMkLst>
            <pc:docMk/>
            <pc:sldMk cId="588479061" sldId="861"/>
            <ac:spMk id="25" creationId="{39412558-69F7-47BB-9639-00996DA15B03}"/>
          </ac:spMkLst>
        </pc:spChg>
        <pc:spChg chg="add mod">
          <ac:chgData name="Kisliuk, Adrian (ext)" userId="6e619ce3-2643-4cdf-9a13-b4c269650021" providerId="ADAL" clId="{2F91516B-777A-4469-987E-B21E99E57CC9}" dt="2021-04-13T12:46:10.433" v="4619" actId="1038"/>
          <ac:spMkLst>
            <pc:docMk/>
            <pc:sldMk cId="588479061" sldId="861"/>
            <ac:spMk id="26" creationId="{548F08B3-6FD0-4D69-8E3A-FB7B859A81BE}"/>
          </ac:spMkLst>
        </pc:spChg>
        <pc:spChg chg="add mod">
          <ac:chgData name="Kisliuk, Adrian (ext)" userId="6e619ce3-2643-4cdf-9a13-b4c269650021" providerId="ADAL" clId="{2F91516B-777A-4469-987E-B21E99E57CC9}" dt="2021-04-13T12:46:10.433" v="4619" actId="1038"/>
          <ac:spMkLst>
            <pc:docMk/>
            <pc:sldMk cId="588479061" sldId="861"/>
            <ac:spMk id="27" creationId="{5ACC94EB-85FC-42C8-8F08-2B6132FC2B9A}"/>
          </ac:spMkLst>
        </pc:spChg>
        <pc:spChg chg="add del mod">
          <ac:chgData name="Kisliuk, Adrian (ext)" userId="6e619ce3-2643-4cdf-9a13-b4c269650021" providerId="ADAL" clId="{2F91516B-777A-4469-987E-B21E99E57CC9}" dt="2021-04-14T08:30:27.365" v="7071" actId="478"/>
          <ac:spMkLst>
            <pc:docMk/>
            <pc:sldMk cId="588479061" sldId="861"/>
            <ac:spMk id="31" creationId="{DAB91F2E-DEDA-44E7-92A1-380691D4DB11}"/>
          </ac:spMkLst>
        </pc:spChg>
        <pc:spChg chg="add del mod">
          <ac:chgData name="Kisliuk, Adrian (ext)" userId="6e619ce3-2643-4cdf-9a13-b4c269650021" providerId="ADAL" clId="{2F91516B-777A-4469-987E-B21E99E57CC9}" dt="2021-04-12T15:04:39.179" v="1881" actId="478"/>
          <ac:spMkLst>
            <pc:docMk/>
            <pc:sldMk cId="588479061" sldId="861"/>
            <ac:spMk id="34" creationId="{B257C8D4-F11B-49DD-A8C3-5B55AC9374CB}"/>
          </ac:spMkLst>
        </pc:spChg>
        <pc:spChg chg="add mod">
          <ac:chgData name="Kisliuk, Adrian (ext)" userId="6e619ce3-2643-4cdf-9a13-b4c269650021" providerId="ADAL" clId="{2F91516B-777A-4469-987E-B21E99E57CC9}" dt="2021-04-14T08:22:08.853" v="7056" actId="20577"/>
          <ac:spMkLst>
            <pc:docMk/>
            <pc:sldMk cId="588479061" sldId="861"/>
            <ac:spMk id="35" creationId="{93B69849-1AEF-4948-95F6-0C25448C77D7}"/>
          </ac:spMkLst>
        </pc:spChg>
        <pc:spChg chg="add mod">
          <ac:chgData name="Kisliuk, Adrian (ext)" userId="6e619ce3-2643-4cdf-9a13-b4c269650021" providerId="ADAL" clId="{2F91516B-777A-4469-987E-B21E99E57CC9}" dt="2021-04-13T12:46:10.433" v="4619" actId="1038"/>
          <ac:spMkLst>
            <pc:docMk/>
            <pc:sldMk cId="588479061" sldId="861"/>
            <ac:spMk id="36" creationId="{12D829DC-FB4B-431C-B657-DE96D45F67BB}"/>
          </ac:spMkLst>
        </pc:spChg>
        <pc:spChg chg="add mod">
          <ac:chgData name="Kisliuk, Adrian (ext)" userId="6e619ce3-2643-4cdf-9a13-b4c269650021" providerId="ADAL" clId="{2F91516B-777A-4469-987E-B21E99E57CC9}" dt="2021-04-13T12:46:10.433" v="4619" actId="1038"/>
          <ac:spMkLst>
            <pc:docMk/>
            <pc:sldMk cId="588479061" sldId="861"/>
            <ac:spMk id="37" creationId="{5DFEC39C-CE07-4ECC-94CF-97BC683ABE78}"/>
          </ac:spMkLst>
        </pc:spChg>
        <pc:spChg chg="add mod">
          <ac:chgData name="Kisliuk, Adrian (ext)" userId="6e619ce3-2643-4cdf-9a13-b4c269650021" providerId="ADAL" clId="{2F91516B-777A-4469-987E-B21E99E57CC9}" dt="2021-04-13T12:46:10.433" v="4619" actId="1038"/>
          <ac:spMkLst>
            <pc:docMk/>
            <pc:sldMk cId="588479061" sldId="861"/>
            <ac:spMk id="38" creationId="{1CB22556-81D2-46B6-9C81-19EF13EA88F4}"/>
          </ac:spMkLst>
        </pc:spChg>
        <pc:spChg chg="del">
          <ac:chgData name="Kisliuk, Adrian (ext)" userId="6e619ce3-2643-4cdf-9a13-b4c269650021" providerId="ADAL" clId="{2F91516B-777A-4469-987E-B21E99E57CC9}" dt="2021-04-12T14:15:17.796" v="440" actId="478"/>
          <ac:spMkLst>
            <pc:docMk/>
            <pc:sldMk cId="588479061" sldId="861"/>
            <ac:spMk id="41" creationId="{E93AE095-6BBA-4A81-A7A1-FFD7B8304500}"/>
          </ac:spMkLst>
        </pc:spChg>
        <pc:spChg chg="mod">
          <ac:chgData name="Kisliuk, Adrian (ext)" userId="6e619ce3-2643-4cdf-9a13-b4c269650021" providerId="ADAL" clId="{2F91516B-777A-4469-987E-B21E99E57CC9}" dt="2021-04-13T14:04:02.889" v="6344" actId="208"/>
          <ac:spMkLst>
            <pc:docMk/>
            <pc:sldMk cId="588479061" sldId="861"/>
            <ac:spMk id="44" creationId="{5BE3AE2B-4A0E-4204-B25A-B404EC4FDDA8}"/>
          </ac:spMkLst>
        </pc:spChg>
        <pc:spChg chg="add del mod">
          <ac:chgData name="Kisliuk, Adrian (ext)" userId="6e619ce3-2643-4cdf-9a13-b4c269650021" providerId="ADAL" clId="{2F91516B-777A-4469-987E-B21E99E57CC9}" dt="2021-04-13T12:59:41.504" v="4901"/>
          <ac:spMkLst>
            <pc:docMk/>
            <pc:sldMk cId="588479061" sldId="861"/>
            <ac:spMk id="51" creationId="{6D8B20F3-E3C3-497E-A090-EAB5BF19A4D3}"/>
          </ac:spMkLst>
        </pc:spChg>
        <pc:spChg chg="add mod">
          <ac:chgData name="Kisliuk, Adrian (ext)" userId="6e619ce3-2643-4cdf-9a13-b4c269650021" providerId="ADAL" clId="{2F91516B-777A-4469-987E-B21E99E57CC9}" dt="2021-04-13T12:46:10.433" v="4619" actId="1038"/>
          <ac:spMkLst>
            <pc:docMk/>
            <pc:sldMk cId="588479061" sldId="861"/>
            <ac:spMk id="63" creationId="{5358F583-7AE1-4BA3-A400-CB7025BBF5B7}"/>
          </ac:spMkLst>
        </pc:spChg>
        <pc:spChg chg="add del mod modVis">
          <ac:chgData name="Kisliuk, Adrian (ext)" userId="6e619ce3-2643-4cdf-9a13-b4c269650021" providerId="ADAL" clId="{2F91516B-777A-4469-987E-B21E99E57CC9}" dt="2021-04-12T16:22:43.216" v="3556"/>
          <ac:spMkLst>
            <pc:docMk/>
            <pc:sldMk cId="588479061" sldId="861"/>
            <ac:spMk id="83" creationId="{B22A13D1-D14E-4996-B9B2-127E45D33FE4}"/>
          </ac:spMkLst>
        </pc:spChg>
        <pc:spChg chg="add del mod modVis">
          <ac:chgData name="Kisliuk, Adrian (ext)" userId="6e619ce3-2643-4cdf-9a13-b4c269650021" providerId="ADAL" clId="{2F91516B-777A-4469-987E-B21E99E57CC9}" dt="2021-04-12T16:22:55.618" v="3624"/>
          <ac:spMkLst>
            <pc:docMk/>
            <pc:sldMk cId="588479061" sldId="861"/>
            <ac:spMk id="84" creationId="{95FF640D-33D5-4A5B-8FF6-EBB0FB5F0863}"/>
          </ac:spMkLst>
        </pc:spChg>
        <pc:spChg chg="add del mod modVis">
          <ac:chgData name="Kisliuk, Adrian (ext)" userId="6e619ce3-2643-4cdf-9a13-b4c269650021" providerId="ADAL" clId="{2F91516B-777A-4469-987E-B21E99E57CC9}" dt="2021-04-12T16:22:57.362" v="3670"/>
          <ac:spMkLst>
            <pc:docMk/>
            <pc:sldMk cId="588479061" sldId="861"/>
            <ac:spMk id="85" creationId="{AA840C33-59EE-4E1F-9879-D8CE63664281}"/>
          </ac:spMkLst>
        </pc:spChg>
        <pc:graphicFrameChg chg="mod">
          <ac:chgData name="Kisliuk, Adrian (ext)" userId="6e619ce3-2643-4cdf-9a13-b4c269650021" providerId="ADAL" clId="{2F91516B-777A-4469-987E-B21E99E57CC9}" dt="2021-04-12T16:22:57.363" v="3672"/>
          <ac:graphicFrameMkLst>
            <pc:docMk/>
            <pc:sldMk cId="588479061" sldId="861"/>
            <ac:graphicFrameMk id="6" creationId="{580DFCAE-76C4-413B-B499-F7B76F1E13AF}"/>
          </ac:graphicFrameMkLst>
        </pc:graphicFrameChg>
        <pc:picChg chg="del">
          <ac:chgData name="Kisliuk, Adrian (ext)" userId="6e619ce3-2643-4cdf-9a13-b4c269650021" providerId="ADAL" clId="{2F91516B-777A-4469-987E-B21E99E57CC9}" dt="2021-04-12T14:15:09.464" v="439" actId="478"/>
          <ac:picMkLst>
            <pc:docMk/>
            <pc:sldMk cId="588479061" sldId="861"/>
            <ac:picMk id="5" creationId="{399BAB72-161B-4538-86A9-083786AB9CE3}"/>
          </ac:picMkLst>
        </pc:picChg>
        <pc:picChg chg="add del mod modCrop">
          <ac:chgData name="Kisliuk, Adrian (ext)" userId="6e619ce3-2643-4cdf-9a13-b4c269650021" providerId="ADAL" clId="{2F91516B-777A-4469-987E-B21E99E57CC9}" dt="2021-04-12T15:56:08.653" v="2962" actId="21"/>
          <ac:picMkLst>
            <pc:docMk/>
            <pc:sldMk cId="588479061" sldId="861"/>
            <ac:picMk id="14" creationId="{56FA1EA2-7BD0-4511-B9A6-1EA14C379232}"/>
          </ac:picMkLst>
        </pc:picChg>
        <pc:picChg chg="add mod modCrop">
          <ac:chgData name="Kisliuk, Adrian (ext)" userId="6e619ce3-2643-4cdf-9a13-b4c269650021" providerId="ADAL" clId="{2F91516B-777A-4469-987E-B21E99E57CC9}" dt="2021-04-13T12:46:10.433" v="4619" actId="1038"/>
          <ac:picMkLst>
            <pc:docMk/>
            <pc:sldMk cId="588479061" sldId="861"/>
            <ac:picMk id="16" creationId="{F29F1F7C-0D26-41DF-AC6A-9886F949FEC9}"/>
          </ac:picMkLst>
        </pc:picChg>
        <pc:picChg chg="add mod">
          <ac:chgData name="Kisliuk, Adrian (ext)" userId="6e619ce3-2643-4cdf-9a13-b4c269650021" providerId="ADAL" clId="{2F91516B-777A-4469-987E-B21E99E57CC9}" dt="2021-04-13T13:31:00.939" v="5444" actId="1076"/>
          <ac:picMkLst>
            <pc:docMk/>
            <pc:sldMk cId="588479061" sldId="861"/>
            <ac:picMk id="33" creationId="{FDFCE72B-4FE7-427A-8A4C-F087F18E34A5}"/>
          </ac:picMkLst>
        </pc:picChg>
        <pc:picChg chg="add mod">
          <ac:chgData name="Kisliuk, Adrian (ext)" userId="6e619ce3-2643-4cdf-9a13-b4c269650021" providerId="ADAL" clId="{2F91516B-777A-4469-987E-B21E99E57CC9}" dt="2021-04-13T17:20:51.984" v="6950" actId="1076"/>
          <ac:picMkLst>
            <pc:docMk/>
            <pc:sldMk cId="588479061" sldId="861"/>
            <ac:picMk id="1026" creationId="{92BEDCD2-D9FA-492D-9738-4357A3D8F149}"/>
          </ac:picMkLst>
        </pc:picChg>
        <pc:cxnChg chg="add mod">
          <ac:chgData name="Kisliuk, Adrian (ext)" userId="6e619ce3-2643-4cdf-9a13-b4c269650021" providerId="ADAL" clId="{2F91516B-777A-4469-987E-B21E99E57CC9}" dt="2021-04-13T12:46:10.433" v="4619" actId="1038"/>
          <ac:cxnSpMkLst>
            <pc:docMk/>
            <pc:sldMk cId="588479061" sldId="861"/>
            <ac:cxnSpMk id="5" creationId="{A4C623EE-5F8C-43C6-BD7F-4F7F0804E80E}"/>
          </ac:cxnSpMkLst>
        </pc:cxnChg>
        <pc:cxnChg chg="add mod">
          <ac:chgData name="Kisliuk, Adrian (ext)" userId="6e619ce3-2643-4cdf-9a13-b4c269650021" providerId="ADAL" clId="{2F91516B-777A-4469-987E-B21E99E57CC9}" dt="2021-04-14T08:20:09.328" v="7049" actId="1076"/>
          <ac:cxnSpMkLst>
            <pc:docMk/>
            <pc:sldMk cId="588479061" sldId="861"/>
            <ac:cxnSpMk id="10" creationId="{273BF7F6-06B5-4471-8BC6-9B087719241F}"/>
          </ac:cxnSpMkLst>
        </pc:cxnChg>
        <pc:cxnChg chg="add mod">
          <ac:chgData name="Kisliuk, Adrian (ext)" userId="6e619ce3-2643-4cdf-9a13-b4c269650021" providerId="ADAL" clId="{2F91516B-777A-4469-987E-B21E99E57CC9}" dt="2021-04-13T12:46:10.433" v="4619" actId="1038"/>
          <ac:cxnSpMkLst>
            <pc:docMk/>
            <pc:sldMk cId="588479061" sldId="861"/>
            <ac:cxnSpMk id="17" creationId="{E00C1456-EBC7-41F2-BF30-B1A7340F0087}"/>
          </ac:cxnSpMkLst>
        </pc:cxnChg>
        <pc:cxnChg chg="add mod">
          <ac:chgData name="Kisliuk, Adrian (ext)" userId="6e619ce3-2643-4cdf-9a13-b4c269650021" providerId="ADAL" clId="{2F91516B-777A-4469-987E-B21E99E57CC9}" dt="2021-04-13T12:46:10.433" v="4619" actId="1038"/>
          <ac:cxnSpMkLst>
            <pc:docMk/>
            <pc:sldMk cId="588479061" sldId="861"/>
            <ac:cxnSpMk id="21" creationId="{9362684C-436C-45A6-9F89-A22C41EF495B}"/>
          </ac:cxnSpMkLst>
        </pc:cxnChg>
        <pc:cxnChg chg="add mod">
          <ac:chgData name="Kisliuk, Adrian (ext)" userId="6e619ce3-2643-4cdf-9a13-b4c269650021" providerId="ADAL" clId="{2F91516B-777A-4469-987E-B21E99E57CC9}" dt="2021-04-13T12:46:10.433" v="4619" actId="1038"/>
          <ac:cxnSpMkLst>
            <pc:docMk/>
            <pc:sldMk cId="588479061" sldId="861"/>
            <ac:cxnSpMk id="29" creationId="{AD8299C5-A83B-4DE8-827B-CBDF6ED21028}"/>
          </ac:cxnSpMkLst>
        </pc:cxnChg>
        <pc:cxnChg chg="add del mod">
          <ac:chgData name="Kisliuk, Adrian (ext)" userId="6e619ce3-2643-4cdf-9a13-b4c269650021" providerId="ADAL" clId="{2F91516B-777A-4469-987E-B21E99E57CC9}" dt="2021-04-12T15:51:53.728" v="2845" actId="21"/>
          <ac:cxnSpMkLst>
            <pc:docMk/>
            <pc:sldMk cId="588479061" sldId="861"/>
            <ac:cxnSpMk id="30" creationId="{AC8E0224-09DE-4BA7-85C0-FC8468016579}"/>
          </ac:cxnSpMkLst>
        </pc:cxnChg>
        <pc:cxnChg chg="add del mod">
          <ac:chgData name="Kisliuk, Adrian (ext)" userId="6e619ce3-2643-4cdf-9a13-b4c269650021" providerId="ADAL" clId="{2F91516B-777A-4469-987E-B21E99E57CC9}" dt="2021-04-13T13:26:38.614" v="5429" actId="478"/>
          <ac:cxnSpMkLst>
            <pc:docMk/>
            <pc:sldMk cId="588479061" sldId="861"/>
            <ac:cxnSpMk id="32" creationId="{0D6B49F6-E755-4F2C-8504-4EA332BB6BAA}"/>
          </ac:cxnSpMkLst>
        </pc:cxnChg>
        <pc:cxnChg chg="add del mod">
          <ac:chgData name="Kisliuk, Adrian (ext)" userId="6e619ce3-2643-4cdf-9a13-b4c269650021" providerId="ADAL" clId="{2F91516B-777A-4469-987E-B21E99E57CC9}" dt="2021-04-12T15:52:07.689" v="2849" actId="478"/>
          <ac:cxnSpMkLst>
            <pc:docMk/>
            <pc:sldMk cId="588479061" sldId="861"/>
            <ac:cxnSpMk id="39" creationId="{892FDE7B-5163-48F0-8A2F-3201F06F4128}"/>
          </ac:cxnSpMkLst>
        </pc:cxnChg>
        <pc:cxnChg chg="add del mod">
          <ac:chgData name="Kisliuk, Adrian (ext)" userId="6e619ce3-2643-4cdf-9a13-b4c269650021" providerId="ADAL" clId="{2F91516B-777A-4469-987E-B21E99E57CC9}" dt="2021-04-12T15:38:51.285" v="2556" actId="478"/>
          <ac:cxnSpMkLst>
            <pc:docMk/>
            <pc:sldMk cId="588479061" sldId="861"/>
            <ac:cxnSpMk id="42" creationId="{65BD198A-683A-46A2-8070-F9268ABF0660}"/>
          </ac:cxnSpMkLst>
        </pc:cxnChg>
        <pc:cxnChg chg="add del mod">
          <ac:chgData name="Kisliuk, Adrian (ext)" userId="6e619ce3-2643-4cdf-9a13-b4c269650021" providerId="ADAL" clId="{2F91516B-777A-4469-987E-B21E99E57CC9}" dt="2021-04-12T15:38:22.780" v="2552" actId="478"/>
          <ac:cxnSpMkLst>
            <pc:docMk/>
            <pc:sldMk cId="588479061" sldId="861"/>
            <ac:cxnSpMk id="45" creationId="{64D7A9EA-18C9-48C2-A952-D475D4E95CFC}"/>
          </ac:cxnSpMkLst>
        </pc:cxnChg>
        <pc:cxnChg chg="add mod">
          <ac:chgData name="Kisliuk, Adrian (ext)" userId="6e619ce3-2643-4cdf-9a13-b4c269650021" providerId="ADAL" clId="{2F91516B-777A-4469-987E-B21E99E57CC9}" dt="2021-04-13T12:48:47.904" v="4654" actId="14100"/>
          <ac:cxnSpMkLst>
            <pc:docMk/>
            <pc:sldMk cId="588479061" sldId="861"/>
            <ac:cxnSpMk id="46" creationId="{2DDF8105-35F3-473E-927D-EDC4D8909C4A}"/>
          </ac:cxnSpMkLst>
        </pc:cxnChg>
        <pc:cxnChg chg="add mod">
          <ac:chgData name="Kisliuk, Adrian (ext)" userId="6e619ce3-2643-4cdf-9a13-b4c269650021" providerId="ADAL" clId="{2F91516B-777A-4469-987E-B21E99E57CC9}" dt="2021-04-13T12:48:22.793" v="4650" actId="108"/>
          <ac:cxnSpMkLst>
            <pc:docMk/>
            <pc:sldMk cId="588479061" sldId="861"/>
            <ac:cxnSpMk id="53" creationId="{AD39E464-4ACC-414D-B567-513C379969E3}"/>
          </ac:cxnSpMkLst>
        </pc:cxnChg>
        <pc:cxnChg chg="add mod">
          <ac:chgData name="Kisliuk, Adrian (ext)" userId="6e619ce3-2643-4cdf-9a13-b4c269650021" providerId="ADAL" clId="{2F91516B-777A-4469-987E-B21E99E57CC9}" dt="2021-04-13T12:48:24.348" v="4652" actId="108"/>
          <ac:cxnSpMkLst>
            <pc:docMk/>
            <pc:sldMk cId="588479061" sldId="861"/>
            <ac:cxnSpMk id="56" creationId="{08E8E5E4-67B7-4DAF-A6CC-D2743D94A973}"/>
          </ac:cxnSpMkLst>
        </pc:cxnChg>
        <pc:cxnChg chg="add mod">
          <ac:chgData name="Kisliuk, Adrian (ext)" userId="6e619ce3-2643-4cdf-9a13-b4c269650021" providerId="ADAL" clId="{2F91516B-777A-4469-987E-B21E99E57CC9}" dt="2021-04-13T12:48:23.536" v="4651" actId="108"/>
          <ac:cxnSpMkLst>
            <pc:docMk/>
            <pc:sldMk cId="588479061" sldId="861"/>
            <ac:cxnSpMk id="59" creationId="{D7B8E812-336A-43FB-AC97-5795CCB65A3E}"/>
          </ac:cxnSpMkLst>
        </pc:cxnChg>
        <pc:cxnChg chg="add mod">
          <ac:chgData name="Kisliuk, Adrian (ext)" userId="6e619ce3-2643-4cdf-9a13-b4c269650021" providerId="ADAL" clId="{2F91516B-777A-4469-987E-B21E99E57CC9}" dt="2021-04-13T13:31:37.719" v="5448" actId="108"/>
          <ac:cxnSpMkLst>
            <pc:docMk/>
            <pc:sldMk cId="588479061" sldId="861"/>
            <ac:cxnSpMk id="65" creationId="{1D7BD989-92B4-4FA4-9722-4067C19EEBF1}"/>
          </ac:cxnSpMkLst>
        </pc:cxnChg>
        <pc:cxnChg chg="add mod">
          <ac:chgData name="Kisliuk, Adrian (ext)" userId="6e619ce3-2643-4cdf-9a13-b4c269650021" providerId="ADAL" clId="{2F91516B-777A-4469-987E-B21E99E57CC9}" dt="2021-04-13T13:31:37.480" v="5447" actId="108"/>
          <ac:cxnSpMkLst>
            <pc:docMk/>
            <pc:sldMk cId="588479061" sldId="861"/>
            <ac:cxnSpMk id="68" creationId="{29686DF6-B69B-4AE9-AFE1-74022EE9CBFE}"/>
          </ac:cxnSpMkLst>
        </pc:cxnChg>
      </pc:sldChg>
      <pc:sldChg chg="addSp delSp modSp add del mod ord modTransition modShow">
        <pc:chgData name="Kisliuk, Adrian (ext)" userId="6e619ce3-2643-4cdf-9a13-b4c269650021" providerId="ADAL" clId="{2F91516B-777A-4469-987E-B21E99E57CC9}" dt="2021-04-13T14:52:22.954" v="6861" actId="47"/>
        <pc:sldMkLst>
          <pc:docMk/>
          <pc:sldMk cId="2926814002" sldId="862"/>
        </pc:sldMkLst>
        <pc:spChg chg="mod">
          <ac:chgData name="Kisliuk, Adrian (ext)" userId="6e619ce3-2643-4cdf-9a13-b4c269650021" providerId="ADAL" clId="{2F91516B-777A-4469-987E-B21E99E57CC9}" dt="2021-04-12T16:22:38.343" v="3437" actId="948"/>
          <ac:spMkLst>
            <pc:docMk/>
            <pc:sldMk cId="2926814002" sldId="862"/>
            <ac:spMk id="2" creationId="{DE936FAF-2E76-49E3-A26B-EE542092B6EF}"/>
          </ac:spMkLst>
        </pc:spChg>
        <pc:spChg chg="add del mod modVis">
          <ac:chgData name="Kisliuk, Adrian (ext)" userId="6e619ce3-2643-4cdf-9a13-b4c269650021" providerId="ADAL" clId="{2F91516B-777A-4469-987E-B21E99E57CC9}" dt="2021-04-12T16:22:38.378" v="3474"/>
          <ac:spMkLst>
            <pc:docMk/>
            <pc:sldMk cId="2926814002" sldId="862"/>
            <ac:spMk id="3" creationId="{499FBC89-3EFE-42CD-997C-90FCD0C179F0}"/>
          </ac:spMkLst>
        </pc:spChg>
        <pc:spChg chg="mod">
          <ac:chgData name="Kisliuk, Adrian (ext)" userId="6e619ce3-2643-4cdf-9a13-b4c269650021" providerId="ADAL" clId="{2F91516B-777A-4469-987E-B21E99E57CC9}" dt="2021-04-12T15:43:07.129" v="2620" actId="207"/>
          <ac:spMkLst>
            <pc:docMk/>
            <pc:sldMk cId="2926814002" sldId="862"/>
            <ac:spMk id="8" creationId="{B770DFCD-481B-4E10-9BE0-922F51CC6FD1}"/>
          </ac:spMkLst>
        </pc:spChg>
        <pc:spChg chg="mod">
          <ac:chgData name="Kisliuk, Adrian (ext)" userId="6e619ce3-2643-4cdf-9a13-b4c269650021" providerId="ADAL" clId="{2F91516B-777A-4469-987E-B21E99E57CC9}" dt="2021-04-12T15:43:07.129" v="2620" actId="207"/>
          <ac:spMkLst>
            <pc:docMk/>
            <pc:sldMk cId="2926814002" sldId="862"/>
            <ac:spMk id="9" creationId="{1C2B6D7D-629B-4E2F-82EE-83C633F8EB6A}"/>
          </ac:spMkLst>
        </pc:spChg>
        <pc:spChg chg="add mod">
          <ac:chgData name="Kisliuk, Adrian (ext)" userId="6e619ce3-2643-4cdf-9a13-b4c269650021" providerId="ADAL" clId="{2F91516B-777A-4469-987E-B21E99E57CC9}" dt="2021-04-12T15:43:07.129" v="2620" actId="207"/>
          <ac:spMkLst>
            <pc:docMk/>
            <pc:sldMk cId="2926814002" sldId="862"/>
            <ac:spMk id="10" creationId="{03B20157-9F30-418E-A5CB-C5498AE810F2}"/>
          </ac:spMkLst>
        </pc:spChg>
        <pc:spChg chg="add mod">
          <ac:chgData name="Kisliuk, Adrian (ext)" userId="6e619ce3-2643-4cdf-9a13-b4c269650021" providerId="ADAL" clId="{2F91516B-777A-4469-987E-B21E99E57CC9}" dt="2021-04-12T15:43:07.129" v="2620" actId="207"/>
          <ac:spMkLst>
            <pc:docMk/>
            <pc:sldMk cId="2926814002" sldId="862"/>
            <ac:spMk id="11" creationId="{B92E80A5-2C9C-4BBB-986D-BA0634DFB9C8}"/>
          </ac:spMkLst>
        </pc:spChg>
        <pc:spChg chg="add mod">
          <ac:chgData name="Kisliuk, Adrian (ext)" userId="6e619ce3-2643-4cdf-9a13-b4c269650021" providerId="ADAL" clId="{2F91516B-777A-4469-987E-B21E99E57CC9}" dt="2021-04-12T15:43:07.129" v="2620" actId="207"/>
          <ac:spMkLst>
            <pc:docMk/>
            <pc:sldMk cId="2926814002" sldId="862"/>
            <ac:spMk id="12" creationId="{0EDDF079-7F4F-4A77-B12B-F0724118A5F2}"/>
          </ac:spMkLst>
        </pc:spChg>
        <pc:spChg chg="add mod">
          <ac:chgData name="Kisliuk, Adrian (ext)" userId="6e619ce3-2643-4cdf-9a13-b4c269650021" providerId="ADAL" clId="{2F91516B-777A-4469-987E-B21E99E57CC9}" dt="2021-04-12T15:47:22.652" v="2758" actId="20577"/>
          <ac:spMkLst>
            <pc:docMk/>
            <pc:sldMk cId="2926814002" sldId="862"/>
            <ac:spMk id="13" creationId="{E0B67160-EA6B-4953-934B-DEDC05F824CE}"/>
          </ac:spMkLst>
        </pc:spChg>
        <pc:spChg chg="add mod">
          <ac:chgData name="Kisliuk, Adrian (ext)" userId="6e619ce3-2643-4cdf-9a13-b4c269650021" providerId="ADAL" clId="{2F91516B-777A-4469-987E-B21E99E57CC9}" dt="2021-04-12T15:47:24.675" v="2759" actId="20577"/>
          <ac:spMkLst>
            <pc:docMk/>
            <pc:sldMk cId="2926814002" sldId="862"/>
            <ac:spMk id="14" creationId="{F935B0B1-BC53-4704-A9A4-3007ED7221AA}"/>
          </ac:spMkLst>
        </pc:spChg>
        <pc:spChg chg="add mod">
          <ac:chgData name="Kisliuk, Adrian (ext)" userId="6e619ce3-2643-4cdf-9a13-b4c269650021" providerId="ADAL" clId="{2F91516B-777A-4469-987E-B21E99E57CC9}" dt="2021-04-12T15:47:26.795" v="2760" actId="20577"/>
          <ac:spMkLst>
            <pc:docMk/>
            <pc:sldMk cId="2926814002" sldId="862"/>
            <ac:spMk id="15" creationId="{AAA9B8E1-53C8-40A6-9BEC-3FFCBA758539}"/>
          </ac:spMkLst>
        </pc:spChg>
        <pc:spChg chg="add mod">
          <ac:chgData name="Kisliuk, Adrian (ext)" userId="6e619ce3-2643-4cdf-9a13-b4c269650021" providerId="ADAL" clId="{2F91516B-777A-4469-987E-B21E99E57CC9}" dt="2021-04-12T15:47:27.700" v="2761" actId="20577"/>
          <ac:spMkLst>
            <pc:docMk/>
            <pc:sldMk cId="2926814002" sldId="862"/>
            <ac:spMk id="16" creationId="{12EDDE03-23E2-451C-8008-2938E534DC35}"/>
          </ac:spMkLst>
        </pc:spChg>
        <pc:spChg chg="add del mod">
          <ac:chgData name="Kisliuk, Adrian (ext)" userId="6e619ce3-2643-4cdf-9a13-b4c269650021" providerId="ADAL" clId="{2F91516B-777A-4469-987E-B21E99E57CC9}" dt="2021-04-12T15:47:21.772" v="2757" actId="20577"/>
          <ac:spMkLst>
            <pc:docMk/>
            <pc:sldMk cId="2926814002" sldId="862"/>
            <ac:spMk id="44" creationId="{5BE3AE2B-4A0E-4204-B25A-B404EC4FDDA8}"/>
          </ac:spMkLst>
        </pc:spChg>
        <pc:graphicFrameChg chg="mod">
          <ac:chgData name="Kisliuk, Adrian (ext)" userId="6e619ce3-2643-4cdf-9a13-b4c269650021" providerId="ADAL" clId="{2F91516B-777A-4469-987E-B21E99E57CC9}" dt="2021-04-12T16:22:38.390" v="3476"/>
          <ac:graphicFrameMkLst>
            <pc:docMk/>
            <pc:sldMk cId="2926814002" sldId="862"/>
            <ac:graphicFrameMk id="6" creationId="{580DFCAE-76C4-413B-B499-F7B76F1E13AF}"/>
          </ac:graphicFrameMkLst>
        </pc:graphicFrameChg>
      </pc:sldChg>
      <pc:sldChg chg="addSp delSp modSp add del mod ord modTransition modShow">
        <pc:chgData name="Kisliuk, Adrian (ext)" userId="6e619ce3-2643-4cdf-9a13-b4c269650021" providerId="ADAL" clId="{2F91516B-777A-4469-987E-B21E99E57CC9}" dt="2021-04-13T13:37:24.330" v="6091" actId="47"/>
        <pc:sldMkLst>
          <pc:docMk/>
          <pc:sldMk cId="117717511" sldId="863"/>
        </pc:sldMkLst>
        <pc:spChg chg="del">
          <ac:chgData name="Kisliuk, Adrian (ext)" userId="6e619ce3-2643-4cdf-9a13-b4c269650021" providerId="ADAL" clId="{2F91516B-777A-4469-987E-B21E99E57CC9}" dt="2021-04-12T15:02:32.069" v="1710" actId="478"/>
          <ac:spMkLst>
            <pc:docMk/>
            <pc:sldMk cId="117717511" sldId="863"/>
            <ac:spMk id="8" creationId="{B770DFCD-481B-4E10-9BE0-922F51CC6FD1}"/>
          </ac:spMkLst>
        </pc:spChg>
        <pc:spChg chg="del">
          <ac:chgData name="Kisliuk, Adrian (ext)" userId="6e619ce3-2643-4cdf-9a13-b4c269650021" providerId="ADAL" clId="{2F91516B-777A-4469-987E-B21E99E57CC9}" dt="2021-04-12T15:02:32.069" v="1710" actId="478"/>
          <ac:spMkLst>
            <pc:docMk/>
            <pc:sldMk cId="117717511" sldId="863"/>
            <ac:spMk id="9" creationId="{1C2B6D7D-629B-4E2F-82EE-83C633F8EB6A}"/>
          </ac:spMkLst>
        </pc:spChg>
        <pc:spChg chg="del">
          <ac:chgData name="Kisliuk, Adrian (ext)" userId="6e619ce3-2643-4cdf-9a13-b4c269650021" providerId="ADAL" clId="{2F91516B-777A-4469-987E-B21E99E57CC9}" dt="2021-04-12T15:02:32.069" v="1710" actId="478"/>
          <ac:spMkLst>
            <pc:docMk/>
            <pc:sldMk cId="117717511" sldId="863"/>
            <ac:spMk id="12" creationId="{13DDFB9B-B73F-4BDD-9450-596059F82F6F}"/>
          </ac:spMkLst>
        </pc:spChg>
        <pc:spChg chg="del">
          <ac:chgData name="Kisliuk, Adrian (ext)" userId="6e619ce3-2643-4cdf-9a13-b4c269650021" providerId="ADAL" clId="{2F91516B-777A-4469-987E-B21E99E57CC9}" dt="2021-04-12T15:02:32.069" v="1710" actId="478"/>
          <ac:spMkLst>
            <pc:docMk/>
            <pc:sldMk cId="117717511" sldId="863"/>
            <ac:spMk id="13" creationId="{B21EA573-EC69-40BB-8632-E200AB0268D0}"/>
          </ac:spMkLst>
        </pc:spChg>
        <pc:spChg chg="del">
          <ac:chgData name="Kisliuk, Adrian (ext)" userId="6e619ce3-2643-4cdf-9a13-b4c269650021" providerId="ADAL" clId="{2F91516B-777A-4469-987E-B21E99E57CC9}" dt="2021-04-12T15:02:32.069" v="1710" actId="478"/>
          <ac:spMkLst>
            <pc:docMk/>
            <pc:sldMk cId="117717511" sldId="863"/>
            <ac:spMk id="19" creationId="{153306F1-2A0E-4D68-BA66-B8AF04BFEC63}"/>
          </ac:spMkLst>
        </pc:spChg>
        <pc:spChg chg="del">
          <ac:chgData name="Kisliuk, Adrian (ext)" userId="6e619ce3-2643-4cdf-9a13-b4c269650021" providerId="ADAL" clId="{2F91516B-777A-4469-987E-B21E99E57CC9}" dt="2021-04-12T15:02:32.069" v="1710" actId="478"/>
          <ac:spMkLst>
            <pc:docMk/>
            <pc:sldMk cId="117717511" sldId="863"/>
            <ac:spMk id="20" creationId="{9A4BEDE0-5D67-4BE2-AF24-515966F093EF}"/>
          </ac:spMkLst>
        </pc:spChg>
        <pc:spChg chg="del">
          <ac:chgData name="Kisliuk, Adrian (ext)" userId="6e619ce3-2643-4cdf-9a13-b4c269650021" providerId="ADAL" clId="{2F91516B-777A-4469-987E-B21E99E57CC9}" dt="2021-04-12T15:02:32.069" v="1710" actId="478"/>
          <ac:spMkLst>
            <pc:docMk/>
            <pc:sldMk cId="117717511" sldId="863"/>
            <ac:spMk id="22" creationId="{C2109E81-E217-48B1-A86B-2852D953F3F0}"/>
          </ac:spMkLst>
        </pc:spChg>
        <pc:spChg chg="del">
          <ac:chgData name="Kisliuk, Adrian (ext)" userId="6e619ce3-2643-4cdf-9a13-b4c269650021" providerId="ADAL" clId="{2F91516B-777A-4469-987E-B21E99E57CC9}" dt="2021-04-12T15:02:32.069" v="1710" actId="478"/>
          <ac:spMkLst>
            <pc:docMk/>
            <pc:sldMk cId="117717511" sldId="863"/>
            <ac:spMk id="23" creationId="{624170FD-30D4-4052-9186-927A77A3C792}"/>
          </ac:spMkLst>
        </pc:spChg>
        <pc:spChg chg="del">
          <ac:chgData name="Kisliuk, Adrian (ext)" userId="6e619ce3-2643-4cdf-9a13-b4c269650021" providerId="ADAL" clId="{2F91516B-777A-4469-987E-B21E99E57CC9}" dt="2021-04-12T15:02:32.069" v="1710" actId="478"/>
          <ac:spMkLst>
            <pc:docMk/>
            <pc:sldMk cId="117717511" sldId="863"/>
            <ac:spMk id="24" creationId="{CC6C6EE1-EACB-4F1C-9536-D61F24ED4CC5}"/>
          </ac:spMkLst>
        </pc:spChg>
        <pc:spChg chg="del">
          <ac:chgData name="Kisliuk, Adrian (ext)" userId="6e619ce3-2643-4cdf-9a13-b4c269650021" providerId="ADAL" clId="{2F91516B-777A-4469-987E-B21E99E57CC9}" dt="2021-04-12T15:02:32.069" v="1710" actId="478"/>
          <ac:spMkLst>
            <pc:docMk/>
            <pc:sldMk cId="117717511" sldId="863"/>
            <ac:spMk id="26" creationId="{548F08B3-6FD0-4D69-8E3A-FB7B859A81BE}"/>
          </ac:spMkLst>
        </pc:spChg>
        <pc:spChg chg="del">
          <ac:chgData name="Kisliuk, Adrian (ext)" userId="6e619ce3-2643-4cdf-9a13-b4c269650021" providerId="ADAL" clId="{2F91516B-777A-4469-987E-B21E99E57CC9}" dt="2021-04-12T15:02:32.069" v="1710" actId="478"/>
          <ac:spMkLst>
            <pc:docMk/>
            <pc:sldMk cId="117717511" sldId="863"/>
            <ac:spMk id="27" creationId="{5ACC94EB-85FC-42C8-8F08-2B6132FC2B9A}"/>
          </ac:spMkLst>
        </pc:spChg>
        <pc:spChg chg="add mod">
          <ac:chgData name="Kisliuk, Adrian (ext)" userId="6e619ce3-2643-4cdf-9a13-b4c269650021" providerId="ADAL" clId="{2F91516B-777A-4469-987E-B21E99E57CC9}" dt="2021-04-12T16:02:48.336" v="3029" actId="207"/>
          <ac:spMkLst>
            <pc:docMk/>
            <pc:sldMk cId="117717511" sldId="863"/>
            <ac:spMk id="28" creationId="{DDC4B4C1-A9E2-48B5-8C16-EA9C6476B188}"/>
          </ac:spMkLst>
        </pc:spChg>
        <pc:spChg chg="add mod">
          <ac:chgData name="Kisliuk, Adrian (ext)" userId="6e619ce3-2643-4cdf-9a13-b4c269650021" providerId="ADAL" clId="{2F91516B-777A-4469-987E-B21E99E57CC9}" dt="2021-04-12T15:48:49.651" v="2788" actId="20577"/>
          <ac:spMkLst>
            <pc:docMk/>
            <pc:sldMk cId="117717511" sldId="863"/>
            <ac:spMk id="31" creationId="{1FDC0901-175B-4C45-A5DC-EC6763ACA664}"/>
          </ac:spMkLst>
        </pc:spChg>
        <pc:spChg chg="add mod">
          <ac:chgData name="Kisliuk, Adrian (ext)" userId="6e619ce3-2643-4cdf-9a13-b4c269650021" providerId="ADAL" clId="{2F91516B-777A-4469-987E-B21E99E57CC9}" dt="2021-04-12T15:48:29.790" v="2787" actId="1036"/>
          <ac:spMkLst>
            <pc:docMk/>
            <pc:sldMk cId="117717511" sldId="863"/>
            <ac:spMk id="32" creationId="{2E0BB964-2509-4C28-9FCB-A627A5F336A5}"/>
          </ac:spMkLst>
        </pc:spChg>
        <pc:spChg chg="del">
          <ac:chgData name="Kisliuk, Adrian (ext)" userId="6e619ce3-2643-4cdf-9a13-b4c269650021" providerId="ADAL" clId="{2F91516B-777A-4469-987E-B21E99E57CC9}" dt="2021-04-12T15:02:27.289" v="1709" actId="21"/>
          <ac:spMkLst>
            <pc:docMk/>
            <pc:sldMk cId="117717511" sldId="863"/>
            <ac:spMk id="34" creationId="{B257C8D4-F11B-49DD-A8C3-5B55AC9374CB}"/>
          </ac:spMkLst>
        </pc:spChg>
        <pc:spChg chg="del">
          <ac:chgData name="Kisliuk, Adrian (ext)" userId="6e619ce3-2643-4cdf-9a13-b4c269650021" providerId="ADAL" clId="{2F91516B-777A-4469-987E-B21E99E57CC9}" dt="2021-04-12T15:02:32.069" v="1710" actId="478"/>
          <ac:spMkLst>
            <pc:docMk/>
            <pc:sldMk cId="117717511" sldId="863"/>
            <ac:spMk id="44" creationId="{5BE3AE2B-4A0E-4204-B25A-B404EC4FDDA8}"/>
          </ac:spMkLst>
        </pc:spChg>
        <pc:picChg chg="del">
          <ac:chgData name="Kisliuk, Adrian (ext)" userId="6e619ce3-2643-4cdf-9a13-b4c269650021" providerId="ADAL" clId="{2F91516B-777A-4469-987E-B21E99E57CC9}" dt="2021-04-12T15:02:36.572" v="1712" actId="478"/>
          <ac:picMkLst>
            <pc:docMk/>
            <pc:sldMk cId="117717511" sldId="863"/>
            <ac:picMk id="14" creationId="{56FA1EA2-7BD0-4511-B9A6-1EA14C379232}"/>
          </ac:picMkLst>
        </pc:picChg>
        <pc:picChg chg="del">
          <ac:chgData name="Kisliuk, Adrian (ext)" userId="6e619ce3-2643-4cdf-9a13-b4c269650021" providerId="ADAL" clId="{2F91516B-777A-4469-987E-B21E99E57CC9}" dt="2021-04-12T15:02:32.069" v="1710" actId="478"/>
          <ac:picMkLst>
            <pc:docMk/>
            <pc:sldMk cId="117717511" sldId="863"/>
            <ac:picMk id="16" creationId="{F29F1F7C-0D26-41DF-AC6A-9886F949FEC9}"/>
          </ac:picMkLst>
        </pc:picChg>
        <pc:cxnChg chg="del">
          <ac:chgData name="Kisliuk, Adrian (ext)" userId="6e619ce3-2643-4cdf-9a13-b4c269650021" providerId="ADAL" clId="{2F91516B-777A-4469-987E-B21E99E57CC9}" dt="2021-04-12T15:02:32.069" v="1710" actId="478"/>
          <ac:cxnSpMkLst>
            <pc:docMk/>
            <pc:sldMk cId="117717511" sldId="863"/>
            <ac:cxnSpMk id="5" creationId="{A4C623EE-5F8C-43C6-BD7F-4F7F0804E80E}"/>
          </ac:cxnSpMkLst>
        </pc:cxnChg>
        <pc:cxnChg chg="del">
          <ac:chgData name="Kisliuk, Adrian (ext)" userId="6e619ce3-2643-4cdf-9a13-b4c269650021" providerId="ADAL" clId="{2F91516B-777A-4469-987E-B21E99E57CC9}" dt="2021-04-12T15:02:32.069" v="1710" actId="478"/>
          <ac:cxnSpMkLst>
            <pc:docMk/>
            <pc:sldMk cId="117717511" sldId="863"/>
            <ac:cxnSpMk id="10" creationId="{273BF7F6-06B5-4471-8BC6-9B087719241F}"/>
          </ac:cxnSpMkLst>
        </pc:cxnChg>
        <pc:cxnChg chg="del">
          <ac:chgData name="Kisliuk, Adrian (ext)" userId="6e619ce3-2643-4cdf-9a13-b4c269650021" providerId="ADAL" clId="{2F91516B-777A-4469-987E-B21E99E57CC9}" dt="2021-04-12T15:02:32.069" v="1710" actId="478"/>
          <ac:cxnSpMkLst>
            <pc:docMk/>
            <pc:sldMk cId="117717511" sldId="863"/>
            <ac:cxnSpMk id="17" creationId="{E00C1456-EBC7-41F2-BF30-B1A7340F0087}"/>
          </ac:cxnSpMkLst>
        </pc:cxnChg>
        <pc:cxnChg chg="del">
          <ac:chgData name="Kisliuk, Adrian (ext)" userId="6e619ce3-2643-4cdf-9a13-b4c269650021" providerId="ADAL" clId="{2F91516B-777A-4469-987E-B21E99E57CC9}" dt="2021-04-12T15:02:32.069" v="1710" actId="478"/>
          <ac:cxnSpMkLst>
            <pc:docMk/>
            <pc:sldMk cId="117717511" sldId="863"/>
            <ac:cxnSpMk id="21" creationId="{9362684C-436C-45A6-9F89-A22C41EF495B}"/>
          </ac:cxnSpMkLst>
        </pc:cxnChg>
        <pc:cxnChg chg="del">
          <ac:chgData name="Kisliuk, Adrian (ext)" userId="6e619ce3-2643-4cdf-9a13-b4c269650021" providerId="ADAL" clId="{2F91516B-777A-4469-987E-B21E99E57CC9}" dt="2021-04-12T15:02:32.069" v="1710" actId="478"/>
          <ac:cxnSpMkLst>
            <pc:docMk/>
            <pc:sldMk cId="117717511" sldId="863"/>
            <ac:cxnSpMk id="29" creationId="{AD8299C5-A83B-4DE8-827B-CBDF6ED21028}"/>
          </ac:cxnSpMkLst>
        </pc:cxnChg>
        <pc:cxnChg chg="del mod">
          <ac:chgData name="Kisliuk, Adrian (ext)" userId="6e619ce3-2643-4cdf-9a13-b4c269650021" providerId="ADAL" clId="{2F91516B-777A-4469-987E-B21E99E57CC9}" dt="2021-04-12T15:02:32.069" v="1710" actId="478"/>
          <ac:cxnSpMkLst>
            <pc:docMk/>
            <pc:sldMk cId="117717511" sldId="863"/>
            <ac:cxnSpMk id="30" creationId="{AC8E0224-09DE-4BA7-85C0-FC8468016579}"/>
          </ac:cxnSpMkLst>
        </pc:cxnChg>
      </pc:sldChg>
      <pc:sldChg chg="addSp delSp modSp add del mod">
        <pc:chgData name="Kisliuk, Adrian (ext)" userId="6e619ce3-2643-4cdf-9a13-b4c269650021" providerId="ADAL" clId="{2F91516B-777A-4469-987E-B21E99E57CC9}" dt="2021-04-13T13:37:11.125" v="6090" actId="47"/>
        <pc:sldMkLst>
          <pc:docMk/>
          <pc:sldMk cId="3118666559" sldId="864"/>
        </pc:sldMkLst>
        <pc:spChg chg="mod ord">
          <ac:chgData name="Kisliuk, Adrian (ext)" userId="6e619ce3-2643-4cdf-9a13-b4c269650021" providerId="ADAL" clId="{2F91516B-777A-4469-987E-B21E99E57CC9}" dt="2021-04-12T16:23:21.022" v="3683" actId="948"/>
          <ac:spMkLst>
            <pc:docMk/>
            <pc:sldMk cId="3118666559" sldId="864"/>
            <ac:spMk id="2" creationId="{DE936FAF-2E76-49E3-A26B-EE542092B6EF}"/>
          </ac:spMkLst>
        </pc:spChg>
        <pc:spChg chg="mod ord">
          <ac:chgData name="Kisliuk, Adrian (ext)" userId="6e619ce3-2643-4cdf-9a13-b4c269650021" providerId="ADAL" clId="{2F91516B-777A-4469-987E-B21E99E57CC9}" dt="2021-04-12T16:01:54.107" v="3014"/>
          <ac:spMkLst>
            <pc:docMk/>
            <pc:sldMk cId="3118666559" sldId="864"/>
            <ac:spMk id="4" creationId="{00000000-0000-0000-0000-000000000000}"/>
          </ac:spMkLst>
        </pc:spChg>
        <pc:spChg chg="del">
          <ac:chgData name="Kisliuk, Adrian (ext)" userId="6e619ce3-2643-4cdf-9a13-b4c269650021" providerId="ADAL" clId="{2F91516B-777A-4469-987E-B21E99E57CC9}" dt="2021-04-12T15:40:07.650" v="2598" actId="478"/>
          <ac:spMkLst>
            <pc:docMk/>
            <pc:sldMk cId="3118666559" sldId="864"/>
            <ac:spMk id="8" creationId="{B770DFCD-481B-4E10-9BE0-922F51CC6FD1}"/>
          </ac:spMkLst>
        </pc:spChg>
        <pc:spChg chg="del">
          <ac:chgData name="Kisliuk, Adrian (ext)" userId="6e619ce3-2643-4cdf-9a13-b4c269650021" providerId="ADAL" clId="{2F91516B-777A-4469-987E-B21E99E57CC9}" dt="2021-04-12T15:40:07.650" v="2598" actId="478"/>
          <ac:spMkLst>
            <pc:docMk/>
            <pc:sldMk cId="3118666559" sldId="864"/>
            <ac:spMk id="9" creationId="{1C2B6D7D-629B-4E2F-82EE-83C633F8EB6A}"/>
          </ac:spMkLst>
        </pc:spChg>
        <pc:spChg chg="add del mod ord modVis">
          <ac:chgData name="Kisliuk, Adrian (ext)" userId="6e619ce3-2643-4cdf-9a13-b4c269650021" providerId="ADAL" clId="{2F91516B-777A-4469-987E-B21E99E57CC9}" dt="2021-04-12T16:01:54.449" v="3018"/>
          <ac:spMkLst>
            <pc:docMk/>
            <pc:sldMk cId="3118666559" sldId="864"/>
            <ac:spMk id="11" creationId="{FCDABAFD-2E31-4591-9668-2FA2AE4042B1}"/>
          </ac:spMkLst>
        </pc:spChg>
        <pc:spChg chg="del">
          <ac:chgData name="Kisliuk, Adrian (ext)" userId="6e619ce3-2643-4cdf-9a13-b4c269650021" providerId="ADAL" clId="{2F91516B-777A-4469-987E-B21E99E57CC9}" dt="2021-04-12T15:40:07.650" v="2598" actId="478"/>
          <ac:spMkLst>
            <pc:docMk/>
            <pc:sldMk cId="3118666559" sldId="864"/>
            <ac:spMk id="12" creationId="{13DDFB9B-B73F-4BDD-9450-596059F82F6F}"/>
          </ac:spMkLst>
        </pc:spChg>
        <pc:spChg chg="del">
          <ac:chgData name="Kisliuk, Adrian (ext)" userId="6e619ce3-2643-4cdf-9a13-b4c269650021" providerId="ADAL" clId="{2F91516B-777A-4469-987E-B21E99E57CC9}" dt="2021-04-12T15:40:11.025" v="2599" actId="478"/>
          <ac:spMkLst>
            <pc:docMk/>
            <pc:sldMk cId="3118666559" sldId="864"/>
            <ac:spMk id="13" creationId="{B21EA573-EC69-40BB-8632-E200AB0268D0}"/>
          </ac:spMkLst>
        </pc:spChg>
        <pc:spChg chg="del">
          <ac:chgData name="Kisliuk, Adrian (ext)" userId="6e619ce3-2643-4cdf-9a13-b4c269650021" providerId="ADAL" clId="{2F91516B-777A-4469-987E-B21E99E57CC9}" dt="2021-04-12T15:40:07.650" v="2598" actId="478"/>
          <ac:spMkLst>
            <pc:docMk/>
            <pc:sldMk cId="3118666559" sldId="864"/>
            <ac:spMk id="19" creationId="{153306F1-2A0E-4D68-BA66-B8AF04BFEC63}"/>
          </ac:spMkLst>
        </pc:spChg>
        <pc:spChg chg="del">
          <ac:chgData name="Kisliuk, Adrian (ext)" userId="6e619ce3-2643-4cdf-9a13-b4c269650021" providerId="ADAL" clId="{2F91516B-777A-4469-987E-B21E99E57CC9}" dt="2021-04-12T15:40:07.650" v="2598" actId="478"/>
          <ac:spMkLst>
            <pc:docMk/>
            <pc:sldMk cId="3118666559" sldId="864"/>
            <ac:spMk id="20" creationId="{9A4BEDE0-5D67-4BE2-AF24-515966F093EF}"/>
          </ac:spMkLst>
        </pc:spChg>
        <pc:spChg chg="del">
          <ac:chgData name="Kisliuk, Adrian (ext)" userId="6e619ce3-2643-4cdf-9a13-b4c269650021" providerId="ADAL" clId="{2F91516B-777A-4469-987E-B21E99E57CC9}" dt="2021-04-12T15:40:07.650" v="2598" actId="478"/>
          <ac:spMkLst>
            <pc:docMk/>
            <pc:sldMk cId="3118666559" sldId="864"/>
            <ac:spMk id="23" creationId="{624170FD-30D4-4052-9186-927A77A3C792}"/>
          </ac:spMkLst>
        </pc:spChg>
        <pc:spChg chg="del">
          <ac:chgData name="Kisliuk, Adrian (ext)" userId="6e619ce3-2643-4cdf-9a13-b4c269650021" providerId="ADAL" clId="{2F91516B-777A-4469-987E-B21E99E57CC9}" dt="2021-04-12T15:40:07.650" v="2598" actId="478"/>
          <ac:spMkLst>
            <pc:docMk/>
            <pc:sldMk cId="3118666559" sldId="864"/>
            <ac:spMk id="24" creationId="{CC6C6EE1-EACB-4F1C-9536-D61F24ED4CC5}"/>
          </ac:spMkLst>
        </pc:spChg>
        <pc:spChg chg="del">
          <ac:chgData name="Kisliuk, Adrian (ext)" userId="6e619ce3-2643-4cdf-9a13-b4c269650021" providerId="ADAL" clId="{2F91516B-777A-4469-987E-B21E99E57CC9}" dt="2021-04-12T15:40:07.650" v="2598" actId="478"/>
          <ac:spMkLst>
            <pc:docMk/>
            <pc:sldMk cId="3118666559" sldId="864"/>
            <ac:spMk id="26" creationId="{548F08B3-6FD0-4D69-8E3A-FB7B859A81BE}"/>
          </ac:spMkLst>
        </pc:spChg>
        <pc:spChg chg="del">
          <ac:chgData name="Kisliuk, Adrian (ext)" userId="6e619ce3-2643-4cdf-9a13-b4c269650021" providerId="ADAL" clId="{2F91516B-777A-4469-987E-B21E99E57CC9}" dt="2021-04-12T15:40:07.650" v="2598" actId="478"/>
          <ac:spMkLst>
            <pc:docMk/>
            <pc:sldMk cId="3118666559" sldId="864"/>
            <ac:spMk id="27" creationId="{5ACC94EB-85FC-42C8-8F08-2B6132FC2B9A}"/>
          </ac:spMkLst>
        </pc:spChg>
        <pc:spChg chg="del">
          <ac:chgData name="Kisliuk, Adrian (ext)" userId="6e619ce3-2643-4cdf-9a13-b4c269650021" providerId="ADAL" clId="{2F91516B-777A-4469-987E-B21E99E57CC9}" dt="2021-04-12T15:40:07.650" v="2598" actId="478"/>
          <ac:spMkLst>
            <pc:docMk/>
            <pc:sldMk cId="3118666559" sldId="864"/>
            <ac:spMk id="44" creationId="{5BE3AE2B-4A0E-4204-B25A-B404EC4FDDA8}"/>
          </ac:spMkLst>
        </pc:spChg>
        <pc:graphicFrameChg chg="mod ord">
          <ac:chgData name="Kisliuk, Adrian (ext)" userId="6e619ce3-2643-4cdf-9a13-b4c269650021" providerId="ADAL" clId="{2F91516B-777A-4469-987E-B21E99E57CC9}" dt="2021-04-12T16:23:21.025" v="3685"/>
          <ac:graphicFrameMkLst>
            <pc:docMk/>
            <pc:sldMk cId="3118666559" sldId="864"/>
            <ac:graphicFrameMk id="6" creationId="{580DFCAE-76C4-413B-B499-F7B76F1E13AF}"/>
          </ac:graphicFrameMkLst>
        </pc:graphicFrameChg>
        <pc:picChg chg="add mod ord">
          <ac:chgData name="Kisliuk, Adrian (ext)" userId="6e619ce3-2643-4cdf-9a13-b4c269650021" providerId="ADAL" clId="{2F91516B-777A-4469-987E-B21E99E57CC9}" dt="2021-04-12T16:02:23.161" v="3028" actId="1076"/>
          <ac:picMkLst>
            <pc:docMk/>
            <pc:sldMk cId="3118666559" sldId="864"/>
            <ac:picMk id="7" creationId="{FC081093-AED8-4471-874A-FD22D8D85038}"/>
          </ac:picMkLst>
        </pc:picChg>
        <pc:picChg chg="del">
          <ac:chgData name="Kisliuk, Adrian (ext)" userId="6e619ce3-2643-4cdf-9a13-b4c269650021" providerId="ADAL" clId="{2F91516B-777A-4469-987E-B21E99E57CC9}" dt="2021-04-12T15:40:15.166" v="2600" actId="478"/>
          <ac:picMkLst>
            <pc:docMk/>
            <pc:sldMk cId="3118666559" sldId="864"/>
            <ac:picMk id="14" creationId="{56FA1EA2-7BD0-4511-B9A6-1EA14C379232}"/>
          </ac:picMkLst>
        </pc:picChg>
        <pc:picChg chg="del">
          <ac:chgData name="Kisliuk, Adrian (ext)" userId="6e619ce3-2643-4cdf-9a13-b4c269650021" providerId="ADAL" clId="{2F91516B-777A-4469-987E-B21E99E57CC9}" dt="2021-04-12T15:40:07.650" v="2598" actId="478"/>
          <ac:picMkLst>
            <pc:docMk/>
            <pc:sldMk cId="3118666559" sldId="864"/>
            <ac:picMk id="16" creationId="{F29F1F7C-0D26-41DF-AC6A-9886F949FEC9}"/>
          </ac:picMkLst>
        </pc:picChg>
        <pc:picChg chg="add mod ord">
          <ac:chgData name="Kisliuk, Adrian (ext)" userId="6e619ce3-2643-4cdf-9a13-b4c269650021" providerId="ADAL" clId="{2F91516B-777A-4469-987E-B21E99E57CC9}" dt="2021-04-12T16:02:23.161" v="3028" actId="1076"/>
          <ac:picMkLst>
            <pc:docMk/>
            <pc:sldMk cId="3118666559" sldId="864"/>
            <ac:picMk id="25" creationId="{B5EF6DB6-C371-478D-9AD0-02EB7A025348}"/>
          </ac:picMkLst>
        </pc:picChg>
        <pc:cxnChg chg="del">
          <ac:chgData name="Kisliuk, Adrian (ext)" userId="6e619ce3-2643-4cdf-9a13-b4c269650021" providerId="ADAL" clId="{2F91516B-777A-4469-987E-B21E99E57CC9}" dt="2021-04-12T15:40:07.650" v="2598" actId="478"/>
          <ac:cxnSpMkLst>
            <pc:docMk/>
            <pc:sldMk cId="3118666559" sldId="864"/>
            <ac:cxnSpMk id="5" creationId="{A4C623EE-5F8C-43C6-BD7F-4F7F0804E80E}"/>
          </ac:cxnSpMkLst>
        </pc:cxnChg>
        <pc:cxnChg chg="del">
          <ac:chgData name="Kisliuk, Adrian (ext)" userId="6e619ce3-2643-4cdf-9a13-b4c269650021" providerId="ADAL" clId="{2F91516B-777A-4469-987E-B21E99E57CC9}" dt="2021-04-12T15:40:07.650" v="2598" actId="478"/>
          <ac:cxnSpMkLst>
            <pc:docMk/>
            <pc:sldMk cId="3118666559" sldId="864"/>
            <ac:cxnSpMk id="10" creationId="{273BF7F6-06B5-4471-8BC6-9B087719241F}"/>
          </ac:cxnSpMkLst>
        </pc:cxnChg>
        <pc:cxnChg chg="del">
          <ac:chgData name="Kisliuk, Adrian (ext)" userId="6e619ce3-2643-4cdf-9a13-b4c269650021" providerId="ADAL" clId="{2F91516B-777A-4469-987E-B21E99E57CC9}" dt="2021-04-12T15:40:07.650" v="2598" actId="478"/>
          <ac:cxnSpMkLst>
            <pc:docMk/>
            <pc:sldMk cId="3118666559" sldId="864"/>
            <ac:cxnSpMk id="17" creationId="{E00C1456-EBC7-41F2-BF30-B1A7340F0087}"/>
          </ac:cxnSpMkLst>
        </pc:cxnChg>
        <pc:cxnChg chg="del">
          <ac:chgData name="Kisliuk, Adrian (ext)" userId="6e619ce3-2643-4cdf-9a13-b4c269650021" providerId="ADAL" clId="{2F91516B-777A-4469-987E-B21E99E57CC9}" dt="2021-04-12T15:40:07.650" v="2598" actId="478"/>
          <ac:cxnSpMkLst>
            <pc:docMk/>
            <pc:sldMk cId="3118666559" sldId="864"/>
            <ac:cxnSpMk id="21" creationId="{9362684C-436C-45A6-9F89-A22C41EF495B}"/>
          </ac:cxnSpMkLst>
        </pc:cxnChg>
        <pc:cxnChg chg="del">
          <ac:chgData name="Kisliuk, Adrian (ext)" userId="6e619ce3-2643-4cdf-9a13-b4c269650021" providerId="ADAL" clId="{2F91516B-777A-4469-987E-B21E99E57CC9}" dt="2021-04-12T15:40:07.650" v="2598" actId="478"/>
          <ac:cxnSpMkLst>
            <pc:docMk/>
            <pc:sldMk cId="3118666559" sldId="864"/>
            <ac:cxnSpMk id="29" creationId="{AD8299C5-A83B-4DE8-827B-CBDF6ED21028}"/>
          </ac:cxnSpMkLst>
        </pc:cxnChg>
        <pc:cxnChg chg="del mod">
          <ac:chgData name="Kisliuk, Adrian (ext)" userId="6e619ce3-2643-4cdf-9a13-b4c269650021" providerId="ADAL" clId="{2F91516B-777A-4469-987E-B21E99E57CC9}" dt="2021-04-12T15:40:07.650" v="2598" actId="478"/>
          <ac:cxnSpMkLst>
            <pc:docMk/>
            <pc:sldMk cId="3118666559" sldId="864"/>
            <ac:cxnSpMk id="30" creationId="{AC8E0224-09DE-4BA7-85C0-FC8468016579}"/>
          </ac:cxnSpMkLst>
        </pc:cxnChg>
      </pc:sldChg>
      <pc:sldChg chg="addSp delSp modSp add del mod modTransition modShow">
        <pc:chgData name="Kisliuk, Adrian (ext)" userId="6e619ce3-2643-4cdf-9a13-b4c269650021" providerId="ADAL" clId="{2F91516B-777A-4469-987E-B21E99E57CC9}" dt="2021-04-13T14:24:19.504" v="6495" actId="47"/>
        <pc:sldMkLst>
          <pc:docMk/>
          <pc:sldMk cId="4192918024" sldId="865"/>
        </pc:sldMkLst>
        <pc:spChg chg="mod ord">
          <ac:chgData name="Kisliuk, Adrian (ext)" userId="6e619ce3-2643-4cdf-9a13-b4c269650021" providerId="ADAL" clId="{2F91516B-777A-4469-987E-B21E99E57CC9}" dt="2021-04-12T16:25:18.598" v="4259" actId="948"/>
          <ac:spMkLst>
            <pc:docMk/>
            <pc:sldMk cId="4192918024" sldId="865"/>
            <ac:spMk id="2" creationId="{DE936FAF-2E76-49E3-A26B-EE542092B6EF}"/>
          </ac:spMkLst>
        </pc:spChg>
        <pc:spChg chg="add del mod ord modVis">
          <ac:chgData name="Kisliuk, Adrian (ext)" userId="6e619ce3-2643-4cdf-9a13-b4c269650021" providerId="ADAL" clId="{2F91516B-777A-4469-987E-B21E99E57CC9}" dt="2021-04-12T16:04:43.216" v="3100"/>
          <ac:spMkLst>
            <pc:docMk/>
            <pc:sldMk cId="4192918024" sldId="865"/>
            <ac:spMk id="3" creationId="{D3776D79-1F59-424F-8100-ACE2C52F4E1A}"/>
          </ac:spMkLst>
        </pc:spChg>
        <pc:spChg chg="mod ord">
          <ac:chgData name="Kisliuk, Adrian (ext)" userId="6e619ce3-2643-4cdf-9a13-b4c269650021" providerId="ADAL" clId="{2F91516B-777A-4469-987E-B21E99E57CC9}" dt="2021-04-12T16:04:43.214" v="3092"/>
          <ac:spMkLst>
            <pc:docMk/>
            <pc:sldMk cId="4192918024" sldId="865"/>
            <ac:spMk id="4" creationId="{00000000-0000-0000-0000-000000000000}"/>
          </ac:spMkLst>
        </pc:spChg>
        <pc:spChg chg="add mod">
          <ac:chgData name="Kisliuk, Adrian (ext)" userId="6e619ce3-2643-4cdf-9a13-b4c269650021" providerId="ADAL" clId="{2F91516B-777A-4469-987E-B21E99E57CC9}" dt="2021-04-13T13:59:27.749" v="6313" actId="1076"/>
          <ac:spMkLst>
            <pc:docMk/>
            <pc:sldMk cId="4192918024" sldId="865"/>
            <ac:spMk id="5" creationId="{3D050C70-F57D-458E-826F-0A5D43C9D2D3}"/>
          </ac:spMkLst>
        </pc:spChg>
        <pc:spChg chg="add del mod modVis">
          <ac:chgData name="Kisliuk, Adrian (ext)" userId="6e619ce3-2643-4cdf-9a13-b4c269650021" providerId="ADAL" clId="{2F91516B-777A-4469-987E-B21E99E57CC9}" dt="2021-04-12T16:22:28.526" v="3392"/>
          <ac:spMkLst>
            <pc:docMk/>
            <pc:sldMk cId="4192918024" sldId="865"/>
            <ac:spMk id="7" creationId="{089F29D5-24D8-42A0-B9F4-0D13995AD476}"/>
          </ac:spMkLst>
        </pc:spChg>
        <pc:spChg chg="add mod ord">
          <ac:chgData name="Kisliuk, Adrian (ext)" userId="6e619ce3-2643-4cdf-9a13-b4c269650021" providerId="ADAL" clId="{2F91516B-777A-4469-987E-B21E99E57CC9}" dt="2021-04-13T14:00:34.823" v="6333" actId="20577"/>
          <ac:spMkLst>
            <pc:docMk/>
            <pc:sldMk cId="4192918024" sldId="865"/>
            <ac:spMk id="8" creationId="{01C6FEC3-9DB7-4E47-A7ED-2BB3C528CBCC}"/>
          </ac:spMkLst>
        </pc:spChg>
        <pc:spChg chg="add del mod modVis">
          <ac:chgData name="Kisliuk, Adrian (ext)" userId="6e619ce3-2643-4cdf-9a13-b4c269650021" providerId="ADAL" clId="{2F91516B-777A-4469-987E-B21E99E57CC9}" dt="2021-04-12T16:24:47.654" v="3758"/>
          <ac:spMkLst>
            <pc:docMk/>
            <pc:sldMk cId="4192918024" sldId="865"/>
            <ac:spMk id="9" creationId="{07D04559-530A-4F08-8457-1408FD7BCC17}"/>
          </ac:spMkLst>
        </pc:spChg>
        <pc:spChg chg="add del mod">
          <ac:chgData name="Kisliuk, Adrian (ext)" userId="6e619ce3-2643-4cdf-9a13-b4c269650021" providerId="ADAL" clId="{2F91516B-777A-4469-987E-B21E99E57CC9}" dt="2021-04-13T14:17:35.302" v="6435"/>
          <ac:spMkLst>
            <pc:docMk/>
            <pc:sldMk cId="4192918024" sldId="865"/>
            <ac:spMk id="10" creationId="{EA5D3895-8CD8-487A-B6A9-80490922B7C3}"/>
          </ac:spMkLst>
        </pc:spChg>
        <pc:spChg chg="add del mod modVis">
          <ac:chgData name="Kisliuk, Adrian (ext)" userId="6e619ce3-2643-4cdf-9a13-b4c269650021" providerId="ADAL" clId="{2F91516B-777A-4469-987E-B21E99E57CC9}" dt="2021-04-12T16:24:48.687" v="3801"/>
          <ac:spMkLst>
            <pc:docMk/>
            <pc:sldMk cId="4192918024" sldId="865"/>
            <ac:spMk id="11" creationId="{3758999C-82B9-4063-BF77-CE7A1D9E0919}"/>
          </ac:spMkLst>
        </pc:spChg>
        <pc:spChg chg="add del mod modVis">
          <ac:chgData name="Kisliuk, Adrian (ext)" userId="6e619ce3-2643-4cdf-9a13-b4c269650021" providerId="ADAL" clId="{2F91516B-777A-4469-987E-B21E99E57CC9}" dt="2021-04-12T16:24:51.817" v="3847"/>
          <ac:spMkLst>
            <pc:docMk/>
            <pc:sldMk cId="4192918024" sldId="865"/>
            <ac:spMk id="12" creationId="{5B1904A2-5050-414D-A696-C02618B4069F}"/>
          </ac:spMkLst>
        </pc:spChg>
        <pc:spChg chg="add del mod modVis">
          <ac:chgData name="Kisliuk, Adrian (ext)" userId="6e619ce3-2643-4cdf-9a13-b4c269650021" providerId="ADAL" clId="{2F91516B-777A-4469-987E-B21E99E57CC9}" dt="2021-04-12T16:24:53.222" v="3892"/>
          <ac:spMkLst>
            <pc:docMk/>
            <pc:sldMk cId="4192918024" sldId="865"/>
            <ac:spMk id="13" creationId="{E0F12CC7-30D1-4020-AC64-570A63311DEE}"/>
          </ac:spMkLst>
        </pc:spChg>
        <pc:spChg chg="add del mod modVis">
          <ac:chgData name="Kisliuk, Adrian (ext)" userId="6e619ce3-2643-4cdf-9a13-b4c269650021" providerId="ADAL" clId="{2F91516B-777A-4469-987E-B21E99E57CC9}" dt="2021-04-12T16:24:54.155" v="3933"/>
          <ac:spMkLst>
            <pc:docMk/>
            <pc:sldMk cId="4192918024" sldId="865"/>
            <ac:spMk id="14" creationId="{7EE3B574-13F3-40D1-9656-EAB0BFC5185F}"/>
          </ac:spMkLst>
        </pc:spChg>
        <pc:spChg chg="add del mod modVis">
          <ac:chgData name="Kisliuk, Adrian (ext)" userId="6e619ce3-2643-4cdf-9a13-b4c269650021" providerId="ADAL" clId="{2F91516B-777A-4469-987E-B21E99E57CC9}" dt="2021-04-12T16:24:55.241" v="3977"/>
          <ac:spMkLst>
            <pc:docMk/>
            <pc:sldMk cId="4192918024" sldId="865"/>
            <ac:spMk id="15" creationId="{9DE1BAB4-8CB0-4B05-B264-CF75FEDFCC18}"/>
          </ac:spMkLst>
        </pc:spChg>
        <pc:spChg chg="add del mod modVis">
          <ac:chgData name="Kisliuk, Adrian (ext)" userId="6e619ce3-2643-4cdf-9a13-b4c269650021" providerId="ADAL" clId="{2F91516B-777A-4469-987E-B21E99E57CC9}" dt="2021-04-12T16:24:56.928" v="4025"/>
          <ac:spMkLst>
            <pc:docMk/>
            <pc:sldMk cId="4192918024" sldId="865"/>
            <ac:spMk id="16" creationId="{05C80E89-AC8D-4425-81C4-EC954A39D36B}"/>
          </ac:spMkLst>
        </pc:spChg>
        <pc:spChg chg="add del mod modVis">
          <ac:chgData name="Kisliuk, Adrian (ext)" userId="6e619ce3-2643-4cdf-9a13-b4c269650021" providerId="ADAL" clId="{2F91516B-777A-4469-987E-B21E99E57CC9}" dt="2021-04-12T16:24:58.634" v="4070"/>
          <ac:spMkLst>
            <pc:docMk/>
            <pc:sldMk cId="4192918024" sldId="865"/>
            <ac:spMk id="17" creationId="{A7625F6A-EF46-4980-A9B0-378A54F7BC69}"/>
          </ac:spMkLst>
        </pc:spChg>
        <pc:spChg chg="add del mod modVis">
          <ac:chgData name="Kisliuk, Adrian (ext)" userId="6e619ce3-2643-4cdf-9a13-b4c269650021" providerId="ADAL" clId="{2F91516B-777A-4469-987E-B21E99E57CC9}" dt="2021-04-12T16:25:00.638" v="4120"/>
          <ac:spMkLst>
            <pc:docMk/>
            <pc:sldMk cId="4192918024" sldId="865"/>
            <ac:spMk id="18" creationId="{FFAB3B3C-E85E-40E9-92C7-FC30792A9153}"/>
          </ac:spMkLst>
        </pc:spChg>
        <pc:spChg chg="add del mod modVis">
          <ac:chgData name="Kisliuk, Adrian (ext)" userId="6e619ce3-2643-4cdf-9a13-b4c269650021" providerId="ADAL" clId="{2F91516B-777A-4469-987E-B21E99E57CC9}" dt="2021-04-12T16:25:02.088" v="4166"/>
          <ac:spMkLst>
            <pc:docMk/>
            <pc:sldMk cId="4192918024" sldId="865"/>
            <ac:spMk id="19" creationId="{8B2D64F2-5154-4461-B4D8-B45AEB4F2F69}"/>
          </ac:spMkLst>
        </pc:spChg>
        <pc:spChg chg="add del mod modVis">
          <ac:chgData name="Kisliuk, Adrian (ext)" userId="6e619ce3-2643-4cdf-9a13-b4c269650021" providerId="ADAL" clId="{2F91516B-777A-4469-987E-B21E99E57CC9}" dt="2021-04-12T16:25:11.340" v="4207"/>
          <ac:spMkLst>
            <pc:docMk/>
            <pc:sldMk cId="4192918024" sldId="865"/>
            <ac:spMk id="20" creationId="{A5DA24B1-5791-476D-8173-D78B11305BCC}"/>
          </ac:spMkLst>
        </pc:spChg>
        <pc:spChg chg="add del mod modVis">
          <ac:chgData name="Kisliuk, Adrian (ext)" userId="6e619ce3-2643-4cdf-9a13-b4c269650021" providerId="ADAL" clId="{2F91516B-777A-4469-987E-B21E99E57CC9}" dt="2021-04-12T16:25:12.548" v="4251"/>
          <ac:spMkLst>
            <pc:docMk/>
            <pc:sldMk cId="4192918024" sldId="865"/>
            <ac:spMk id="21" creationId="{910869C1-FEF5-4307-8059-1C0D3B63BCDB}"/>
          </ac:spMkLst>
        </pc:spChg>
        <pc:spChg chg="add del mod modVis">
          <ac:chgData name="Kisliuk, Adrian (ext)" userId="6e619ce3-2643-4cdf-9a13-b4c269650021" providerId="ADAL" clId="{2F91516B-777A-4469-987E-B21E99E57CC9}" dt="2021-04-12T16:25:18.624" v="4296"/>
          <ac:spMkLst>
            <pc:docMk/>
            <pc:sldMk cId="4192918024" sldId="865"/>
            <ac:spMk id="22" creationId="{48EA8F0A-44FB-4408-B03B-C5721500F35D}"/>
          </ac:spMkLst>
        </pc:spChg>
        <pc:spChg chg="mod ord">
          <ac:chgData name="Kisliuk, Adrian (ext)" userId="6e619ce3-2643-4cdf-9a13-b4c269650021" providerId="ADAL" clId="{2F91516B-777A-4469-987E-B21E99E57CC9}" dt="2021-04-13T14:11:39.968" v="6383" actId="207"/>
          <ac:spMkLst>
            <pc:docMk/>
            <pc:sldMk cId="4192918024" sldId="865"/>
            <ac:spMk id="28" creationId="{DDC4B4C1-A9E2-48B5-8C16-EA9C6476B188}"/>
          </ac:spMkLst>
        </pc:spChg>
        <pc:spChg chg="mod ord">
          <ac:chgData name="Kisliuk, Adrian (ext)" userId="6e619ce3-2643-4cdf-9a13-b4c269650021" providerId="ADAL" clId="{2F91516B-777A-4469-987E-B21E99E57CC9}" dt="2021-04-12T21:38:01.014" v="4442" actId="20577"/>
          <ac:spMkLst>
            <pc:docMk/>
            <pc:sldMk cId="4192918024" sldId="865"/>
            <ac:spMk id="31" creationId="{1FDC0901-175B-4C45-A5DC-EC6763ACA664}"/>
          </ac:spMkLst>
        </pc:spChg>
        <pc:spChg chg="mod ord">
          <ac:chgData name="Kisliuk, Adrian (ext)" userId="6e619ce3-2643-4cdf-9a13-b4c269650021" providerId="ADAL" clId="{2F91516B-777A-4469-987E-B21E99E57CC9}" dt="2021-04-12T16:21:40.742" v="3353" actId="20577"/>
          <ac:spMkLst>
            <pc:docMk/>
            <pc:sldMk cId="4192918024" sldId="865"/>
            <ac:spMk id="32" creationId="{2E0BB964-2509-4C28-9FCB-A627A5F336A5}"/>
          </ac:spMkLst>
        </pc:spChg>
        <pc:graphicFrameChg chg="mod ord">
          <ac:chgData name="Kisliuk, Adrian (ext)" userId="6e619ce3-2643-4cdf-9a13-b4c269650021" providerId="ADAL" clId="{2F91516B-777A-4469-987E-B21E99E57CC9}" dt="2021-04-13T14:24:12.557" v="6494"/>
          <ac:graphicFrameMkLst>
            <pc:docMk/>
            <pc:sldMk cId="4192918024" sldId="865"/>
            <ac:graphicFrameMk id="6" creationId="{580DFCAE-76C4-413B-B499-F7B76F1E13AF}"/>
          </ac:graphicFrameMkLst>
        </pc:graphicFrameChg>
        <pc:cxnChg chg="add del mod">
          <ac:chgData name="Kisliuk, Adrian (ext)" userId="6e619ce3-2643-4cdf-9a13-b4c269650021" providerId="ADAL" clId="{2F91516B-777A-4469-987E-B21E99E57CC9}" dt="2021-04-12T16:20:37.644" v="3328" actId="478"/>
          <ac:cxnSpMkLst>
            <pc:docMk/>
            <pc:sldMk cId="4192918024" sldId="865"/>
            <ac:cxnSpMk id="10" creationId="{374DA78B-A169-4A00-B059-CB76CC5529EC}"/>
          </ac:cxnSpMkLst>
        </pc:cxnChg>
      </pc:sldChg>
      <pc:sldChg chg="addSp delSp modSp add del mod">
        <pc:chgData name="Kisliuk, Adrian (ext)" userId="6e619ce3-2643-4cdf-9a13-b4c269650021" providerId="ADAL" clId="{2F91516B-777A-4469-987E-B21E99E57CC9}" dt="2021-04-13T13:57:36.269" v="6307" actId="47"/>
        <pc:sldMkLst>
          <pc:docMk/>
          <pc:sldMk cId="2494462480" sldId="866"/>
        </pc:sldMkLst>
        <pc:spChg chg="mod">
          <ac:chgData name="Kisliuk, Adrian (ext)" userId="6e619ce3-2643-4cdf-9a13-b4c269650021" providerId="ADAL" clId="{2F91516B-777A-4469-987E-B21E99E57CC9}" dt="2021-04-12T16:22:41.045" v="3478" actId="948"/>
          <ac:spMkLst>
            <pc:docMk/>
            <pc:sldMk cId="2494462480" sldId="866"/>
            <ac:spMk id="2" creationId="{DE936FAF-2E76-49E3-A26B-EE542092B6EF}"/>
          </ac:spMkLst>
        </pc:spChg>
        <pc:spChg chg="add del mod modVis">
          <ac:chgData name="Kisliuk, Adrian (ext)" userId="6e619ce3-2643-4cdf-9a13-b4c269650021" providerId="ADAL" clId="{2F91516B-777A-4469-987E-B21E99E57CC9}" dt="2021-04-12T16:22:41.077" v="3515"/>
          <ac:spMkLst>
            <pc:docMk/>
            <pc:sldMk cId="2494462480" sldId="866"/>
            <ac:spMk id="3" creationId="{9B4079DA-E4E8-45A0-AA93-7365643EBF54}"/>
          </ac:spMkLst>
        </pc:spChg>
        <pc:spChg chg="mod">
          <ac:chgData name="Kisliuk, Adrian (ext)" userId="6e619ce3-2643-4cdf-9a13-b4c269650021" providerId="ADAL" clId="{2F91516B-777A-4469-987E-B21E99E57CC9}" dt="2021-04-12T16:08:26.175" v="3207" actId="1076"/>
          <ac:spMkLst>
            <pc:docMk/>
            <pc:sldMk cId="2494462480" sldId="866"/>
            <ac:spMk id="8" creationId="{B770DFCD-481B-4E10-9BE0-922F51CC6FD1}"/>
          </ac:spMkLst>
        </pc:spChg>
        <pc:spChg chg="mod">
          <ac:chgData name="Kisliuk, Adrian (ext)" userId="6e619ce3-2643-4cdf-9a13-b4c269650021" providerId="ADAL" clId="{2F91516B-777A-4469-987E-B21E99E57CC9}" dt="2021-04-12T16:09:58.686" v="3225" actId="1076"/>
          <ac:spMkLst>
            <pc:docMk/>
            <pc:sldMk cId="2494462480" sldId="866"/>
            <ac:spMk id="9" creationId="{1C2B6D7D-629B-4E2F-82EE-83C633F8EB6A}"/>
          </ac:spMkLst>
        </pc:spChg>
        <pc:spChg chg="mod">
          <ac:chgData name="Kisliuk, Adrian (ext)" userId="6e619ce3-2643-4cdf-9a13-b4c269650021" providerId="ADAL" clId="{2F91516B-777A-4469-987E-B21E99E57CC9}" dt="2021-04-12T16:09:42.494" v="3219" actId="1076"/>
          <ac:spMkLst>
            <pc:docMk/>
            <pc:sldMk cId="2494462480" sldId="866"/>
            <ac:spMk id="10" creationId="{03B20157-9F30-418E-A5CB-C5498AE810F2}"/>
          </ac:spMkLst>
        </pc:spChg>
        <pc:spChg chg="mod">
          <ac:chgData name="Kisliuk, Adrian (ext)" userId="6e619ce3-2643-4cdf-9a13-b4c269650021" providerId="ADAL" clId="{2F91516B-777A-4469-987E-B21E99E57CC9}" dt="2021-04-12T16:08:20.072" v="3205" actId="1076"/>
          <ac:spMkLst>
            <pc:docMk/>
            <pc:sldMk cId="2494462480" sldId="866"/>
            <ac:spMk id="11" creationId="{B92E80A5-2C9C-4BBB-986D-BA0634DFB9C8}"/>
          </ac:spMkLst>
        </pc:spChg>
        <pc:spChg chg="del">
          <ac:chgData name="Kisliuk, Adrian (ext)" userId="6e619ce3-2643-4cdf-9a13-b4c269650021" providerId="ADAL" clId="{2F91516B-777A-4469-987E-B21E99E57CC9}" dt="2021-04-12T16:07:55.819" v="3200" actId="478"/>
          <ac:spMkLst>
            <pc:docMk/>
            <pc:sldMk cId="2494462480" sldId="866"/>
            <ac:spMk id="12" creationId="{0EDDF079-7F4F-4A77-B12B-F0724118A5F2}"/>
          </ac:spMkLst>
        </pc:spChg>
        <pc:spChg chg="mod">
          <ac:chgData name="Kisliuk, Adrian (ext)" userId="6e619ce3-2643-4cdf-9a13-b4c269650021" providerId="ADAL" clId="{2F91516B-777A-4469-987E-B21E99E57CC9}" dt="2021-04-13T13:41:21.234" v="6093" actId="20577"/>
          <ac:spMkLst>
            <pc:docMk/>
            <pc:sldMk cId="2494462480" sldId="866"/>
            <ac:spMk id="13" creationId="{E0B67160-EA6B-4953-934B-DEDC05F824CE}"/>
          </ac:spMkLst>
        </pc:spChg>
        <pc:spChg chg="mod">
          <ac:chgData name="Kisliuk, Adrian (ext)" userId="6e619ce3-2643-4cdf-9a13-b4c269650021" providerId="ADAL" clId="{2F91516B-777A-4469-987E-B21E99E57CC9}" dt="2021-04-13T13:51:46.002" v="6100"/>
          <ac:spMkLst>
            <pc:docMk/>
            <pc:sldMk cId="2494462480" sldId="866"/>
            <ac:spMk id="14" creationId="{F935B0B1-BC53-4704-A9A4-3007ED7221AA}"/>
          </ac:spMkLst>
        </pc:spChg>
        <pc:spChg chg="mod">
          <ac:chgData name="Kisliuk, Adrian (ext)" userId="6e619ce3-2643-4cdf-9a13-b4c269650021" providerId="ADAL" clId="{2F91516B-777A-4469-987E-B21E99E57CC9}" dt="2021-04-13T13:51:24.968" v="6096"/>
          <ac:spMkLst>
            <pc:docMk/>
            <pc:sldMk cId="2494462480" sldId="866"/>
            <ac:spMk id="15" creationId="{AAA9B8E1-53C8-40A6-9BEC-3FFCBA758539}"/>
          </ac:spMkLst>
        </pc:spChg>
        <pc:spChg chg="del">
          <ac:chgData name="Kisliuk, Adrian (ext)" userId="6e619ce3-2643-4cdf-9a13-b4c269650021" providerId="ADAL" clId="{2F91516B-777A-4469-987E-B21E99E57CC9}" dt="2021-04-12T16:07:54.591" v="3199" actId="478"/>
          <ac:spMkLst>
            <pc:docMk/>
            <pc:sldMk cId="2494462480" sldId="866"/>
            <ac:spMk id="16" creationId="{12EDDE03-23E2-451C-8008-2938E534DC35}"/>
          </ac:spMkLst>
        </pc:spChg>
        <pc:spChg chg="mod">
          <ac:chgData name="Kisliuk, Adrian (ext)" userId="6e619ce3-2643-4cdf-9a13-b4c269650021" providerId="ADAL" clId="{2F91516B-777A-4469-987E-B21E99E57CC9}" dt="2021-04-12T16:09:35.974" v="3218" actId="14100"/>
          <ac:spMkLst>
            <pc:docMk/>
            <pc:sldMk cId="2494462480" sldId="866"/>
            <ac:spMk id="44" creationId="{5BE3AE2B-4A0E-4204-B25A-B404EC4FDDA8}"/>
          </ac:spMkLst>
        </pc:spChg>
        <pc:graphicFrameChg chg="mod">
          <ac:chgData name="Kisliuk, Adrian (ext)" userId="6e619ce3-2643-4cdf-9a13-b4c269650021" providerId="ADAL" clId="{2F91516B-777A-4469-987E-B21E99E57CC9}" dt="2021-04-12T16:22:41.087" v="3517"/>
          <ac:graphicFrameMkLst>
            <pc:docMk/>
            <pc:sldMk cId="2494462480" sldId="866"/>
            <ac:graphicFrameMk id="6" creationId="{580DFCAE-76C4-413B-B499-F7B76F1E13AF}"/>
          </ac:graphicFrameMkLst>
        </pc:graphicFrameChg>
      </pc:sldChg>
      <pc:sldChg chg="addSp delSp modSp add mod">
        <pc:chgData name="Kisliuk, Adrian (ext)" userId="6e619ce3-2643-4cdf-9a13-b4c269650021" providerId="ADAL" clId="{2F91516B-777A-4469-987E-B21E99E57CC9}" dt="2021-04-14T08:22:34.445" v="7068" actId="20577"/>
        <pc:sldMkLst>
          <pc:docMk/>
          <pc:sldMk cId="1291646818" sldId="867"/>
        </pc:sldMkLst>
        <pc:spChg chg="mod">
          <ac:chgData name="Kisliuk, Adrian (ext)" userId="6e619ce3-2643-4cdf-9a13-b4c269650021" providerId="ADAL" clId="{2F91516B-777A-4469-987E-B21E99E57CC9}" dt="2021-04-12T16:22:33.423" v="3396" actId="948"/>
          <ac:spMkLst>
            <pc:docMk/>
            <pc:sldMk cId="1291646818" sldId="867"/>
            <ac:spMk id="2" creationId="{DE936FAF-2E76-49E3-A26B-EE542092B6EF}"/>
          </ac:spMkLst>
        </pc:spChg>
        <pc:spChg chg="add del mod modVis">
          <ac:chgData name="Kisliuk, Adrian (ext)" userId="6e619ce3-2643-4cdf-9a13-b4c269650021" providerId="ADAL" clId="{2F91516B-777A-4469-987E-B21E99E57CC9}" dt="2021-04-12T16:22:33.452" v="3433"/>
          <ac:spMkLst>
            <pc:docMk/>
            <pc:sldMk cId="1291646818" sldId="867"/>
            <ac:spMk id="3" creationId="{02D7EB02-7D10-4D60-8F6A-D2CB777F9555}"/>
          </ac:spMkLst>
        </pc:spChg>
        <pc:spChg chg="mod">
          <ac:chgData name="Kisliuk, Adrian (ext)" userId="6e619ce3-2643-4cdf-9a13-b4c269650021" providerId="ADAL" clId="{2F91516B-777A-4469-987E-B21E99E57CC9}" dt="2021-04-12T16:09:08.623" v="3213" actId="1076"/>
          <ac:spMkLst>
            <pc:docMk/>
            <pc:sldMk cId="1291646818" sldId="867"/>
            <ac:spMk id="8" creationId="{B770DFCD-481B-4E10-9BE0-922F51CC6FD1}"/>
          </ac:spMkLst>
        </pc:spChg>
        <pc:spChg chg="del">
          <ac:chgData name="Kisliuk, Adrian (ext)" userId="6e619ce3-2643-4cdf-9a13-b4c269650021" providerId="ADAL" clId="{2F91516B-777A-4469-987E-B21E99E57CC9}" dt="2021-04-12T16:08:42.134" v="3209" actId="478"/>
          <ac:spMkLst>
            <pc:docMk/>
            <pc:sldMk cId="1291646818" sldId="867"/>
            <ac:spMk id="9" creationId="{1C2B6D7D-629B-4E2F-82EE-83C633F8EB6A}"/>
          </ac:spMkLst>
        </pc:spChg>
        <pc:spChg chg="mod">
          <ac:chgData name="Kisliuk, Adrian (ext)" userId="6e619ce3-2643-4cdf-9a13-b4c269650021" providerId="ADAL" clId="{2F91516B-777A-4469-987E-B21E99E57CC9}" dt="2021-04-12T16:09:22.654" v="3216" actId="1076"/>
          <ac:spMkLst>
            <pc:docMk/>
            <pc:sldMk cId="1291646818" sldId="867"/>
            <ac:spMk id="10" creationId="{03B20157-9F30-418E-A5CB-C5498AE810F2}"/>
          </ac:spMkLst>
        </pc:spChg>
        <pc:spChg chg="mod">
          <ac:chgData name="Kisliuk, Adrian (ext)" userId="6e619ce3-2643-4cdf-9a13-b4c269650021" providerId="ADAL" clId="{2F91516B-777A-4469-987E-B21E99E57CC9}" dt="2021-04-13T18:36:43.039" v="7046" actId="1076"/>
          <ac:spMkLst>
            <pc:docMk/>
            <pc:sldMk cId="1291646818" sldId="867"/>
            <ac:spMk id="11" creationId="{B92E80A5-2C9C-4BBB-986D-BA0634DFB9C8}"/>
          </ac:spMkLst>
        </pc:spChg>
        <pc:spChg chg="del">
          <ac:chgData name="Kisliuk, Adrian (ext)" userId="6e619ce3-2643-4cdf-9a13-b4c269650021" providerId="ADAL" clId="{2F91516B-777A-4469-987E-B21E99E57CC9}" dt="2021-04-12T16:08:42.134" v="3209" actId="478"/>
          <ac:spMkLst>
            <pc:docMk/>
            <pc:sldMk cId="1291646818" sldId="867"/>
            <ac:spMk id="12" creationId="{0EDDF079-7F4F-4A77-B12B-F0724118A5F2}"/>
          </ac:spMkLst>
        </pc:spChg>
        <pc:spChg chg="mod">
          <ac:chgData name="Kisliuk, Adrian (ext)" userId="6e619ce3-2643-4cdf-9a13-b4c269650021" providerId="ADAL" clId="{2F91516B-777A-4469-987E-B21E99E57CC9}" dt="2021-04-13T17:24:17.135" v="6986" actId="108"/>
          <ac:spMkLst>
            <pc:docMk/>
            <pc:sldMk cId="1291646818" sldId="867"/>
            <ac:spMk id="13" creationId="{E0B67160-EA6B-4953-934B-DEDC05F824CE}"/>
          </ac:spMkLst>
        </pc:spChg>
        <pc:spChg chg="mod">
          <ac:chgData name="Kisliuk, Adrian (ext)" userId="6e619ce3-2643-4cdf-9a13-b4c269650021" providerId="ADAL" clId="{2F91516B-777A-4469-987E-B21E99E57CC9}" dt="2021-04-14T08:22:34.445" v="7068" actId="20577"/>
          <ac:spMkLst>
            <pc:docMk/>
            <pc:sldMk cId="1291646818" sldId="867"/>
            <ac:spMk id="14" creationId="{F935B0B1-BC53-4704-A9A4-3007ED7221AA}"/>
          </ac:spMkLst>
        </pc:spChg>
        <pc:spChg chg="del">
          <ac:chgData name="Kisliuk, Adrian (ext)" userId="6e619ce3-2643-4cdf-9a13-b4c269650021" providerId="ADAL" clId="{2F91516B-777A-4469-987E-B21E99E57CC9}" dt="2021-04-12T16:08:42.134" v="3209" actId="478"/>
          <ac:spMkLst>
            <pc:docMk/>
            <pc:sldMk cId="1291646818" sldId="867"/>
            <ac:spMk id="15" creationId="{AAA9B8E1-53C8-40A6-9BEC-3FFCBA758539}"/>
          </ac:spMkLst>
        </pc:spChg>
        <pc:spChg chg="del">
          <ac:chgData name="Kisliuk, Adrian (ext)" userId="6e619ce3-2643-4cdf-9a13-b4c269650021" providerId="ADAL" clId="{2F91516B-777A-4469-987E-B21E99E57CC9}" dt="2021-04-12T16:08:42.134" v="3209" actId="478"/>
          <ac:spMkLst>
            <pc:docMk/>
            <pc:sldMk cId="1291646818" sldId="867"/>
            <ac:spMk id="16" creationId="{12EDDE03-23E2-451C-8008-2938E534DC35}"/>
          </ac:spMkLst>
        </pc:spChg>
        <pc:spChg chg="mod">
          <ac:chgData name="Kisliuk, Adrian (ext)" userId="6e619ce3-2643-4cdf-9a13-b4c269650021" providerId="ADAL" clId="{2F91516B-777A-4469-987E-B21E99E57CC9}" dt="2021-04-13T17:24:12.602" v="6985" actId="207"/>
          <ac:spMkLst>
            <pc:docMk/>
            <pc:sldMk cId="1291646818" sldId="867"/>
            <ac:spMk id="44" creationId="{5BE3AE2B-4A0E-4204-B25A-B404EC4FDDA8}"/>
          </ac:spMkLst>
        </pc:spChg>
        <pc:graphicFrameChg chg="mod">
          <ac:chgData name="Kisliuk, Adrian (ext)" userId="6e619ce3-2643-4cdf-9a13-b4c269650021" providerId="ADAL" clId="{2F91516B-777A-4469-987E-B21E99E57CC9}" dt="2021-04-12T16:22:33.467" v="3435"/>
          <ac:graphicFrameMkLst>
            <pc:docMk/>
            <pc:sldMk cId="1291646818" sldId="867"/>
            <ac:graphicFrameMk id="6" creationId="{580DFCAE-76C4-413B-B499-F7B76F1E13AF}"/>
          </ac:graphicFrameMkLst>
        </pc:graphicFrameChg>
      </pc:sldChg>
      <pc:sldChg chg="addSp delSp modSp add mod ord modTransition modShow">
        <pc:chgData name="Kisliuk, Adrian (ext)" userId="6e619ce3-2643-4cdf-9a13-b4c269650021" providerId="ADAL" clId="{2F91516B-777A-4469-987E-B21E99E57CC9}" dt="2021-04-13T14:41:25.304" v="6735"/>
        <pc:sldMkLst>
          <pc:docMk/>
          <pc:sldMk cId="2341877079" sldId="868"/>
        </pc:sldMkLst>
        <pc:spChg chg="add del mod">
          <ac:chgData name="Kisliuk, Adrian (ext)" userId="6e619ce3-2643-4cdf-9a13-b4c269650021" providerId="ADAL" clId="{2F91516B-777A-4469-987E-B21E99E57CC9}" dt="2021-04-13T14:30:19.025" v="6541" actId="948"/>
          <ac:spMkLst>
            <pc:docMk/>
            <pc:sldMk cId="2341877079" sldId="868"/>
            <ac:spMk id="2" creationId="{DE936FAF-2E76-49E3-A26B-EE542092B6EF}"/>
          </ac:spMkLst>
        </pc:spChg>
        <pc:spChg chg="add del">
          <ac:chgData name="Kisliuk, Adrian (ext)" userId="6e619ce3-2643-4cdf-9a13-b4c269650021" providerId="ADAL" clId="{2F91516B-777A-4469-987E-B21E99E57CC9}" dt="2021-04-13T13:08:40.064" v="5098" actId="11529"/>
          <ac:spMkLst>
            <pc:docMk/>
            <pc:sldMk cId="2341877079" sldId="868"/>
            <ac:spMk id="3" creationId="{7A9AB4CF-3C03-40A5-91E1-15250814FC35}"/>
          </ac:spMkLst>
        </pc:spChg>
        <pc:spChg chg="add mod topLvl">
          <ac:chgData name="Kisliuk, Adrian (ext)" userId="6e619ce3-2643-4cdf-9a13-b4c269650021" providerId="ADAL" clId="{2F91516B-777A-4469-987E-B21E99E57CC9}" dt="2021-04-13T14:31:58.215" v="6555" actId="165"/>
          <ac:spMkLst>
            <pc:docMk/>
            <pc:sldMk cId="2341877079" sldId="868"/>
            <ac:spMk id="5" creationId="{799DAEDE-FE9F-4CD9-84DA-FF1BF7D6D754}"/>
          </ac:spMkLst>
        </pc:spChg>
        <pc:spChg chg="add del mod">
          <ac:chgData name="Kisliuk, Adrian (ext)" userId="6e619ce3-2643-4cdf-9a13-b4c269650021" providerId="ADAL" clId="{2F91516B-777A-4469-987E-B21E99E57CC9}" dt="2021-04-13T14:30:03.884" v="6533" actId="478"/>
          <ac:spMkLst>
            <pc:docMk/>
            <pc:sldMk cId="2341877079" sldId="868"/>
            <ac:spMk id="7" creationId="{7FD6E598-30B8-4CCF-9233-0076F7A7A474}"/>
          </ac:spMkLst>
        </pc:spChg>
        <pc:spChg chg="add del mod modVis">
          <ac:chgData name="Kisliuk, Adrian (ext)" userId="6e619ce3-2643-4cdf-9a13-b4c269650021" providerId="ADAL" clId="{2F91516B-777A-4469-987E-B21E99E57CC9}" dt="2021-04-13T13:20:29.045" v="5289"/>
          <ac:spMkLst>
            <pc:docMk/>
            <pc:sldMk cId="2341877079" sldId="868"/>
            <ac:spMk id="20" creationId="{9F524D84-FF69-4389-AC39-56495595A34C}"/>
          </ac:spMkLst>
        </pc:spChg>
        <pc:spChg chg="add del mod modVis">
          <ac:chgData name="Kisliuk, Adrian (ext)" userId="6e619ce3-2643-4cdf-9a13-b4c269650021" providerId="ADAL" clId="{2F91516B-777A-4469-987E-B21E99E57CC9}" dt="2021-04-13T13:20:32.264" v="5340"/>
          <ac:spMkLst>
            <pc:docMk/>
            <pc:sldMk cId="2341877079" sldId="868"/>
            <ac:spMk id="21" creationId="{0D4C3027-1500-4EAD-AC4F-0B6251EF0CCF}"/>
          </ac:spMkLst>
        </pc:spChg>
        <pc:spChg chg="add mod topLvl">
          <ac:chgData name="Kisliuk, Adrian (ext)" userId="6e619ce3-2643-4cdf-9a13-b4c269650021" providerId="ADAL" clId="{2F91516B-777A-4469-987E-B21E99E57CC9}" dt="2021-04-13T14:31:58.215" v="6555" actId="165"/>
          <ac:spMkLst>
            <pc:docMk/>
            <pc:sldMk cId="2341877079" sldId="868"/>
            <ac:spMk id="23" creationId="{96B2F48E-A03B-48D7-B3C9-3A2EFF6557CB}"/>
          </ac:spMkLst>
        </pc:spChg>
        <pc:spChg chg="add mod topLvl">
          <ac:chgData name="Kisliuk, Adrian (ext)" userId="6e619ce3-2643-4cdf-9a13-b4c269650021" providerId="ADAL" clId="{2F91516B-777A-4469-987E-B21E99E57CC9}" dt="2021-04-13T14:31:58.215" v="6555" actId="165"/>
          <ac:spMkLst>
            <pc:docMk/>
            <pc:sldMk cId="2341877079" sldId="868"/>
            <ac:spMk id="24" creationId="{445FA13C-E508-49B2-9531-0FD324D32282}"/>
          </ac:spMkLst>
        </pc:spChg>
        <pc:spChg chg="add del mod modVis">
          <ac:chgData name="Kisliuk, Adrian (ext)" userId="6e619ce3-2643-4cdf-9a13-b4c269650021" providerId="ADAL" clId="{2F91516B-777A-4469-987E-B21E99E57CC9}" dt="2021-04-13T13:34:37.311" v="5569"/>
          <ac:spMkLst>
            <pc:docMk/>
            <pc:sldMk cId="2341877079" sldId="868"/>
            <ac:spMk id="27" creationId="{32C77398-6FE9-4311-B302-953CAEA4528B}"/>
          </ac:spMkLst>
        </pc:spChg>
        <pc:spChg chg="add del mod modVis">
          <ac:chgData name="Kisliuk, Adrian (ext)" userId="6e619ce3-2643-4cdf-9a13-b4c269650021" providerId="ADAL" clId="{2F91516B-777A-4469-987E-B21E99E57CC9}" dt="2021-04-13T13:34:40.181" v="5610"/>
          <ac:spMkLst>
            <pc:docMk/>
            <pc:sldMk cId="2341877079" sldId="868"/>
            <ac:spMk id="28" creationId="{B9DC2EFA-6451-41F5-B7AF-9F4AD4AB7366}"/>
          </ac:spMkLst>
        </pc:spChg>
        <pc:spChg chg="add del mod modVis">
          <ac:chgData name="Kisliuk, Adrian (ext)" userId="6e619ce3-2643-4cdf-9a13-b4c269650021" providerId="ADAL" clId="{2F91516B-777A-4469-987E-B21E99E57CC9}" dt="2021-04-13T13:34:43.424" v="5651"/>
          <ac:spMkLst>
            <pc:docMk/>
            <pc:sldMk cId="2341877079" sldId="868"/>
            <ac:spMk id="29" creationId="{888D8F08-EB22-4C5D-9293-A0A74EE86F4F}"/>
          </ac:spMkLst>
        </pc:spChg>
        <pc:spChg chg="add del mod modVis">
          <ac:chgData name="Kisliuk, Adrian (ext)" userId="6e619ce3-2643-4cdf-9a13-b4c269650021" providerId="ADAL" clId="{2F91516B-777A-4469-987E-B21E99E57CC9}" dt="2021-04-13T13:34:50.456" v="5692"/>
          <ac:spMkLst>
            <pc:docMk/>
            <pc:sldMk cId="2341877079" sldId="868"/>
            <ac:spMk id="30" creationId="{1C292767-9597-47B9-A896-54901907C3E6}"/>
          </ac:spMkLst>
        </pc:spChg>
        <pc:spChg chg="add del mod modVis">
          <ac:chgData name="Kisliuk, Adrian (ext)" userId="6e619ce3-2643-4cdf-9a13-b4c269650021" providerId="ADAL" clId="{2F91516B-777A-4469-987E-B21E99E57CC9}" dt="2021-04-13T13:34:55.992" v="5733"/>
          <ac:spMkLst>
            <pc:docMk/>
            <pc:sldMk cId="2341877079" sldId="868"/>
            <ac:spMk id="31" creationId="{24D68825-D0A0-4788-B405-95202525938F}"/>
          </ac:spMkLst>
        </pc:spChg>
        <pc:spChg chg="add del mod modVis">
          <ac:chgData name="Kisliuk, Adrian (ext)" userId="6e619ce3-2643-4cdf-9a13-b4c269650021" providerId="ADAL" clId="{2F91516B-777A-4469-987E-B21E99E57CC9}" dt="2021-04-13T13:34:59.437" v="5774"/>
          <ac:spMkLst>
            <pc:docMk/>
            <pc:sldMk cId="2341877079" sldId="868"/>
            <ac:spMk id="32" creationId="{54D927E9-A379-4F30-B922-AD3B9CFE44A6}"/>
          </ac:spMkLst>
        </pc:spChg>
        <pc:spChg chg="add del mod modVis">
          <ac:chgData name="Kisliuk, Adrian (ext)" userId="6e619ce3-2643-4cdf-9a13-b4c269650021" providerId="ADAL" clId="{2F91516B-777A-4469-987E-B21E99E57CC9}" dt="2021-04-13T13:35:00.331" v="5815"/>
          <ac:spMkLst>
            <pc:docMk/>
            <pc:sldMk cId="2341877079" sldId="868"/>
            <ac:spMk id="33" creationId="{818189F6-5752-4381-9F2C-75378F424A6C}"/>
          </ac:spMkLst>
        </pc:spChg>
        <pc:spChg chg="add del mod modVis">
          <ac:chgData name="Kisliuk, Adrian (ext)" userId="6e619ce3-2643-4cdf-9a13-b4c269650021" providerId="ADAL" clId="{2F91516B-777A-4469-987E-B21E99E57CC9}" dt="2021-04-13T13:35:02.195" v="5857"/>
          <ac:spMkLst>
            <pc:docMk/>
            <pc:sldMk cId="2341877079" sldId="868"/>
            <ac:spMk id="34" creationId="{A150A3E1-AC4B-4DE1-9B00-22D00DD974F1}"/>
          </ac:spMkLst>
        </pc:spChg>
        <pc:spChg chg="add del mod modVis">
          <ac:chgData name="Kisliuk, Adrian (ext)" userId="6e619ce3-2643-4cdf-9a13-b4c269650021" providerId="ADAL" clId="{2F91516B-777A-4469-987E-B21E99E57CC9}" dt="2021-04-13T13:35:06.517" v="5899"/>
          <ac:spMkLst>
            <pc:docMk/>
            <pc:sldMk cId="2341877079" sldId="868"/>
            <ac:spMk id="35" creationId="{1B0444B3-73E5-4F13-96A4-B637CEEB8862}"/>
          </ac:spMkLst>
        </pc:spChg>
        <pc:spChg chg="add del mod modVis">
          <ac:chgData name="Kisliuk, Adrian (ext)" userId="6e619ce3-2643-4cdf-9a13-b4c269650021" providerId="ADAL" clId="{2F91516B-777A-4469-987E-B21E99E57CC9}" dt="2021-04-13T13:35:06.872" v="5940"/>
          <ac:spMkLst>
            <pc:docMk/>
            <pc:sldMk cId="2341877079" sldId="868"/>
            <ac:spMk id="36" creationId="{180D41BA-1D26-4EE9-9D4E-651BFAEAD984}"/>
          </ac:spMkLst>
        </pc:spChg>
        <pc:spChg chg="add del mod modVis">
          <ac:chgData name="Kisliuk, Adrian (ext)" userId="6e619ce3-2643-4cdf-9a13-b4c269650021" providerId="ADAL" clId="{2F91516B-777A-4469-987E-B21E99E57CC9}" dt="2021-04-13T13:35:07.756" v="5981"/>
          <ac:spMkLst>
            <pc:docMk/>
            <pc:sldMk cId="2341877079" sldId="868"/>
            <ac:spMk id="37" creationId="{C57A3C0A-5052-4A66-AFBF-CC1E704D92F4}"/>
          </ac:spMkLst>
        </pc:spChg>
        <pc:spChg chg="add del mod modVis">
          <ac:chgData name="Kisliuk, Adrian (ext)" userId="6e619ce3-2643-4cdf-9a13-b4c269650021" providerId="ADAL" clId="{2F91516B-777A-4469-987E-B21E99E57CC9}" dt="2021-04-13T13:35:10.360" v="6022"/>
          <ac:spMkLst>
            <pc:docMk/>
            <pc:sldMk cId="2341877079" sldId="868"/>
            <ac:spMk id="38" creationId="{F6B87C33-CA2D-409C-88AA-948BCE555AFA}"/>
          </ac:spMkLst>
        </pc:spChg>
        <pc:spChg chg="add del mod modVis">
          <ac:chgData name="Kisliuk, Adrian (ext)" userId="6e619ce3-2643-4cdf-9a13-b4c269650021" providerId="ADAL" clId="{2F91516B-777A-4469-987E-B21E99E57CC9}" dt="2021-04-13T13:35:44.857" v="6065"/>
          <ac:spMkLst>
            <pc:docMk/>
            <pc:sldMk cId="2341877079" sldId="868"/>
            <ac:spMk id="39" creationId="{79C98891-637E-4514-8005-6A8E26F65CCE}"/>
          </ac:spMkLst>
        </pc:spChg>
        <pc:spChg chg="add mod topLvl">
          <ac:chgData name="Kisliuk, Adrian (ext)" userId="6e619ce3-2643-4cdf-9a13-b4c269650021" providerId="ADAL" clId="{2F91516B-777A-4469-987E-B21E99E57CC9}" dt="2021-04-13T14:39:27.037" v="6727" actId="1035"/>
          <ac:spMkLst>
            <pc:docMk/>
            <pc:sldMk cId="2341877079" sldId="868"/>
            <ac:spMk id="59" creationId="{9767E184-5AEE-4DC8-9C24-1CF04C34F27A}"/>
          </ac:spMkLst>
        </pc:spChg>
        <pc:spChg chg="add mod topLvl">
          <ac:chgData name="Kisliuk, Adrian (ext)" userId="6e619ce3-2643-4cdf-9a13-b4c269650021" providerId="ADAL" clId="{2F91516B-777A-4469-987E-B21E99E57CC9}" dt="2021-04-13T14:39:27.037" v="6727" actId="1035"/>
          <ac:spMkLst>
            <pc:docMk/>
            <pc:sldMk cId="2341877079" sldId="868"/>
            <ac:spMk id="60" creationId="{3086623F-BB31-493A-812A-86E0BCC6E0FF}"/>
          </ac:spMkLst>
        </pc:spChg>
        <pc:spChg chg="add mod topLvl">
          <ac:chgData name="Kisliuk, Adrian (ext)" userId="6e619ce3-2643-4cdf-9a13-b4c269650021" providerId="ADAL" clId="{2F91516B-777A-4469-987E-B21E99E57CC9}" dt="2021-04-13T14:31:58.215" v="6555" actId="165"/>
          <ac:spMkLst>
            <pc:docMk/>
            <pc:sldMk cId="2341877079" sldId="868"/>
            <ac:spMk id="61" creationId="{43474FE5-C08E-43FF-8F7E-71F720D9A022}"/>
          </ac:spMkLst>
        </pc:spChg>
        <pc:spChg chg="add mod topLvl">
          <ac:chgData name="Kisliuk, Adrian (ext)" userId="6e619ce3-2643-4cdf-9a13-b4c269650021" providerId="ADAL" clId="{2F91516B-777A-4469-987E-B21E99E57CC9}" dt="2021-04-13T14:31:58.215" v="6555" actId="165"/>
          <ac:spMkLst>
            <pc:docMk/>
            <pc:sldMk cId="2341877079" sldId="868"/>
            <ac:spMk id="62" creationId="{B5147C3C-1543-4507-BEFD-15E39A20DF10}"/>
          </ac:spMkLst>
        </pc:spChg>
        <pc:spChg chg="add mod topLvl">
          <ac:chgData name="Kisliuk, Adrian (ext)" userId="6e619ce3-2643-4cdf-9a13-b4c269650021" providerId="ADAL" clId="{2F91516B-777A-4469-987E-B21E99E57CC9}" dt="2021-04-13T14:31:58.215" v="6555" actId="165"/>
          <ac:spMkLst>
            <pc:docMk/>
            <pc:sldMk cId="2341877079" sldId="868"/>
            <ac:spMk id="63" creationId="{559652C7-C81C-4EBA-9554-7C0D93BCFDE4}"/>
          </ac:spMkLst>
        </pc:spChg>
        <pc:spChg chg="add mod topLvl">
          <ac:chgData name="Kisliuk, Adrian (ext)" userId="6e619ce3-2643-4cdf-9a13-b4c269650021" providerId="ADAL" clId="{2F91516B-777A-4469-987E-B21E99E57CC9}" dt="2021-04-13T14:31:58.215" v="6555" actId="165"/>
          <ac:spMkLst>
            <pc:docMk/>
            <pc:sldMk cId="2341877079" sldId="868"/>
            <ac:spMk id="64" creationId="{D16D84C9-D9D3-4F40-99C9-355C0AA88F32}"/>
          </ac:spMkLst>
        </pc:spChg>
        <pc:spChg chg="add mod topLvl">
          <ac:chgData name="Kisliuk, Adrian (ext)" userId="6e619ce3-2643-4cdf-9a13-b4c269650021" providerId="ADAL" clId="{2F91516B-777A-4469-987E-B21E99E57CC9}" dt="2021-04-13T14:31:58.215" v="6555" actId="165"/>
          <ac:spMkLst>
            <pc:docMk/>
            <pc:sldMk cId="2341877079" sldId="868"/>
            <ac:spMk id="68" creationId="{8E049227-8FEA-4DFC-A7E7-3FADC129ED1F}"/>
          </ac:spMkLst>
        </pc:spChg>
        <pc:spChg chg="add mod topLvl">
          <ac:chgData name="Kisliuk, Adrian (ext)" userId="6e619ce3-2643-4cdf-9a13-b4c269650021" providerId="ADAL" clId="{2F91516B-777A-4469-987E-B21E99E57CC9}" dt="2021-04-13T14:39:27.037" v="6727" actId="1035"/>
          <ac:spMkLst>
            <pc:docMk/>
            <pc:sldMk cId="2341877079" sldId="868"/>
            <ac:spMk id="81" creationId="{150CA25E-AC49-401A-939C-5672D0A9F7D7}"/>
          </ac:spMkLst>
        </pc:spChg>
        <pc:spChg chg="add mod topLvl">
          <ac:chgData name="Kisliuk, Adrian (ext)" userId="6e619ce3-2643-4cdf-9a13-b4c269650021" providerId="ADAL" clId="{2F91516B-777A-4469-987E-B21E99E57CC9}" dt="2021-04-13T14:39:27.037" v="6727" actId="1035"/>
          <ac:spMkLst>
            <pc:docMk/>
            <pc:sldMk cId="2341877079" sldId="868"/>
            <ac:spMk id="85" creationId="{A3D52708-085F-4552-9448-1A0C2D8D23D6}"/>
          </ac:spMkLst>
        </pc:spChg>
        <pc:spChg chg="add mod topLvl">
          <ac:chgData name="Kisliuk, Adrian (ext)" userId="6e619ce3-2643-4cdf-9a13-b4c269650021" providerId="ADAL" clId="{2F91516B-777A-4469-987E-B21E99E57CC9}" dt="2021-04-13T14:39:27.037" v="6727" actId="1035"/>
          <ac:spMkLst>
            <pc:docMk/>
            <pc:sldMk cId="2341877079" sldId="868"/>
            <ac:spMk id="98" creationId="{B005D4B3-4F32-4A5A-A0C8-7F1248CD2FA1}"/>
          </ac:spMkLst>
        </pc:spChg>
        <pc:spChg chg="add mod topLvl">
          <ac:chgData name="Kisliuk, Adrian (ext)" userId="6e619ce3-2643-4cdf-9a13-b4c269650021" providerId="ADAL" clId="{2F91516B-777A-4469-987E-B21E99E57CC9}" dt="2021-04-13T14:39:27.037" v="6727" actId="1035"/>
          <ac:spMkLst>
            <pc:docMk/>
            <pc:sldMk cId="2341877079" sldId="868"/>
            <ac:spMk id="101" creationId="{F9D616E8-1881-4082-B85E-68C0538B5FEC}"/>
          </ac:spMkLst>
        </pc:spChg>
        <pc:spChg chg="add del mod">
          <ac:chgData name="Kisliuk, Adrian (ext)" userId="6e619ce3-2643-4cdf-9a13-b4c269650021" providerId="ADAL" clId="{2F91516B-777A-4469-987E-B21E99E57CC9}" dt="2021-04-13T14:30:24.539" v="6544" actId="478"/>
          <ac:spMkLst>
            <pc:docMk/>
            <pc:sldMk cId="2341877079" sldId="868"/>
            <ac:spMk id="104" creationId="{6CA787DB-D370-4B35-A63B-BC3A58E08117}"/>
          </ac:spMkLst>
        </pc:spChg>
        <pc:spChg chg="add del mod">
          <ac:chgData name="Kisliuk, Adrian (ext)" userId="6e619ce3-2643-4cdf-9a13-b4c269650021" providerId="ADAL" clId="{2F91516B-777A-4469-987E-B21E99E57CC9}" dt="2021-04-13T13:21:15.892" v="5347" actId="478"/>
          <ac:spMkLst>
            <pc:docMk/>
            <pc:sldMk cId="2341877079" sldId="868"/>
            <ac:spMk id="104" creationId="{A29D742D-BCDB-4E93-8619-A7A4B666B2BD}"/>
          </ac:spMkLst>
        </pc:spChg>
        <pc:spChg chg="add mod topLvl">
          <ac:chgData name="Kisliuk, Adrian (ext)" userId="6e619ce3-2643-4cdf-9a13-b4c269650021" providerId="ADAL" clId="{2F91516B-777A-4469-987E-B21E99E57CC9}" dt="2021-04-13T14:31:58.215" v="6555" actId="165"/>
          <ac:spMkLst>
            <pc:docMk/>
            <pc:sldMk cId="2341877079" sldId="868"/>
            <ac:spMk id="107" creationId="{EEA958F5-916D-45A7-A5ED-7D00044A1C89}"/>
          </ac:spMkLst>
        </pc:spChg>
        <pc:spChg chg="add mod topLvl">
          <ac:chgData name="Kisliuk, Adrian (ext)" userId="6e619ce3-2643-4cdf-9a13-b4c269650021" providerId="ADAL" clId="{2F91516B-777A-4469-987E-B21E99E57CC9}" dt="2021-04-13T14:39:27.037" v="6727" actId="1035"/>
          <ac:spMkLst>
            <pc:docMk/>
            <pc:sldMk cId="2341877079" sldId="868"/>
            <ac:spMk id="108" creationId="{8964B0A2-B897-4129-9670-94620DB66599}"/>
          </ac:spMkLst>
        </pc:spChg>
        <pc:spChg chg="add mod topLvl">
          <ac:chgData name="Kisliuk, Adrian (ext)" userId="6e619ce3-2643-4cdf-9a13-b4c269650021" providerId="ADAL" clId="{2F91516B-777A-4469-987E-B21E99E57CC9}" dt="2021-04-13T14:39:27.037" v="6727" actId="1035"/>
          <ac:spMkLst>
            <pc:docMk/>
            <pc:sldMk cId="2341877079" sldId="868"/>
            <ac:spMk id="109" creationId="{C6038F1D-A59B-4065-B4C9-4017C99DCA61}"/>
          </ac:spMkLst>
        </pc:spChg>
        <pc:spChg chg="add mod topLvl">
          <ac:chgData name="Kisliuk, Adrian (ext)" userId="6e619ce3-2643-4cdf-9a13-b4c269650021" providerId="ADAL" clId="{2F91516B-777A-4469-987E-B21E99E57CC9}" dt="2021-04-13T14:39:27.037" v="6727" actId="1035"/>
          <ac:spMkLst>
            <pc:docMk/>
            <pc:sldMk cId="2341877079" sldId="868"/>
            <ac:spMk id="110" creationId="{1C37D9E6-3796-4FC0-B83D-5218C494A961}"/>
          </ac:spMkLst>
        </pc:spChg>
        <pc:spChg chg="add mod topLvl">
          <ac:chgData name="Kisliuk, Adrian (ext)" userId="6e619ce3-2643-4cdf-9a13-b4c269650021" providerId="ADAL" clId="{2F91516B-777A-4469-987E-B21E99E57CC9}" dt="2021-04-13T14:39:27.037" v="6727" actId="1035"/>
          <ac:spMkLst>
            <pc:docMk/>
            <pc:sldMk cId="2341877079" sldId="868"/>
            <ac:spMk id="111" creationId="{6807A774-3EAA-464C-9D4B-E0E6DD23467A}"/>
          </ac:spMkLst>
        </pc:spChg>
        <pc:spChg chg="add mod topLvl">
          <ac:chgData name="Kisliuk, Adrian (ext)" userId="6e619ce3-2643-4cdf-9a13-b4c269650021" providerId="ADAL" clId="{2F91516B-777A-4469-987E-B21E99E57CC9}" dt="2021-04-13T14:39:27.037" v="6727" actId="1035"/>
          <ac:spMkLst>
            <pc:docMk/>
            <pc:sldMk cId="2341877079" sldId="868"/>
            <ac:spMk id="112" creationId="{BECC0D94-2C31-431E-ACDC-3AD50A15594D}"/>
          </ac:spMkLst>
        </pc:spChg>
        <pc:spChg chg="add mod topLvl">
          <ac:chgData name="Kisliuk, Adrian (ext)" userId="6e619ce3-2643-4cdf-9a13-b4c269650021" providerId="ADAL" clId="{2F91516B-777A-4469-987E-B21E99E57CC9}" dt="2021-04-13T14:39:27.037" v="6727" actId="1035"/>
          <ac:spMkLst>
            <pc:docMk/>
            <pc:sldMk cId="2341877079" sldId="868"/>
            <ac:spMk id="113" creationId="{6E074606-3D3F-4DAD-AD8C-9C8BE37EFD59}"/>
          </ac:spMkLst>
        </pc:spChg>
        <pc:spChg chg="add mod topLvl">
          <ac:chgData name="Kisliuk, Adrian (ext)" userId="6e619ce3-2643-4cdf-9a13-b4c269650021" providerId="ADAL" clId="{2F91516B-777A-4469-987E-B21E99E57CC9}" dt="2021-04-13T14:39:27.037" v="6727" actId="1035"/>
          <ac:spMkLst>
            <pc:docMk/>
            <pc:sldMk cId="2341877079" sldId="868"/>
            <ac:spMk id="114" creationId="{97533070-8F43-4111-993B-6569B256B674}"/>
          </ac:spMkLst>
        </pc:spChg>
        <pc:spChg chg="add mod topLvl">
          <ac:chgData name="Kisliuk, Adrian (ext)" userId="6e619ce3-2643-4cdf-9a13-b4c269650021" providerId="ADAL" clId="{2F91516B-777A-4469-987E-B21E99E57CC9}" dt="2021-04-13T14:39:27.037" v="6727" actId="1035"/>
          <ac:spMkLst>
            <pc:docMk/>
            <pc:sldMk cId="2341877079" sldId="868"/>
            <ac:spMk id="115" creationId="{033132EF-C18D-42A1-9EA5-D764261CA9E2}"/>
          </ac:spMkLst>
        </pc:spChg>
        <pc:spChg chg="add mod topLvl">
          <ac:chgData name="Kisliuk, Adrian (ext)" userId="6e619ce3-2643-4cdf-9a13-b4c269650021" providerId="ADAL" clId="{2F91516B-777A-4469-987E-B21E99E57CC9}" dt="2021-04-13T14:39:27.037" v="6727" actId="1035"/>
          <ac:spMkLst>
            <pc:docMk/>
            <pc:sldMk cId="2341877079" sldId="868"/>
            <ac:spMk id="116" creationId="{A1ECF95A-256A-43FB-A88E-E3D240E1B3E1}"/>
          </ac:spMkLst>
        </pc:spChg>
        <pc:spChg chg="add mod topLvl">
          <ac:chgData name="Kisliuk, Adrian (ext)" userId="6e619ce3-2643-4cdf-9a13-b4c269650021" providerId="ADAL" clId="{2F91516B-777A-4469-987E-B21E99E57CC9}" dt="2021-04-13T14:39:27.037" v="6727" actId="1035"/>
          <ac:spMkLst>
            <pc:docMk/>
            <pc:sldMk cId="2341877079" sldId="868"/>
            <ac:spMk id="117" creationId="{1D316FBA-5965-49E8-AB26-BDEA63E39BC6}"/>
          </ac:spMkLst>
        </pc:spChg>
        <pc:spChg chg="add del mod">
          <ac:chgData name="Kisliuk, Adrian (ext)" userId="6e619ce3-2643-4cdf-9a13-b4c269650021" providerId="ADAL" clId="{2F91516B-777A-4469-987E-B21E99E57CC9}" dt="2021-04-13T13:06:30.008" v="5063" actId="478"/>
          <ac:spMkLst>
            <pc:docMk/>
            <pc:sldMk cId="2341877079" sldId="868"/>
            <ac:spMk id="118" creationId="{5357BB1A-F6C5-4EF9-9229-17C9BB55995D}"/>
          </ac:spMkLst>
        </pc:spChg>
        <pc:spChg chg="add del mod">
          <ac:chgData name="Kisliuk, Adrian (ext)" userId="6e619ce3-2643-4cdf-9a13-b4c269650021" providerId="ADAL" clId="{2F91516B-777A-4469-987E-B21E99E57CC9}" dt="2021-04-13T13:05:55.759" v="5051" actId="478"/>
          <ac:spMkLst>
            <pc:docMk/>
            <pc:sldMk cId="2341877079" sldId="868"/>
            <ac:spMk id="119" creationId="{143628B2-5E0D-45AD-9072-2D809A58AACE}"/>
          </ac:spMkLst>
        </pc:spChg>
        <pc:spChg chg="add mod topLvl">
          <ac:chgData name="Kisliuk, Adrian (ext)" userId="6e619ce3-2643-4cdf-9a13-b4c269650021" providerId="ADAL" clId="{2F91516B-777A-4469-987E-B21E99E57CC9}" dt="2021-04-13T14:31:58.215" v="6555" actId="165"/>
          <ac:spMkLst>
            <pc:docMk/>
            <pc:sldMk cId="2341877079" sldId="868"/>
            <ac:spMk id="120" creationId="{5991557B-29A6-443C-A59F-4C06F8A55F23}"/>
          </ac:spMkLst>
        </pc:spChg>
        <pc:spChg chg="add del mod">
          <ac:chgData name="Kisliuk, Adrian (ext)" userId="6e619ce3-2643-4cdf-9a13-b4c269650021" providerId="ADAL" clId="{2F91516B-777A-4469-987E-B21E99E57CC9}" dt="2021-04-13T13:23:23.403" v="5371"/>
          <ac:spMkLst>
            <pc:docMk/>
            <pc:sldMk cId="2341877079" sldId="868"/>
            <ac:spMk id="121" creationId="{4B0F4309-7A8E-434D-8EA8-53E2408A8867}"/>
          </ac:spMkLst>
        </pc:spChg>
        <pc:spChg chg="add mod topLvl">
          <ac:chgData name="Kisliuk, Adrian (ext)" userId="6e619ce3-2643-4cdf-9a13-b4c269650021" providerId="ADAL" clId="{2F91516B-777A-4469-987E-B21E99E57CC9}" dt="2021-04-13T14:31:58.215" v="6555" actId="165"/>
          <ac:spMkLst>
            <pc:docMk/>
            <pc:sldMk cId="2341877079" sldId="868"/>
            <ac:spMk id="122" creationId="{9E017614-D0A8-4B22-A915-3A857077B481}"/>
          </ac:spMkLst>
        </pc:spChg>
        <pc:spChg chg="add mod topLvl">
          <ac:chgData name="Kisliuk, Adrian (ext)" userId="6e619ce3-2643-4cdf-9a13-b4c269650021" providerId="ADAL" clId="{2F91516B-777A-4469-987E-B21E99E57CC9}" dt="2021-04-13T14:31:58.215" v="6555" actId="165"/>
          <ac:spMkLst>
            <pc:docMk/>
            <pc:sldMk cId="2341877079" sldId="868"/>
            <ac:spMk id="123" creationId="{2EB6AEEE-2AE3-4DAD-B59D-FFEACCC8E6F0}"/>
          </ac:spMkLst>
        </pc:spChg>
        <pc:spChg chg="add mod topLvl">
          <ac:chgData name="Kisliuk, Adrian (ext)" userId="6e619ce3-2643-4cdf-9a13-b4c269650021" providerId="ADAL" clId="{2F91516B-777A-4469-987E-B21E99E57CC9}" dt="2021-04-13T14:31:58.215" v="6555" actId="165"/>
          <ac:spMkLst>
            <pc:docMk/>
            <pc:sldMk cId="2341877079" sldId="868"/>
            <ac:spMk id="124" creationId="{AFE5596A-CF60-41BC-B989-75B0B97D1D99}"/>
          </ac:spMkLst>
        </pc:spChg>
        <pc:spChg chg="add mod topLvl">
          <ac:chgData name="Kisliuk, Adrian (ext)" userId="6e619ce3-2643-4cdf-9a13-b4c269650021" providerId="ADAL" clId="{2F91516B-777A-4469-987E-B21E99E57CC9}" dt="2021-04-13T14:31:58.215" v="6555" actId="165"/>
          <ac:spMkLst>
            <pc:docMk/>
            <pc:sldMk cId="2341877079" sldId="868"/>
            <ac:spMk id="125" creationId="{B15AAB64-58FB-443E-9FFA-EB172B6F66DE}"/>
          </ac:spMkLst>
        </pc:spChg>
        <pc:spChg chg="add mod topLvl">
          <ac:chgData name="Kisliuk, Adrian (ext)" userId="6e619ce3-2643-4cdf-9a13-b4c269650021" providerId="ADAL" clId="{2F91516B-777A-4469-987E-B21E99E57CC9}" dt="2021-04-13T14:31:58.215" v="6555" actId="165"/>
          <ac:spMkLst>
            <pc:docMk/>
            <pc:sldMk cId="2341877079" sldId="868"/>
            <ac:spMk id="126" creationId="{12285547-ED0B-47FE-8920-5AC5B8E7A057}"/>
          </ac:spMkLst>
        </pc:spChg>
        <pc:spChg chg="add mod topLvl">
          <ac:chgData name="Kisliuk, Adrian (ext)" userId="6e619ce3-2643-4cdf-9a13-b4c269650021" providerId="ADAL" clId="{2F91516B-777A-4469-987E-B21E99E57CC9}" dt="2021-04-13T14:31:58.215" v="6555" actId="165"/>
          <ac:spMkLst>
            <pc:docMk/>
            <pc:sldMk cId="2341877079" sldId="868"/>
            <ac:spMk id="127" creationId="{E8F80E55-0E01-470C-B49D-8247CAF639D2}"/>
          </ac:spMkLst>
        </pc:spChg>
        <pc:spChg chg="add mod topLvl">
          <ac:chgData name="Kisliuk, Adrian (ext)" userId="6e619ce3-2643-4cdf-9a13-b4c269650021" providerId="ADAL" clId="{2F91516B-777A-4469-987E-B21E99E57CC9}" dt="2021-04-13T14:31:58.215" v="6555" actId="165"/>
          <ac:spMkLst>
            <pc:docMk/>
            <pc:sldMk cId="2341877079" sldId="868"/>
            <ac:spMk id="128" creationId="{9B62D2A2-51CA-41B9-A0BC-13DC86D7797B}"/>
          </ac:spMkLst>
        </pc:spChg>
        <pc:spChg chg="add mod topLvl">
          <ac:chgData name="Kisliuk, Adrian (ext)" userId="6e619ce3-2643-4cdf-9a13-b4c269650021" providerId="ADAL" clId="{2F91516B-777A-4469-987E-B21E99E57CC9}" dt="2021-04-13T14:31:58.215" v="6555" actId="165"/>
          <ac:spMkLst>
            <pc:docMk/>
            <pc:sldMk cId="2341877079" sldId="868"/>
            <ac:spMk id="129" creationId="{39F9B750-B3E2-4F5E-9A43-754153F046EA}"/>
          </ac:spMkLst>
        </pc:spChg>
        <pc:grpChg chg="add del mod">
          <ac:chgData name="Kisliuk, Adrian (ext)" userId="6e619ce3-2643-4cdf-9a13-b4c269650021" providerId="ADAL" clId="{2F91516B-777A-4469-987E-B21E99E57CC9}" dt="2021-04-13T14:31:58.215" v="6555" actId="165"/>
          <ac:grpSpMkLst>
            <pc:docMk/>
            <pc:sldMk cId="2341877079" sldId="868"/>
            <ac:grpSpMk id="26" creationId="{D1E8B2E4-28D3-4136-AD03-8C02938A5A64}"/>
          </ac:grpSpMkLst>
        </pc:grpChg>
        <pc:graphicFrameChg chg="mod">
          <ac:chgData name="Kisliuk, Adrian (ext)" userId="6e619ce3-2643-4cdf-9a13-b4c269650021" providerId="ADAL" clId="{2F91516B-777A-4469-987E-B21E99E57CC9}" dt="2021-04-13T14:30:19.038" v="6543"/>
          <ac:graphicFrameMkLst>
            <pc:docMk/>
            <pc:sldMk cId="2341877079" sldId="868"/>
            <ac:graphicFrameMk id="6" creationId="{580DFCAE-76C4-413B-B499-F7B76F1E13AF}"/>
          </ac:graphicFrameMkLst>
        </pc:graphicFrameChg>
        <pc:picChg chg="del">
          <ac:chgData name="Kisliuk, Adrian (ext)" userId="6e619ce3-2643-4cdf-9a13-b4c269650021" providerId="ADAL" clId="{2F91516B-777A-4469-987E-B21E99E57CC9}" dt="2021-04-13T12:49:06.894" v="4656" actId="478"/>
          <ac:picMkLst>
            <pc:docMk/>
            <pc:sldMk cId="2341877079" sldId="868"/>
            <ac:picMk id="7" creationId="{FC081093-AED8-4471-874A-FD22D8D85038}"/>
          </ac:picMkLst>
        </pc:picChg>
        <pc:picChg chg="add del mod topLvl">
          <ac:chgData name="Kisliuk, Adrian (ext)" userId="6e619ce3-2643-4cdf-9a13-b4c269650021" providerId="ADAL" clId="{2F91516B-777A-4469-987E-B21E99E57CC9}" dt="2021-04-13T14:39:27.037" v="6727" actId="1035"/>
          <ac:picMkLst>
            <pc:docMk/>
            <pc:sldMk cId="2341877079" sldId="868"/>
            <ac:picMk id="25" creationId="{B5EF6DB6-C371-478D-9AD0-02EB7A025348}"/>
          </ac:picMkLst>
        </pc:picChg>
        <pc:picChg chg="add del mod topLvl">
          <ac:chgData name="Kisliuk, Adrian (ext)" userId="6e619ce3-2643-4cdf-9a13-b4c269650021" providerId="ADAL" clId="{2F91516B-777A-4469-987E-B21E99E57CC9}" dt="2021-04-13T14:39:27.037" v="6727" actId="1035"/>
          <ac:picMkLst>
            <pc:docMk/>
            <pc:sldMk cId="2341877079" sldId="868"/>
            <ac:picMk id="97" creationId="{CA4DED43-C903-4DFC-B40D-D712A4E2B173}"/>
          </ac:picMkLst>
        </pc:picChg>
        <pc:picChg chg="add del mod">
          <ac:chgData name="Kisliuk, Adrian (ext)" userId="6e619ce3-2643-4cdf-9a13-b4c269650021" providerId="ADAL" clId="{2F91516B-777A-4469-987E-B21E99E57CC9}" dt="2021-04-13T12:59:14.042" v="4896" actId="478"/>
          <ac:picMkLst>
            <pc:docMk/>
            <pc:sldMk cId="2341877079" sldId="868"/>
            <ac:picMk id="98" creationId="{DA43CBE6-FF65-4E6F-A44D-D2E1B03B563D}"/>
          </ac:picMkLst>
        </pc:picChg>
        <pc:picChg chg="add del mod topLvl">
          <ac:chgData name="Kisliuk, Adrian (ext)" userId="6e619ce3-2643-4cdf-9a13-b4c269650021" providerId="ADAL" clId="{2F91516B-777A-4469-987E-B21E99E57CC9}" dt="2021-04-13T14:39:27.037" v="6727" actId="1035"/>
          <ac:picMkLst>
            <pc:docMk/>
            <pc:sldMk cId="2341877079" sldId="868"/>
            <ac:picMk id="99" creationId="{E399955B-0BE8-479D-A2E0-A796C6AF7611}"/>
          </ac:picMkLst>
        </pc:picChg>
        <pc:picChg chg="add del mod topLvl">
          <ac:chgData name="Kisliuk, Adrian (ext)" userId="6e619ce3-2643-4cdf-9a13-b4c269650021" providerId="ADAL" clId="{2F91516B-777A-4469-987E-B21E99E57CC9}" dt="2021-04-13T14:39:27.037" v="6727" actId="1035"/>
          <ac:picMkLst>
            <pc:docMk/>
            <pc:sldMk cId="2341877079" sldId="868"/>
            <ac:picMk id="100" creationId="{0593936E-19F5-4657-B808-15F38E097891}"/>
          </ac:picMkLst>
        </pc:picChg>
        <pc:picChg chg="add del mod">
          <ac:chgData name="Kisliuk, Adrian (ext)" userId="6e619ce3-2643-4cdf-9a13-b4c269650021" providerId="ADAL" clId="{2F91516B-777A-4469-987E-B21E99E57CC9}" dt="2021-04-13T12:59:17.447" v="4898" actId="478"/>
          <ac:picMkLst>
            <pc:docMk/>
            <pc:sldMk cId="2341877079" sldId="868"/>
            <ac:picMk id="101" creationId="{1288E037-953B-4477-BB55-97899B1CE7AE}"/>
          </ac:picMkLst>
        </pc:picChg>
        <pc:picChg chg="add mod topLvl">
          <ac:chgData name="Kisliuk, Adrian (ext)" userId="6e619ce3-2643-4cdf-9a13-b4c269650021" providerId="ADAL" clId="{2F91516B-777A-4469-987E-B21E99E57CC9}" dt="2021-04-13T14:39:27.037" v="6727" actId="1035"/>
          <ac:picMkLst>
            <pc:docMk/>
            <pc:sldMk cId="2341877079" sldId="868"/>
            <ac:picMk id="102" creationId="{5F8195F5-5988-4649-8FFB-24BAE3436708}"/>
          </ac:picMkLst>
        </pc:picChg>
        <pc:picChg chg="add mod topLvl">
          <ac:chgData name="Kisliuk, Adrian (ext)" userId="6e619ce3-2643-4cdf-9a13-b4c269650021" providerId="ADAL" clId="{2F91516B-777A-4469-987E-B21E99E57CC9}" dt="2021-04-13T14:39:27.037" v="6727" actId="1035"/>
          <ac:picMkLst>
            <pc:docMk/>
            <pc:sldMk cId="2341877079" sldId="868"/>
            <ac:picMk id="103" creationId="{34EFCB08-1249-40C7-B895-1569A77B9762}"/>
          </ac:picMkLst>
        </pc:picChg>
        <pc:picChg chg="add del mod">
          <ac:chgData name="Kisliuk, Adrian (ext)" userId="6e619ce3-2643-4cdf-9a13-b4c269650021" providerId="ADAL" clId="{2F91516B-777A-4469-987E-B21E99E57CC9}" dt="2021-04-13T12:59:15.225" v="4897" actId="478"/>
          <ac:picMkLst>
            <pc:docMk/>
            <pc:sldMk cId="2341877079" sldId="868"/>
            <ac:picMk id="104" creationId="{06CC016C-42D4-49CF-8D0D-2F8131ACD2F3}"/>
          </ac:picMkLst>
        </pc:picChg>
        <pc:picChg chg="add mod topLvl">
          <ac:chgData name="Kisliuk, Adrian (ext)" userId="6e619ce3-2643-4cdf-9a13-b4c269650021" providerId="ADAL" clId="{2F91516B-777A-4469-987E-B21E99E57CC9}" dt="2021-04-13T14:39:27.037" v="6727" actId="1035"/>
          <ac:picMkLst>
            <pc:docMk/>
            <pc:sldMk cId="2341877079" sldId="868"/>
            <ac:picMk id="105" creationId="{798E17B3-5C8F-4A2E-811D-E2FF11FC5E85}"/>
          </ac:picMkLst>
        </pc:picChg>
        <pc:picChg chg="add mod topLvl">
          <ac:chgData name="Kisliuk, Adrian (ext)" userId="6e619ce3-2643-4cdf-9a13-b4c269650021" providerId="ADAL" clId="{2F91516B-777A-4469-987E-B21E99E57CC9}" dt="2021-04-13T14:39:27.037" v="6727" actId="1035"/>
          <ac:picMkLst>
            <pc:docMk/>
            <pc:sldMk cId="2341877079" sldId="868"/>
            <ac:picMk id="106" creationId="{C9060A64-34EE-49B8-92DA-6C613CD9D374}"/>
          </ac:picMkLst>
        </pc:picChg>
        <pc:picChg chg="add del mod">
          <ac:chgData name="Kisliuk, Adrian (ext)" userId="6e619ce3-2643-4cdf-9a13-b4c269650021" providerId="ADAL" clId="{2F91516B-777A-4469-987E-B21E99E57CC9}" dt="2021-04-13T12:59:18.863" v="4899" actId="478"/>
          <ac:picMkLst>
            <pc:docMk/>
            <pc:sldMk cId="2341877079" sldId="868"/>
            <ac:picMk id="107" creationId="{0C805527-B3F4-4271-9D4A-0CF67DC41A1A}"/>
          </ac:picMkLst>
        </pc:picChg>
        <pc:cxnChg chg="add mod topLvl">
          <ac:chgData name="Kisliuk, Adrian (ext)" userId="6e619ce3-2643-4cdf-9a13-b4c269650021" providerId="ADAL" clId="{2F91516B-777A-4469-987E-B21E99E57CC9}" dt="2021-04-13T14:31:58.215" v="6555" actId="165"/>
          <ac:cxnSpMkLst>
            <pc:docMk/>
            <pc:sldMk cId="2341877079" sldId="868"/>
            <ac:cxnSpMk id="8" creationId="{1CFB2DA8-F1DB-4058-956F-DBA8895DAF49}"/>
          </ac:cxnSpMkLst>
        </pc:cxnChg>
        <pc:cxnChg chg="add del mod topLvl">
          <ac:chgData name="Kisliuk, Adrian (ext)" userId="6e619ce3-2643-4cdf-9a13-b4c269650021" providerId="ADAL" clId="{2F91516B-777A-4469-987E-B21E99E57CC9}" dt="2021-04-13T14:31:58.215" v="6555" actId="165"/>
          <ac:cxnSpMkLst>
            <pc:docMk/>
            <pc:sldMk cId="2341877079" sldId="868"/>
            <ac:cxnSpMk id="9" creationId="{5592F179-7344-45B6-8706-9FC31F265CBB}"/>
          </ac:cxnSpMkLst>
        </pc:cxnChg>
        <pc:cxnChg chg="add mod topLvl">
          <ac:chgData name="Kisliuk, Adrian (ext)" userId="6e619ce3-2643-4cdf-9a13-b4c269650021" providerId="ADAL" clId="{2F91516B-777A-4469-987E-B21E99E57CC9}" dt="2021-04-13T14:31:58.215" v="6555" actId="165"/>
          <ac:cxnSpMkLst>
            <pc:docMk/>
            <pc:sldMk cId="2341877079" sldId="868"/>
            <ac:cxnSpMk id="10" creationId="{407FD91D-F855-494E-9F66-558F7DA074CB}"/>
          </ac:cxnSpMkLst>
        </pc:cxnChg>
        <pc:cxnChg chg="add mod topLvl">
          <ac:chgData name="Kisliuk, Adrian (ext)" userId="6e619ce3-2643-4cdf-9a13-b4c269650021" providerId="ADAL" clId="{2F91516B-777A-4469-987E-B21E99E57CC9}" dt="2021-04-13T14:31:58.215" v="6555" actId="165"/>
          <ac:cxnSpMkLst>
            <pc:docMk/>
            <pc:sldMk cId="2341877079" sldId="868"/>
            <ac:cxnSpMk id="11" creationId="{7609E589-A284-464B-A806-A25DB6BDC08E}"/>
          </ac:cxnSpMkLst>
        </pc:cxnChg>
        <pc:cxnChg chg="add mod topLvl">
          <ac:chgData name="Kisliuk, Adrian (ext)" userId="6e619ce3-2643-4cdf-9a13-b4c269650021" providerId="ADAL" clId="{2F91516B-777A-4469-987E-B21E99E57CC9}" dt="2021-04-13T14:31:58.215" v="6555" actId="165"/>
          <ac:cxnSpMkLst>
            <pc:docMk/>
            <pc:sldMk cId="2341877079" sldId="868"/>
            <ac:cxnSpMk id="12" creationId="{27D4984D-E3D6-4AF1-A61A-68A918C163F9}"/>
          </ac:cxnSpMkLst>
        </pc:cxnChg>
        <pc:cxnChg chg="add mod topLvl">
          <ac:chgData name="Kisliuk, Adrian (ext)" userId="6e619ce3-2643-4cdf-9a13-b4c269650021" providerId="ADAL" clId="{2F91516B-777A-4469-987E-B21E99E57CC9}" dt="2021-04-13T14:31:58.215" v="6555" actId="165"/>
          <ac:cxnSpMkLst>
            <pc:docMk/>
            <pc:sldMk cId="2341877079" sldId="868"/>
            <ac:cxnSpMk id="13" creationId="{944063E5-EF47-4638-B559-23C6133D99CD}"/>
          </ac:cxnSpMkLst>
        </pc:cxnChg>
        <pc:cxnChg chg="add mod topLvl">
          <ac:chgData name="Kisliuk, Adrian (ext)" userId="6e619ce3-2643-4cdf-9a13-b4c269650021" providerId="ADAL" clId="{2F91516B-777A-4469-987E-B21E99E57CC9}" dt="2021-04-13T14:31:58.215" v="6555" actId="165"/>
          <ac:cxnSpMkLst>
            <pc:docMk/>
            <pc:sldMk cId="2341877079" sldId="868"/>
            <ac:cxnSpMk id="14" creationId="{4B626E46-4810-414D-9C0A-E0357EDCB9D7}"/>
          </ac:cxnSpMkLst>
        </pc:cxnChg>
        <pc:cxnChg chg="add mod">
          <ac:chgData name="Kisliuk, Adrian (ext)" userId="6e619ce3-2643-4cdf-9a13-b4c269650021" providerId="ADAL" clId="{2F91516B-777A-4469-987E-B21E99E57CC9}" dt="2021-04-13T12:52:39.275" v="4678" actId="571"/>
          <ac:cxnSpMkLst>
            <pc:docMk/>
            <pc:sldMk cId="2341877079" sldId="868"/>
            <ac:cxnSpMk id="15" creationId="{5B682C48-A7B8-4608-98B9-486CF77B6FFA}"/>
          </ac:cxnSpMkLst>
        </pc:cxnChg>
        <pc:cxnChg chg="add mod">
          <ac:chgData name="Kisliuk, Adrian (ext)" userId="6e619ce3-2643-4cdf-9a13-b4c269650021" providerId="ADAL" clId="{2F91516B-777A-4469-987E-B21E99E57CC9}" dt="2021-04-13T12:52:39.275" v="4678" actId="571"/>
          <ac:cxnSpMkLst>
            <pc:docMk/>
            <pc:sldMk cId="2341877079" sldId="868"/>
            <ac:cxnSpMk id="16" creationId="{D190D07F-BD26-4E3B-8A0C-49DBC3D9252D}"/>
          </ac:cxnSpMkLst>
        </pc:cxnChg>
        <pc:cxnChg chg="add mod">
          <ac:chgData name="Kisliuk, Adrian (ext)" userId="6e619ce3-2643-4cdf-9a13-b4c269650021" providerId="ADAL" clId="{2F91516B-777A-4469-987E-B21E99E57CC9}" dt="2021-04-13T12:52:39.275" v="4678" actId="571"/>
          <ac:cxnSpMkLst>
            <pc:docMk/>
            <pc:sldMk cId="2341877079" sldId="868"/>
            <ac:cxnSpMk id="17" creationId="{1104F3EB-F23B-4A2D-B659-BE85C7A35ED6}"/>
          </ac:cxnSpMkLst>
        </pc:cxnChg>
        <pc:cxnChg chg="add mod topLvl">
          <ac:chgData name="Kisliuk, Adrian (ext)" userId="6e619ce3-2643-4cdf-9a13-b4c269650021" providerId="ADAL" clId="{2F91516B-777A-4469-987E-B21E99E57CC9}" dt="2021-04-13T14:39:27.037" v="6727" actId="1035"/>
          <ac:cxnSpMkLst>
            <pc:docMk/>
            <pc:sldMk cId="2341877079" sldId="868"/>
            <ac:cxnSpMk id="67" creationId="{7D040921-F50F-4B27-A4C5-6FCB77EF1B05}"/>
          </ac:cxnSpMkLst>
        </pc:cxnChg>
        <pc:cxnChg chg="add mod topLvl">
          <ac:chgData name="Kisliuk, Adrian (ext)" userId="6e619ce3-2643-4cdf-9a13-b4c269650021" providerId="ADAL" clId="{2F91516B-777A-4469-987E-B21E99E57CC9}" dt="2021-04-13T14:39:27.037" v="6727" actId="1035"/>
          <ac:cxnSpMkLst>
            <pc:docMk/>
            <pc:sldMk cId="2341877079" sldId="868"/>
            <ac:cxnSpMk id="69" creationId="{F13A6B81-45D2-413C-AE2F-89DA1F14E39F}"/>
          </ac:cxnSpMkLst>
        </pc:cxnChg>
        <pc:cxnChg chg="add mod topLvl">
          <ac:chgData name="Kisliuk, Adrian (ext)" userId="6e619ce3-2643-4cdf-9a13-b4c269650021" providerId="ADAL" clId="{2F91516B-777A-4469-987E-B21E99E57CC9}" dt="2021-04-13T14:39:27.037" v="6727" actId="1035"/>
          <ac:cxnSpMkLst>
            <pc:docMk/>
            <pc:sldMk cId="2341877079" sldId="868"/>
            <ac:cxnSpMk id="70" creationId="{63E361CB-B4F7-4929-B0F9-8AEE2FDA6FD9}"/>
          </ac:cxnSpMkLst>
        </pc:cxnChg>
        <pc:cxnChg chg="add mod topLvl">
          <ac:chgData name="Kisliuk, Adrian (ext)" userId="6e619ce3-2643-4cdf-9a13-b4c269650021" providerId="ADAL" clId="{2F91516B-777A-4469-987E-B21E99E57CC9}" dt="2021-04-13T14:39:27.037" v="6727" actId="1035"/>
          <ac:cxnSpMkLst>
            <pc:docMk/>
            <pc:sldMk cId="2341877079" sldId="868"/>
            <ac:cxnSpMk id="71" creationId="{08DB5702-6918-4D61-9C6E-2607E9A6F795}"/>
          </ac:cxnSpMkLst>
        </pc:cxnChg>
        <pc:cxnChg chg="add mod topLvl">
          <ac:chgData name="Kisliuk, Adrian (ext)" userId="6e619ce3-2643-4cdf-9a13-b4c269650021" providerId="ADAL" clId="{2F91516B-777A-4469-987E-B21E99E57CC9}" dt="2021-04-13T14:39:27.037" v="6727" actId="1035"/>
          <ac:cxnSpMkLst>
            <pc:docMk/>
            <pc:sldMk cId="2341877079" sldId="868"/>
            <ac:cxnSpMk id="72" creationId="{D75B69DC-A0EE-4AE7-BBDF-7784B4EE85AB}"/>
          </ac:cxnSpMkLst>
        </pc:cxnChg>
        <pc:cxnChg chg="add mod topLvl">
          <ac:chgData name="Kisliuk, Adrian (ext)" userId="6e619ce3-2643-4cdf-9a13-b4c269650021" providerId="ADAL" clId="{2F91516B-777A-4469-987E-B21E99E57CC9}" dt="2021-04-13T14:39:27.037" v="6727" actId="1035"/>
          <ac:cxnSpMkLst>
            <pc:docMk/>
            <pc:sldMk cId="2341877079" sldId="868"/>
            <ac:cxnSpMk id="73" creationId="{9660463F-1189-4710-9918-49B6FF75AD96}"/>
          </ac:cxnSpMkLst>
        </pc:cxnChg>
        <pc:cxnChg chg="add mod topLvl">
          <ac:chgData name="Kisliuk, Adrian (ext)" userId="6e619ce3-2643-4cdf-9a13-b4c269650021" providerId="ADAL" clId="{2F91516B-777A-4469-987E-B21E99E57CC9}" dt="2021-04-13T14:39:27.037" v="6727" actId="1035"/>
          <ac:cxnSpMkLst>
            <pc:docMk/>
            <pc:sldMk cId="2341877079" sldId="868"/>
            <ac:cxnSpMk id="74" creationId="{16771A44-7FFF-487A-AC2F-0702F8E34C91}"/>
          </ac:cxnSpMkLst>
        </pc:cxnChg>
        <pc:cxnChg chg="add mod topLvl">
          <ac:chgData name="Kisliuk, Adrian (ext)" userId="6e619ce3-2643-4cdf-9a13-b4c269650021" providerId="ADAL" clId="{2F91516B-777A-4469-987E-B21E99E57CC9}" dt="2021-04-13T14:39:27.037" v="6727" actId="1035"/>
          <ac:cxnSpMkLst>
            <pc:docMk/>
            <pc:sldMk cId="2341877079" sldId="868"/>
            <ac:cxnSpMk id="75" creationId="{775DD168-1D1F-4B53-A56E-5F9979DAA77C}"/>
          </ac:cxnSpMkLst>
        </pc:cxnChg>
        <pc:cxnChg chg="add mod topLvl">
          <ac:chgData name="Kisliuk, Adrian (ext)" userId="6e619ce3-2643-4cdf-9a13-b4c269650021" providerId="ADAL" clId="{2F91516B-777A-4469-987E-B21E99E57CC9}" dt="2021-04-13T14:39:27.037" v="6727" actId="1035"/>
          <ac:cxnSpMkLst>
            <pc:docMk/>
            <pc:sldMk cId="2341877079" sldId="868"/>
            <ac:cxnSpMk id="76" creationId="{9B49F1A1-9281-4809-BF6B-55D27752F4B1}"/>
          </ac:cxnSpMkLst>
        </pc:cxnChg>
        <pc:cxnChg chg="add mod topLvl">
          <ac:chgData name="Kisliuk, Adrian (ext)" userId="6e619ce3-2643-4cdf-9a13-b4c269650021" providerId="ADAL" clId="{2F91516B-777A-4469-987E-B21E99E57CC9}" dt="2021-04-13T14:39:27.037" v="6727" actId="1035"/>
          <ac:cxnSpMkLst>
            <pc:docMk/>
            <pc:sldMk cId="2341877079" sldId="868"/>
            <ac:cxnSpMk id="77" creationId="{210C1624-06D9-462C-A118-E079D96C6DA1}"/>
          </ac:cxnSpMkLst>
        </pc:cxnChg>
        <pc:cxnChg chg="add mod topLvl">
          <ac:chgData name="Kisliuk, Adrian (ext)" userId="6e619ce3-2643-4cdf-9a13-b4c269650021" providerId="ADAL" clId="{2F91516B-777A-4469-987E-B21E99E57CC9}" dt="2021-04-13T14:39:27.037" v="6727" actId="1035"/>
          <ac:cxnSpMkLst>
            <pc:docMk/>
            <pc:sldMk cId="2341877079" sldId="868"/>
            <ac:cxnSpMk id="78" creationId="{EDE3BCF1-FB7F-4A6F-98E0-14F8DEEF88F2}"/>
          </ac:cxnSpMkLst>
        </pc:cxnChg>
        <pc:cxnChg chg="add mod topLvl">
          <ac:chgData name="Kisliuk, Adrian (ext)" userId="6e619ce3-2643-4cdf-9a13-b4c269650021" providerId="ADAL" clId="{2F91516B-777A-4469-987E-B21E99E57CC9}" dt="2021-04-13T14:39:27.037" v="6727" actId="1035"/>
          <ac:cxnSpMkLst>
            <pc:docMk/>
            <pc:sldMk cId="2341877079" sldId="868"/>
            <ac:cxnSpMk id="79" creationId="{91115089-EEBA-455C-AE1F-9BCD9D04D952}"/>
          </ac:cxnSpMkLst>
        </pc:cxnChg>
        <pc:cxnChg chg="add mod topLvl">
          <ac:chgData name="Kisliuk, Adrian (ext)" userId="6e619ce3-2643-4cdf-9a13-b4c269650021" providerId="ADAL" clId="{2F91516B-777A-4469-987E-B21E99E57CC9}" dt="2021-04-13T14:39:27.037" v="6727" actId="1035"/>
          <ac:cxnSpMkLst>
            <pc:docMk/>
            <pc:sldMk cId="2341877079" sldId="868"/>
            <ac:cxnSpMk id="80" creationId="{43C0A06B-40DE-44DA-873F-5AE25FD0DD72}"/>
          </ac:cxnSpMkLst>
        </pc:cxnChg>
        <pc:cxnChg chg="add mod topLvl">
          <ac:chgData name="Kisliuk, Adrian (ext)" userId="6e619ce3-2643-4cdf-9a13-b4c269650021" providerId="ADAL" clId="{2F91516B-777A-4469-987E-B21E99E57CC9}" dt="2021-04-13T14:39:27.037" v="6727" actId="1035"/>
          <ac:cxnSpMkLst>
            <pc:docMk/>
            <pc:sldMk cId="2341877079" sldId="868"/>
            <ac:cxnSpMk id="82" creationId="{E91FF393-4D36-4DD7-86BA-7F577CAEBB81}"/>
          </ac:cxnSpMkLst>
        </pc:cxnChg>
        <pc:cxnChg chg="add mod topLvl">
          <ac:chgData name="Kisliuk, Adrian (ext)" userId="6e619ce3-2643-4cdf-9a13-b4c269650021" providerId="ADAL" clId="{2F91516B-777A-4469-987E-B21E99E57CC9}" dt="2021-04-13T14:39:27.037" v="6727" actId="1035"/>
          <ac:cxnSpMkLst>
            <pc:docMk/>
            <pc:sldMk cId="2341877079" sldId="868"/>
            <ac:cxnSpMk id="83" creationId="{AB7CBA41-0897-47C4-B74E-06AD4420D705}"/>
          </ac:cxnSpMkLst>
        </pc:cxnChg>
        <pc:cxnChg chg="add mod topLvl">
          <ac:chgData name="Kisliuk, Adrian (ext)" userId="6e619ce3-2643-4cdf-9a13-b4c269650021" providerId="ADAL" clId="{2F91516B-777A-4469-987E-B21E99E57CC9}" dt="2021-04-13T14:39:27.037" v="6727" actId="1035"/>
          <ac:cxnSpMkLst>
            <pc:docMk/>
            <pc:sldMk cId="2341877079" sldId="868"/>
            <ac:cxnSpMk id="84" creationId="{A440801C-41CD-477D-AF08-4C5C16593E29}"/>
          </ac:cxnSpMkLst>
        </pc:cxnChg>
        <pc:cxnChg chg="add mod topLvl">
          <ac:chgData name="Kisliuk, Adrian (ext)" userId="6e619ce3-2643-4cdf-9a13-b4c269650021" providerId="ADAL" clId="{2F91516B-777A-4469-987E-B21E99E57CC9}" dt="2021-04-13T14:39:27.037" v="6727" actId="1035"/>
          <ac:cxnSpMkLst>
            <pc:docMk/>
            <pc:sldMk cId="2341877079" sldId="868"/>
            <ac:cxnSpMk id="86" creationId="{C5D96FB4-A4D4-4ECC-9235-C317E62D9705}"/>
          </ac:cxnSpMkLst>
        </pc:cxnChg>
        <pc:cxnChg chg="add mod topLvl">
          <ac:chgData name="Kisliuk, Adrian (ext)" userId="6e619ce3-2643-4cdf-9a13-b4c269650021" providerId="ADAL" clId="{2F91516B-777A-4469-987E-B21E99E57CC9}" dt="2021-04-13T14:39:27.037" v="6727" actId="1035"/>
          <ac:cxnSpMkLst>
            <pc:docMk/>
            <pc:sldMk cId="2341877079" sldId="868"/>
            <ac:cxnSpMk id="87" creationId="{1912D34D-7E22-4759-9693-341EBC75C073}"/>
          </ac:cxnSpMkLst>
        </pc:cxnChg>
        <pc:cxnChg chg="add mod topLvl">
          <ac:chgData name="Kisliuk, Adrian (ext)" userId="6e619ce3-2643-4cdf-9a13-b4c269650021" providerId="ADAL" clId="{2F91516B-777A-4469-987E-B21E99E57CC9}" dt="2021-04-13T14:39:27.037" v="6727" actId="1035"/>
          <ac:cxnSpMkLst>
            <pc:docMk/>
            <pc:sldMk cId="2341877079" sldId="868"/>
            <ac:cxnSpMk id="88" creationId="{111DCFF6-9720-4BC7-8AF0-F848679BD3A2}"/>
          </ac:cxnSpMkLst>
        </pc:cxnChg>
        <pc:cxnChg chg="add mod topLvl">
          <ac:chgData name="Kisliuk, Adrian (ext)" userId="6e619ce3-2643-4cdf-9a13-b4c269650021" providerId="ADAL" clId="{2F91516B-777A-4469-987E-B21E99E57CC9}" dt="2021-04-13T14:39:27.037" v="6727" actId="1035"/>
          <ac:cxnSpMkLst>
            <pc:docMk/>
            <pc:sldMk cId="2341877079" sldId="868"/>
            <ac:cxnSpMk id="89" creationId="{E10A9B36-F1E8-4D51-90D6-E1237DFEABD5}"/>
          </ac:cxnSpMkLst>
        </pc:cxnChg>
        <pc:cxnChg chg="add mod topLvl">
          <ac:chgData name="Kisliuk, Adrian (ext)" userId="6e619ce3-2643-4cdf-9a13-b4c269650021" providerId="ADAL" clId="{2F91516B-777A-4469-987E-B21E99E57CC9}" dt="2021-04-13T14:39:27.037" v="6727" actId="1035"/>
          <ac:cxnSpMkLst>
            <pc:docMk/>
            <pc:sldMk cId="2341877079" sldId="868"/>
            <ac:cxnSpMk id="90" creationId="{B4522E43-61FE-4B46-866D-CFD8C166B996}"/>
          </ac:cxnSpMkLst>
        </pc:cxnChg>
        <pc:cxnChg chg="add mod topLvl">
          <ac:chgData name="Kisliuk, Adrian (ext)" userId="6e619ce3-2643-4cdf-9a13-b4c269650021" providerId="ADAL" clId="{2F91516B-777A-4469-987E-B21E99E57CC9}" dt="2021-04-13T14:39:27.037" v="6727" actId="1035"/>
          <ac:cxnSpMkLst>
            <pc:docMk/>
            <pc:sldMk cId="2341877079" sldId="868"/>
            <ac:cxnSpMk id="91" creationId="{28A3AE67-A679-46FD-B5C7-DBD91B653732}"/>
          </ac:cxnSpMkLst>
        </pc:cxnChg>
        <pc:cxnChg chg="add mod topLvl">
          <ac:chgData name="Kisliuk, Adrian (ext)" userId="6e619ce3-2643-4cdf-9a13-b4c269650021" providerId="ADAL" clId="{2F91516B-777A-4469-987E-B21E99E57CC9}" dt="2021-04-13T14:39:27.037" v="6727" actId="1035"/>
          <ac:cxnSpMkLst>
            <pc:docMk/>
            <pc:sldMk cId="2341877079" sldId="868"/>
            <ac:cxnSpMk id="92" creationId="{EA736C85-F086-4450-9E7B-B22980818D56}"/>
          </ac:cxnSpMkLst>
        </pc:cxnChg>
        <pc:cxnChg chg="add mod topLvl">
          <ac:chgData name="Kisliuk, Adrian (ext)" userId="6e619ce3-2643-4cdf-9a13-b4c269650021" providerId="ADAL" clId="{2F91516B-777A-4469-987E-B21E99E57CC9}" dt="2021-04-13T14:39:27.037" v="6727" actId="1035"/>
          <ac:cxnSpMkLst>
            <pc:docMk/>
            <pc:sldMk cId="2341877079" sldId="868"/>
            <ac:cxnSpMk id="93" creationId="{08565026-B3A1-4191-815C-57CA703CDFE2}"/>
          </ac:cxnSpMkLst>
        </pc:cxnChg>
        <pc:cxnChg chg="add mod topLvl">
          <ac:chgData name="Kisliuk, Adrian (ext)" userId="6e619ce3-2643-4cdf-9a13-b4c269650021" providerId="ADAL" clId="{2F91516B-777A-4469-987E-B21E99E57CC9}" dt="2021-04-13T14:39:27.037" v="6727" actId="1035"/>
          <ac:cxnSpMkLst>
            <pc:docMk/>
            <pc:sldMk cId="2341877079" sldId="868"/>
            <ac:cxnSpMk id="94" creationId="{75B2B4E5-0ACA-46E4-A5C4-F500E20D1D6F}"/>
          </ac:cxnSpMkLst>
        </pc:cxnChg>
        <pc:cxnChg chg="add mod topLvl">
          <ac:chgData name="Kisliuk, Adrian (ext)" userId="6e619ce3-2643-4cdf-9a13-b4c269650021" providerId="ADAL" clId="{2F91516B-777A-4469-987E-B21E99E57CC9}" dt="2021-04-13T14:39:27.037" v="6727" actId="1035"/>
          <ac:cxnSpMkLst>
            <pc:docMk/>
            <pc:sldMk cId="2341877079" sldId="868"/>
            <ac:cxnSpMk id="95" creationId="{249FA8D5-6976-48C3-A048-D152E993F616}"/>
          </ac:cxnSpMkLst>
        </pc:cxnChg>
        <pc:cxnChg chg="add mod topLvl">
          <ac:chgData name="Kisliuk, Adrian (ext)" userId="6e619ce3-2643-4cdf-9a13-b4c269650021" providerId="ADAL" clId="{2F91516B-777A-4469-987E-B21E99E57CC9}" dt="2021-04-13T14:39:27.037" v="6727" actId="1035"/>
          <ac:cxnSpMkLst>
            <pc:docMk/>
            <pc:sldMk cId="2341877079" sldId="868"/>
            <ac:cxnSpMk id="96" creationId="{0E2D9E64-712E-479C-8AA8-25FD26699F9E}"/>
          </ac:cxnSpMkLst>
        </pc:cxnChg>
        <pc:cxnChg chg="add del mod">
          <ac:chgData name="Kisliuk, Adrian (ext)" userId="6e619ce3-2643-4cdf-9a13-b4c269650021" providerId="ADAL" clId="{2F91516B-777A-4469-987E-B21E99E57CC9}" dt="2021-04-13T14:30:28.887" v="6545" actId="478"/>
          <ac:cxnSpMkLst>
            <pc:docMk/>
            <pc:sldMk cId="2341877079" sldId="868"/>
            <ac:cxnSpMk id="118" creationId="{DC0A60A7-AD72-4119-AF89-74108FB9BCEA}"/>
          </ac:cxnSpMkLst>
        </pc:cxnChg>
        <pc:cxnChg chg="add mod">
          <ac:chgData name="Kisliuk, Adrian (ext)" userId="6e619ce3-2643-4cdf-9a13-b4c269650021" providerId="ADAL" clId="{2F91516B-777A-4469-987E-B21E99E57CC9}" dt="2021-04-13T14:30:34.417" v="6546" actId="1076"/>
          <ac:cxnSpMkLst>
            <pc:docMk/>
            <pc:sldMk cId="2341877079" sldId="868"/>
            <ac:cxnSpMk id="130" creationId="{8A2C6E62-6280-49C7-B1B5-8988A01A5E34}"/>
          </ac:cxnSpMkLst>
        </pc:cxnChg>
      </pc:sldChg>
      <pc:sldChg chg="addSp delSp modSp add mod">
        <pc:chgData name="Kisliuk, Adrian (ext)" userId="6e619ce3-2643-4cdf-9a13-b4c269650021" providerId="ADAL" clId="{2F91516B-777A-4469-987E-B21E99E57CC9}" dt="2021-04-14T08:23:58.345" v="7070" actId="20577"/>
        <pc:sldMkLst>
          <pc:docMk/>
          <pc:sldMk cId="1584059014" sldId="869"/>
        </pc:sldMkLst>
        <pc:spChg chg="mod">
          <ac:chgData name="Kisliuk, Adrian (ext)" userId="6e619ce3-2643-4cdf-9a13-b4c269650021" providerId="ADAL" clId="{2F91516B-777A-4469-987E-B21E99E57CC9}" dt="2021-04-13T14:52:46.516" v="6864" actId="1076"/>
          <ac:spMkLst>
            <pc:docMk/>
            <pc:sldMk cId="1584059014" sldId="869"/>
            <ac:spMk id="8" creationId="{B770DFCD-481B-4E10-9BE0-922F51CC6FD1}"/>
          </ac:spMkLst>
        </pc:spChg>
        <pc:spChg chg="del">
          <ac:chgData name="Kisliuk, Adrian (ext)" userId="6e619ce3-2643-4cdf-9a13-b4c269650021" providerId="ADAL" clId="{2F91516B-777A-4469-987E-B21E99E57CC9}" dt="2021-04-13T13:52:42.608" v="6123" actId="478"/>
          <ac:spMkLst>
            <pc:docMk/>
            <pc:sldMk cId="1584059014" sldId="869"/>
            <ac:spMk id="9" creationId="{1C2B6D7D-629B-4E2F-82EE-83C633F8EB6A}"/>
          </ac:spMkLst>
        </pc:spChg>
        <pc:spChg chg="mod">
          <ac:chgData name="Kisliuk, Adrian (ext)" userId="6e619ce3-2643-4cdf-9a13-b4c269650021" providerId="ADAL" clId="{2F91516B-777A-4469-987E-B21E99E57CC9}" dt="2021-04-13T14:52:53.426" v="6865" actId="1076"/>
          <ac:spMkLst>
            <pc:docMk/>
            <pc:sldMk cId="1584059014" sldId="869"/>
            <ac:spMk id="10" creationId="{03B20157-9F30-418E-A5CB-C5498AE810F2}"/>
          </ac:spMkLst>
        </pc:spChg>
        <pc:spChg chg="mod">
          <ac:chgData name="Kisliuk, Adrian (ext)" userId="6e619ce3-2643-4cdf-9a13-b4c269650021" providerId="ADAL" clId="{2F91516B-777A-4469-987E-B21E99E57CC9}" dt="2021-04-13T14:52:57.436" v="6866" actId="1076"/>
          <ac:spMkLst>
            <pc:docMk/>
            <pc:sldMk cId="1584059014" sldId="869"/>
            <ac:spMk id="11" creationId="{B92E80A5-2C9C-4BBB-986D-BA0634DFB9C8}"/>
          </ac:spMkLst>
        </pc:spChg>
        <pc:spChg chg="mod">
          <ac:chgData name="Kisliuk, Adrian (ext)" userId="6e619ce3-2643-4cdf-9a13-b4c269650021" providerId="ADAL" clId="{2F91516B-777A-4469-987E-B21E99E57CC9}" dt="2021-04-13T17:27:00.097" v="7027" actId="208"/>
          <ac:spMkLst>
            <pc:docMk/>
            <pc:sldMk cId="1584059014" sldId="869"/>
            <ac:spMk id="13" creationId="{E0B67160-EA6B-4953-934B-DEDC05F824CE}"/>
          </ac:spMkLst>
        </pc:spChg>
        <pc:spChg chg="mod">
          <ac:chgData name="Kisliuk, Adrian (ext)" userId="6e619ce3-2643-4cdf-9a13-b4c269650021" providerId="ADAL" clId="{2F91516B-777A-4469-987E-B21E99E57CC9}" dt="2021-04-13T17:27:00.097" v="7027" actId="208"/>
          <ac:spMkLst>
            <pc:docMk/>
            <pc:sldMk cId="1584059014" sldId="869"/>
            <ac:spMk id="14" creationId="{F935B0B1-BC53-4704-A9A4-3007ED7221AA}"/>
          </ac:spMkLst>
        </pc:spChg>
        <pc:spChg chg="del">
          <ac:chgData name="Kisliuk, Adrian (ext)" userId="6e619ce3-2643-4cdf-9a13-b4c269650021" providerId="ADAL" clId="{2F91516B-777A-4469-987E-B21E99E57CC9}" dt="2021-04-13T13:53:16.436" v="6131" actId="478"/>
          <ac:spMkLst>
            <pc:docMk/>
            <pc:sldMk cId="1584059014" sldId="869"/>
            <ac:spMk id="15" creationId="{AAA9B8E1-53C8-40A6-9BEC-3FFCBA758539}"/>
          </ac:spMkLst>
        </pc:spChg>
        <pc:spChg chg="add mod">
          <ac:chgData name="Kisliuk, Adrian (ext)" userId="6e619ce3-2643-4cdf-9a13-b4c269650021" providerId="ADAL" clId="{2F91516B-777A-4469-987E-B21E99E57CC9}" dt="2021-04-13T17:27:00.097" v="7027" actId="208"/>
          <ac:spMkLst>
            <pc:docMk/>
            <pc:sldMk cId="1584059014" sldId="869"/>
            <ac:spMk id="16" creationId="{8879EA5C-982D-4A98-B5A7-597F813DC855}"/>
          </ac:spMkLst>
        </pc:spChg>
        <pc:spChg chg="add mod">
          <ac:chgData name="Kisliuk, Adrian (ext)" userId="6e619ce3-2643-4cdf-9a13-b4c269650021" providerId="ADAL" clId="{2F91516B-777A-4469-987E-B21E99E57CC9}" dt="2021-04-14T08:23:58.345" v="7070" actId="20577"/>
          <ac:spMkLst>
            <pc:docMk/>
            <pc:sldMk cId="1584059014" sldId="869"/>
            <ac:spMk id="17" creationId="{28568BB2-7432-493A-BAE6-9F37A074C982}"/>
          </ac:spMkLst>
        </pc:spChg>
        <pc:spChg chg="mod">
          <ac:chgData name="Kisliuk, Adrian (ext)" userId="6e619ce3-2643-4cdf-9a13-b4c269650021" providerId="ADAL" clId="{2F91516B-777A-4469-987E-B21E99E57CC9}" dt="2021-04-13T17:27:00.097" v="7027" actId="208"/>
          <ac:spMkLst>
            <pc:docMk/>
            <pc:sldMk cId="1584059014" sldId="869"/>
            <ac:spMk id="44" creationId="{5BE3AE2B-4A0E-4204-B25A-B404EC4FDDA8}"/>
          </ac:spMkLst>
        </pc:spChg>
      </pc:sldChg>
      <pc:sldChg chg="addSp delSp modSp add mod">
        <pc:chgData name="Kisliuk, Adrian (ext)" userId="6e619ce3-2643-4cdf-9a13-b4c269650021" providerId="ADAL" clId="{2F91516B-777A-4469-987E-B21E99E57CC9}" dt="2021-04-13T18:31:16.499" v="7034" actId="108"/>
        <pc:sldMkLst>
          <pc:docMk/>
          <pc:sldMk cId="809706117" sldId="870"/>
        </pc:sldMkLst>
        <pc:spChg chg="mod ord">
          <ac:chgData name="Kisliuk, Adrian (ext)" userId="6e619ce3-2643-4cdf-9a13-b4c269650021" providerId="ADAL" clId="{2F91516B-777A-4469-987E-B21E99E57CC9}" dt="2021-04-13T14:51:00.214" v="6845"/>
          <ac:spMkLst>
            <pc:docMk/>
            <pc:sldMk cId="809706117" sldId="870"/>
            <ac:spMk id="2" creationId="{DE936FAF-2E76-49E3-A26B-EE542092B6EF}"/>
          </ac:spMkLst>
        </pc:spChg>
        <pc:spChg chg="mod ord">
          <ac:chgData name="Kisliuk, Adrian (ext)" userId="6e619ce3-2643-4cdf-9a13-b4c269650021" providerId="ADAL" clId="{2F91516B-777A-4469-987E-B21E99E57CC9}" dt="2021-04-13T14:51:00.214" v="6847"/>
          <ac:spMkLst>
            <pc:docMk/>
            <pc:sldMk cId="809706117" sldId="870"/>
            <ac:spMk id="4" creationId="{00000000-0000-0000-0000-000000000000}"/>
          </ac:spMkLst>
        </pc:spChg>
        <pc:spChg chg="mod ord">
          <ac:chgData name="Kisliuk, Adrian (ext)" userId="6e619ce3-2643-4cdf-9a13-b4c269650021" providerId="ADAL" clId="{2F91516B-777A-4469-987E-B21E99E57CC9}" dt="2021-04-13T14:51:00.215" v="6851"/>
          <ac:spMkLst>
            <pc:docMk/>
            <pc:sldMk cId="809706117" sldId="870"/>
            <ac:spMk id="5" creationId="{3D050C70-F57D-458E-826F-0A5D43C9D2D3}"/>
          </ac:spMkLst>
        </pc:spChg>
        <pc:spChg chg="mod ord">
          <ac:chgData name="Kisliuk, Adrian (ext)" userId="6e619ce3-2643-4cdf-9a13-b4c269650021" providerId="ADAL" clId="{2F91516B-777A-4469-987E-B21E99E57CC9}" dt="2021-04-13T14:51:00.213" v="6843"/>
          <ac:spMkLst>
            <pc:docMk/>
            <pc:sldMk cId="809706117" sldId="870"/>
            <ac:spMk id="8" creationId="{01C6FEC3-9DB7-4E47-A7ED-2BB3C528CBCC}"/>
          </ac:spMkLst>
        </pc:spChg>
        <pc:spChg chg="add del mod ord modVis">
          <ac:chgData name="Kisliuk, Adrian (ext)" userId="6e619ce3-2643-4cdf-9a13-b4c269650021" providerId="ADAL" clId="{2F91516B-777A-4469-987E-B21E99E57CC9}" dt="2021-04-13T14:51:00.218" v="6857"/>
          <ac:spMkLst>
            <pc:docMk/>
            <pc:sldMk cId="809706117" sldId="870"/>
            <ac:spMk id="9" creationId="{15BF7F51-0490-469C-B641-5BF9AFFB165A}"/>
          </ac:spMkLst>
        </pc:spChg>
        <pc:spChg chg="add mod">
          <ac:chgData name="Kisliuk, Adrian (ext)" userId="6e619ce3-2643-4cdf-9a13-b4c269650021" providerId="ADAL" clId="{2F91516B-777A-4469-987E-B21E99E57CC9}" dt="2021-04-13T14:22:09.634" v="6481" actId="164"/>
          <ac:spMkLst>
            <pc:docMk/>
            <pc:sldMk cId="809706117" sldId="870"/>
            <ac:spMk id="10" creationId="{6501261E-1DB6-4A90-BF40-EA947DEC8019}"/>
          </ac:spMkLst>
        </pc:spChg>
        <pc:spChg chg="add mod">
          <ac:chgData name="Kisliuk, Adrian (ext)" userId="6e619ce3-2643-4cdf-9a13-b4c269650021" providerId="ADAL" clId="{2F91516B-777A-4469-987E-B21E99E57CC9}" dt="2021-04-13T14:22:49.894" v="6487" actId="164"/>
          <ac:spMkLst>
            <pc:docMk/>
            <pc:sldMk cId="809706117" sldId="870"/>
            <ac:spMk id="11" creationId="{79A5F2EA-FE04-44F6-A2E0-44BB5C592025}"/>
          </ac:spMkLst>
        </pc:spChg>
        <pc:spChg chg="mod ord">
          <ac:chgData name="Kisliuk, Adrian (ext)" userId="6e619ce3-2643-4cdf-9a13-b4c269650021" providerId="ADAL" clId="{2F91516B-777A-4469-987E-B21E99E57CC9}" dt="2021-04-13T14:51:00.214" v="6849"/>
          <ac:spMkLst>
            <pc:docMk/>
            <pc:sldMk cId="809706117" sldId="870"/>
            <ac:spMk id="28" creationId="{DDC4B4C1-A9E2-48B5-8C16-EA9C6476B188}"/>
          </ac:spMkLst>
        </pc:spChg>
        <pc:spChg chg="mod">
          <ac:chgData name="Kisliuk, Adrian (ext)" userId="6e619ce3-2643-4cdf-9a13-b4c269650021" providerId="ADAL" clId="{2F91516B-777A-4469-987E-B21E99E57CC9}" dt="2021-04-13T18:31:16.499" v="7034" actId="108"/>
          <ac:spMkLst>
            <pc:docMk/>
            <pc:sldMk cId="809706117" sldId="870"/>
            <ac:spMk id="31" creationId="{1FDC0901-175B-4C45-A5DC-EC6763ACA664}"/>
          </ac:spMkLst>
        </pc:spChg>
        <pc:spChg chg="mod">
          <ac:chgData name="Kisliuk, Adrian (ext)" userId="6e619ce3-2643-4cdf-9a13-b4c269650021" providerId="ADAL" clId="{2F91516B-777A-4469-987E-B21E99E57CC9}" dt="2021-04-13T14:22:09.634" v="6481" actId="164"/>
          <ac:spMkLst>
            <pc:docMk/>
            <pc:sldMk cId="809706117" sldId="870"/>
            <ac:spMk id="32" creationId="{2E0BB964-2509-4C28-9FCB-A627A5F336A5}"/>
          </ac:spMkLst>
        </pc:spChg>
        <pc:grpChg chg="add mod ord">
          <ac:chgData name="Kisliuk, Adrian (ext)" userId="6e619ce3-2643-4cdf-9a13-b4c269650021" providerId="ADAL" clId="{2F91516B-777A-4469-987E-B21E99E57CC9}" dt="2021-04-13T14:51:00.215" v="6853"/>
          <ac:grpSpMkLst>
            <pc:docMk/>
            <pc:sldMk cId="809706117" sldId="870"/>
            <ac:grpSpMk id="3" creationId="{FFD96728-04C0-4782-9DE6-1380416A7E0F}"/>
          </ac:grpSpMkLst>
        </pc:grpChg>
        <pc:grpChg chg="add mod ord">
          <ac:chgData name="Kisliuk, Adrian (ext)" userId="6e619ce3-2643-4cdf-9a13-b4c269650021" providerId="ADAL" clId="{2F91516B-777A-4469-987E-B21E99E57CC9}" dt="2021-04-13T14:51:00.216" v="6855"/>
          <ac:grpSpMkLst>
            <pc:docMk/>
            <pc:sldMk cId="809706117" sldId="870"/>
            <ac:grpSpMk id="7" creationId="{13397F74-937E-4ECD-92CA-AE96631A0A28}"/>
          </ac:grpSpMkLst>
        </pc:grpChg>
        <pc:graphicFrameChg chg="mod ord">
          <ac:chgData name="Kisliuk, Adrian (ext)" userId="6e619ce3-2643-4cdf-9a13-b4c269650021" providerId="ADAL" clId="{2F91516B-777A-4469-987E-B21E99E57CC9}" dt="2021-04-13T14:51:00.220" v="6859"/>
          <ac:graphicFrameMkLst>
            <pc:docMk/>
            <pc:sldMk cId="809706117" sldId="870"/>
            <ac:graphicFrameMk id="6" creationId="{580DFCAE-76C4-413B-B499-F7B76F1E13AF}"/>
          </ac:graphicFrameMkLst>
        </pc:graphicFrameChg>
        <pc:picChg chg="add del mod">
          <ac:chgData name="Kisliuk, Adrian (ext)" userId="6e619ce3-2643-4cdf-9a13-b4c269650021" providerId="ADAL" clId="{2F91516B-777A-4469-987E-B21E99E57CC9}" dt="2021-04-13T14:44:30.709" v="6739" actId="478"/>
          <ac:picMkLst>
            <pc:docMk/>
            <pc:sldMk cId="809706117" sldId="870"/>
            <ac:picMk id="14" creationId="{34A12B3D-263D-4EF0-9BC1-71BE6F1D7AC7}"/>
          </ac:picMkLst>
        </pc:picChg>
        <pc:picChg chg="add del mod">
          <ac:chgData name="Kisliuk, Adrian (ext)" userId="6e619ce3-2643-4cdf-9a13-b4c269650021" providerId="ADAL" clId="{2F91516B-777A-4469-987E-B21E99E57CC9}" dt="2021-04-13T14:44:35.315" v="6741" actId="478"/>
          <ac:picMkLst>
            <pc:docMk/>
            <pc:sldMk cId="809706117" sldId="870"/>
            <ac:picMk id="15" creationId="{EAFDCB3A-894A-4756-9D6E-96E4E16E19A7}"/>
          </ac:picMkLst>
        </pc:picChg>
        <pc:picChg chg="add del mod ord">
          <ac:chgData name="Kisliuk, Adrian (ext)" userId="6e619ce3-2643-4cdf-9a13-b4c269650021" providerId="ADAL" clId="{2F91516B-777A-4469-987E-B21E99E57CC9}" dt="2021-04-13T14:51:14.326" v="6860" actId="478"/>
          <ac:picMkLst>
            <pc:docMk/>
            <pc:sldMk cId="809706117" sldId="870"/>
            <ac:picMk id="16" creationId="{55208DA4-6135-44A7-9AF8-5CD9861000F8}"/>
          </ac:picMkLst>
        </pc:picChg>
      </pc:sldChg>
      <pc:sldChg chg="modSp add del mod">
        <pc:chgData name="Kisliuk, Adrian (ext)" userId="6e619ce3-2643-4cdf-9a13-b4c269650021" providerId="ADAL" clId="{2F91516B-777A-4469-987E-B21E99E57CC9}" dt="2021-04-13T14:09:37.085" v="6374" actId="47"/>
        <pc:sldMkLst>
          <pc:docMk/>
          <pc:sldMk cId="2759589899" sldId="870"/>
        </pc:sldMkLst>
        <pc:spChg chg="mod">
          <ac:chgData name="Kisliuk, Adrian (ext)" userId="6e619ce3-2643-4cdf-9a13-b4c269650021" providerId="ADAL" clId="{2F91516B-777A-4469-987E-B21E99E57CC9}" dt="2021-04-13T14:02:51.346" v="6342"/>
          <ac:spMkLst>
            <pc:docMk/>
            <pc:sldMk cId="2759589899" sldId="870"/>
            <ac:spMk id="28" creationId="{DDC4B4C1-A9E2-48B5-8C16-EA9C6476B188}"/>
          </ac:spMkLst>
        </pc:spChg>
      </pc:sldChg>
      <pc:sldChg chg="addSp delSp modSp add del mod">
        <pc:chgData name="Kisliuk, Adrian (ext)" userId="6e619ce3-2643-4cdf-9a13-b4c269650021" providerId="ADAL" clId="{2F91516B-777A-4469-987E-B21E99E57CC9}" dt="2021-04-13T14:34:18.731" v="6580" actId="47"/>
        <pc:sldMkLst>
          <pc:docMk/>
          <pc:sldMk cId="871691630" sldId="871"/>
        </pc:sldMkLst>
        <pc:spChg chg="mod">
          <ac:chgData name="Kisliuk, Adrian (ext)" userId="6e619ce3-2643-4cdf-9a13-b4c269650021" providerId="ADAL" clId="{2F91516B-777A-4469-987E-B21E99E57CC9}" dt="2021-04-13T14:31:31.209" v="6554"/>
          <ac:spMkLst>
            <pc:docMk/>
            <pc:sldMk cId="871691630" sldId="871"/>
            <ac:spMk id="170" creationId="{7DC6F875-3128-4208-9A84-D83464A7F6B9}"/>
          </ac:spMkLst>
        </pc:spChg>
        <pc:spChg chg="mod">
          <ac:chgData name="Kisliuk, Adrian (ext)" userId="6e619ce3-2643-4cdf-9a13-b4c269650021" providerId="ADAL" clId="{2F91516B-777A-4469-987E-B21E99E57CC9}" dt="2021-04-13T14:31:31.209" v="6554"/>
          <ac:spMkLst>
            <pc:docMk/>
            <pc:sldMk cId="871691630" sldId="871"/>
            <ac:spMk id="171" creationId="{A5E2D585-4343-4D48-96F5-B05318E36F7F}"/>
          </ac:spMkLst>
        </pc:spChg>
        <pc:spChg chg="mod">
          <ac:chgData name="Kisliuk, Adrian (ext)" userId="6e619ce3-2643-4cdf-9a13-b4c269650021" providerId="ADAL" clId="{2F91516B-777A-4469-987E-B21E99E57CC9}" dt="2021-04-13T14:31:31.209" v="6554"/>
          <ac:spMkLst>
            <pc:docMk/>
            <pc:sldMk cId="871691630" sldId="871"/>
            <ac:spMk id="172" creationId="{ABF6DEAE-BD0D-460A-9EA5-3F421241F3F2}"/>
          </ac:spMkLst>
        </pc:spChg>
        <pc:spChg chg="mod">
          <ac:chgData name="Kisliuk, Adrian (ext)" userId="6e619ce3-2643-4cdf-9a13-b4c269650021" providerId="ADAL" clId="{2F91516B-777A-4469-987E-B21E99E57CC9}" dt="2021-04-13T14:31:31.209" v="6554"/>
          <ac:spMkLst>
            <pc:docMk/>
            <pc:sldMk cId="871691630" sldId="871"/>
            <ac:spMk id="173" creationId="{80A181B1-555D-4D16-8A14-B7DEF30745A6}"/>
          </ac:spMkLst>
        </pc:spChg>
        <pc:spChg chg="mod">
          <ac:chgData name="Kisliuk, Adrian (ext)" userId="6e619ce3-2643-4cdf-9a13-b4c269650021" providerId="ADAL" clId="{2F91516B-777A-4469-987E-B21E99E57CC9}" dt="2021-04-13T14:31:31.209" v="6554"/>
          <ac:spMkLst>
            <pc:docMk/>
            <pc:sldMk cId="871691630" sldId="871"/>
            <ac:spMk id="174" creationId="{A9E9C7BF-D95C-4398-BFA1-034ADA8D72E4}"/>
          </ac:spMkLst>
        </pc:spChg>
        <pc:spChg chg="mod">
          <ac:chgData name="Kisliuk, Adrian (ext)" userId="6e619ce3-2643-4cdf-9a13-b4c269650021" providerId="ADAL" clId="{2F91516B-777A-4469-987E-B21E99E57CC9}" dt="2021-04-13T14:31:31.209" v="6554"/>
          <ac:spMkLst>
            <pc:docMk/>
            <pc:sldMk cId="871691630" sldId="871"/>
            <ac:spMk id="175" creationId="{2B6A94EA-CAF7-48EE-B2BB-9155F0EBBA6C}"/>
          </ac:spMkLst>
        </pc:spChg>
        <pc:spChg chg="mod">
          <ac:chgData name="Kisliuk, Adrian (ext)" userId="6e619ce3-2643-4cdf-9a13-b4c269650021" providerId="ADAL" clId="{2F91516B-777A-4469-987E-B21E99E57CC9}" dt="2021-04-13T14:31:31.209" v="6554"/>
          <ac:spMkLst>
            <pc:docMk/>
            <pc:sldMk cId="871691630" sldId="871"/>
            <ac:spMk id="176" creationId="{449F8C4E-B1DF-414F-9867-485AC58EAFBC}"/>
          </ac:spMkLst>
        </pc:spChg>
        <pc:spChg chg="mod">
          <ac:chgData name="Kisliuk, Adrian (ext)" userId="6e619ce3-2643-4cdf-9a13-b4c269650021" providerId="ADAL" clId="{2F91516B-777A-4469-987E-B21E99E57CC9}" dt="2021-04-13T14:31:31.209" v="6554"/>
          <ac:spMkLst>
            <pc:docMk/>
            <pc:sldMk cId="871691630" sldId="871"/>
            <ac:spMk id="177" creationId="{ED48CC0F-5360-4DA9-A894-F93CF1DCCA19}"/>
          </ac:spMkLst>
        </pc:spChg>
        <pc:spChg chg="mod">
          <ac:chgData name="Kisliuk, Adrian (ext)" userId="6e619ce3-2643-4cdf-9a13-b4c269650021" providerId="ADAL" clId="{2F91516B-777A-4469-987E-B21E99E57CC9}" dt="2021-04-13T14:31:31.209" v="6554"/>
          <ac:spMkLst>
            <pc:docMk/>
            <pc:sldMk cId="871691630" sldId="871"/>
            <ac:spMk id="178" creationId="{536054AF-BCC2-4397-B0BD-F37F33690C6C}"/>
          </ac:spMkLst>
        </pc:spChg>
        <pc:spChg chg="mod">
          <ac:chgData name="Kisliuk, Adrian (ext)" userId="6e619ce3-2643-4cdf-9a13-b4c269650021" providerId="ADAL" clId="{2F91516B-777A-4469-987E-B21E99E57CC9}" dt="2021-04-13T14:31:31.209" v="6554"/>
          <ac:spMkLst>
            <pc:docMk/>
            <pc:sldMk cId="871691630" sldId="871"/>
            <ac:spMk id="179" creationId="{3E16CB66-517D-45DF-8A3C-D6F382CEC80A}"/>
          </ac:spMkLst>
        </pc:spChg>
        <pc:spChg chg="mod">
          <ac:chgData name="Kisliuk, Adrian (ext)" userId="6e619ce3-2643-4cdf-9a13-b4c269650021" providerId="ADAL" clId="{2F91516B-777A-4469-987E-B21E99E57CC9}" dt="2021-04-13T14:31:31.209" v="6554"/>
          <ac:spMkLst>
            <pc:docMk/>
            <pc:sldMk cId="871691630" sldId="871"/>
            <ac:spMk id="180" creationId="{C784DA20-782E-4386-8BEC-F12ABF4FBFD8}"/>
          </ac:spMkLst>
        </pc:spChg>
        <pc:spChg chg="mod">
          <ac:chgData name="Kisliuk, Adrian (ext)" userId="6e619ce3-2643-4cdf-9a13-b4c269650021" providerId="ADAL" clId="{2F91516B-777A-4469-987E-B21E99E57CC9}" dt="2021-04-13T14:31:31.209" v="6554"/>
          <ac:spMkLst>
            <pc:docMk/>
            <pc:sldMk cId="871691630" sldId="871"/>
            <ac:spMk id="181" creationId="{D2AB1166-6442-4986-B00A-AAF519EFF7C4}"/>
          </ac:spMkLst>
        </pc:spChg>
        <pc:spChg chg="mod">
          <ac:chgData name="Kisliuk, Adrian (ext)" userId="6e619ce3-2643-4cdf-9a13-b4c269650021" providerId="ADAL" clId="{2F91516B-777A-4469-987E-B21E99E57CC9}" dt="2021-04-13T14:31:31.209" v="6554"/>
          <ac:spMkLst>
            <pc:docMk/>
            <pc:sldMk cId="871691630" sldId="871"/>
            <ac:spMk id="182" creationId="{434C4662-F1DC-43AF-9084-ACFB74359056}"/>
          </ac:spMkLst>
        </pc:spChg>
        <pc:spChg chg="mod">
          <ac:chgData name="Kisliuk, Adrian (ext)" userId="6e619ce3-2643-4cdf-9a13-b4c269650021" providerId="ADAL" clId="{2F91516B-777A-4469-987E-B21E99E57CC9}" dt="2021-04-13T14:31:31.209" v="6554"/>
          <ac:spMkLst>
            <pc:docMk/>
            <pc:sldMk cId="871691630" sldId="871"/>
            <ac:spMk id="183" creationId="{A759BCCD-ECE2-4AAB-A879-0269E1D23974}"/>
          </ac:spMkLst>
        </pc:spChg>
        <pc:spChg chg="mod">
          <ac:chgData name="Kisliuk, Adrian (ext)" userId="6e619ce3-2643-4cdf-9a13-b4c269650021" providerId="ADAL" clId="{2F91516B-777A-4469-987E-B21E99E57CC9}" dt="2021-04-13T14:31:31.209" v="6554"/>
          <ac:spMkLst>
            <pc:docMk/>
            <pc:sldMk cId="871691630" sldId="871"/>
            <ac:spMk id="184" creationId="{2FEEC35D-9209-46C2-B4E5-C69460C23ECD}"/>
          </ac:spMkLst>
        </pc:spChg>
        <pc:spChg chg="mod">
          <ac:chgData name="Kisliuk, Adrian (ext)" userId="6e619ce3-2643-4cdf-9a13-b4c269650021" providerId="ADAL" clId="{2F91516B-777A-4469-987E-B21E99E57CC9}" dt="2021-04-13T14:31:31.209" v="6554"/>
          <ac:spMkLst>
            <pc:docMk/>
            <pc:sldMk cId="871691630" sldId="871"/>
            <ac:spMk id="185" creationId="{2369277A-A7E8-4375-9DCC-E19825F7413C}"/>
          </ac:spMkLst>
        </pc:spChg>
        <pc:spChg chg="mod">
          <ac:chgData name="Kisliuk, Adrian (ext)" userId="6e619ce3-2643-4cdf-9a13-b4c269650021" providerId="ADAL" clId="{2F91516B-777A-4469-987E-B21E99E57CC9}" dt="2021-04-13T14:31:31.209" v="6554"/>
          <ac:spMkLst>
            <pc:docMk/>
            <pc:sldMk cId="871691630" sldId="871"/>
            <ac:spMk id="186" creationId="{1C6D1E21-4EEB-4AD2-A761-BA5AA7C5B106}"/>
          </ac:spMkLst>
        </pc:spChg>
        <pc:spChg chg="mod">
          <ac:chgData name="Kisliuk, Adrian (ext)" userId="6e619ce3-2643-4cdf-9a13-b4c269650021" providerId="ADAL" clId="{2F91516B-777A-4469-987E-B21E99E57CC9}" dt="2021-04-13T14:31:31.209" v="6554"/>
          <ac:spMkLst>
            <pc:docMk/>
            <pc:sldMk cId="871691630" sldId="871"/>
            <ac:spMk id="187" creationId="{7797B193-1BA7-4B05-ACD2-4AD4FEF63787}"/>
          </ac:spMkLst>
        </pc:spChg>
        <pc:spChg chg="mod">
          <ac:chgData name="Kisliuk, Adrian (ext)" userId="6e619ce3-2643-4cdf-9a13-b4c269650021" providerId="ADAL" clId="{2F91516B-777A-4469-987E-B21E99E57CC9}" dt="2021-04-13T14:31:31.209" v="6554"/>
          <ac:spMkLst>
            <pc:docMk/>
            <pc:sldMk cId="871691630" sldId="871"/>
            <ac:spMk id="188" creationId="{2EF68422-B145-4D99-9D4E-4280FEF58623}"/>
          </ac:spMkLst>
        </pc:spChg>
        <pc:spChg chg="mod">
          <ac:chgData name="Kisliuk, Adrian (ext)" userId="6e619ce3-2643-4cdf-9a13-b4c269650021" providerId="ADAL" clId="{2F91516B-777A-4469-987E-B21E99E57CC9}" dt="2021-04-13T14:31:31.209" v="6554"/>
          <ac:spMkLst>
            <pc:docMk/>
            <pc:sldMk cId="871691630" sldId="871"/>
            <ac:spMk id="189" creationId="{37255058-9967-4D22-A022-7D9BC6B20620}"/>
          </ac:spMkLst>
        </pc:spChg>
        <pc:spChg chg="mod">
          <ac:chgData name="Kisliuk, Adrian (ext)" userId="6e619ce3-2643-4cdf-9a13-b4c269650021" providerId="ADAL" clId="{2F91516B-777A-4469-987E-B21E99E57CC9}" dt="2021-04-13T14:31:31.209" v="6554"/>
          <ac:spMkLst>
            <pc:docMk/>
            <pc:sldMk cId="871691630" sldId="871"/>
            <ac:spMk id="190" creationId="{01BEB96B-E4C9-4BC0-82B6-4362485BEF0B}"/>
          </ac:spMkLst>
        </pc:spChg>
        <pc:spChg chg="mod">
          <ac:chgData name="Kisliuk, Adrian (ext)" userId="6e619ce3-2643-4cdf-9a13-b4c269650021" providerId="ADAL" clId="{2F91516B-777A-4469-987E-B21E99E57CC9}" dt="2021-04-13T14:31:31.209" v="6554"/>
          <ac:spMkLst>
            <pc:docMk/>
            <pc:sldMk cId="871691630" sldId="871"/>
            <ac:spMk id="191" creationId="{91794B00-E919-4ABD-9106-2EF3C810E8C1}"/>
          </ac:spMkLst>
        </pc:spChg>
        <pc:spChg chg="mod">
          <ac:chgData name="Kisliuk, Adrian (ext)" userId="6e619ce3-2643-4cdf-9a13-b4c269650021" providerId="ADAL" clId="{2F91516B-777A-4469-987E-B21E99E57CC9}" dt="2021-04-13T14:31:31.209" v="6554"/>
          <ac:spMkLst>
            <pc:docMk/>
            <pc:sldMk cId="871691630" sldId="871"/>
            <ac:spMk id="192" creationId="{9115CABF-BDFB-415A-9DBB-484F0F799AA3}"/>
          </ac:spMkLst>
        </pc:spChg>
        <pc:spChg chg="mod">
          <ac:chgData name="Kisliuk, Adrian (ext)" userId="6e619ce3-2643-4cdf-9a13-b4c269650021" providerId="ADAL" clId="{2F91516B-777A-4469-987E-B21E99E57CC9}" dt="2021-04-13T14:31:31.209" v="6554"/>
          <ac:spMkLst>
            <pc:docMk/>
            <pc:sldMk cId="871691630" sldId="871"/>
            <ac:spMk id="193" creationId="{25B9A852-CFEC-4C0A-8327-D74B14A7ED70}"/>
          </ac:spMkLst>
        </pc:spChg>
        <pc:spChg chg="mod">
          <ac:chgData name="Kisliuk, Adrian (ext)" userId="6e619ce3-2643-4cdf-9a13-b4c269650021" providerId="ADAL" clId="{2F91516B-777A-4469-987E-B21E99E57CC9}" dt="2021-04-13T14:31:31.209" v="6554"/>
          <ac:spMkLst>
            <pc:docMk/>
            <pc:sldMk cId="871691630" sldId="871"/>
            <ac:spMk id="194" creationId="{73196A36-CC1C-4950-8892-00235FD5AAD6}"/>
          </ac:spMkLst>
        </pc:spChg>
        <pc:spChg chg="mod">
          <ac:chgData name="Kisliuk, Adrian (ext)" userId="6e619ce3-2643-4cdf-9a13-b4c269650021" providerId="ADAL" clId="{2F91516B-777A-4469-987E-B21E99E57CC9}" dt="2021-04-13T14:31:31.209" v="6554"/>
          <ac:spMkLst>
            <pc:docMk/>
            <pc:sldMk cId="871691630" sldId="871"/>
            <ac:spMk id="195" creationId="{FBC15470-DD74-4584-8049-C75F93B6D18F}"/>
          </ac:spMkLst>
        </pc:spChg>
        <pc:spChg chg="mod">
          <ac:chgData name="Kisliuk, Adrian (ext)" userId="6e619ce3-2643-4cdf-9a13-b4c269650021" providerId="ADAL" clId="{2F91516B-777A-4469-987E-B21E99E57CC9}" dt="2021-04-13T14:31:31.209" v="6554"/>
          <ac:spMkLst>
            <pc:docMk/>
            <pc:sldMk cId="871691630" sldId="871"/>
            <ac:spMk id="196" creationId="{9C003267-6EAC-4778-AE22-9608A737E0F5}"/>
          </ac:spMkLst>
        </pc:spChg>
        <pc:spChg chg="mod">
          <ac:chgData name="Kisliuk, Adrian (ext)" userId="6e619ce3-2643-4cdf-9a13-b4c269650021" providerId="ADAL" clId="{2F91516B-777A-4469-987E-B21E99E57CC9}" dt="2021-04-13T14:31:31.209" v="6554"/>
          <ac:spMkLst>
            <pc:docMk/>
            <pc:sldMk cId="871691630" sldId="871"/>
            <ac:spMk id="197" creationId="{15F3AF8E-E69B-4597-92DA-B72F0E1AC2B9}"/>
          </ac:spMkLst>
        </pc:spChg>
        <pc:spChg chg="mod">
          <ac:chgData name="Kisliuk, Adrian (ext)" userId="6e619ce3-2643-4cdf-9a13-b4c269650021" providerId="ADAL" clId="{2F91516B-777A-4469-987E-B21E99E57CC9}" dt="2021-04-13T14:31:31.209" v="6554"/>
          <ac:spMkLst>
            <pc:docMk/>
            <pc:sldMk cId="871691630" sldId="871"/>
            <ac:spMk id="198" creationId="{12FBECE1-6F84-4B1E-9657-1E3607D86EC4}"/>
          </ac:spMkLst>
        </pc:spChg>
        <pc:spChg chg="mod">
          <ac:chgData name="Kisliuk, Adrian (ext)" userId="6e619ce3-2643-4cdf-9a13-b4c269650021" providerId="ADAL" clId="{2F91516B-777A-4469-987E-B21E99E57CC9}" dt="2021-04-13T14:31:31.209" v="6554"/>
          <ac:spMkLst>
            <pc:docMk/>
            <pc:sldMk cId="871691630" sldId="871"/>
            <ac:spMk id="199" creationId="{3E25C0C0-8BEE-46F7-A8B9-950242D409DF}"/>
          </ac:spMkLst>
        </pc:spChg>
        <pc:spChg chg="mod">
          <ac:chgData name="Kisliuk, Adrian (ext)" userId="6e619ce3-2643-4cdf-9a13-b4c269650021" providerId="ADAL" clId="{2F91516B-777A-4469-987E-B21E99E57CC9}" dt="2021-04-13T14:31:31.209" v="6554"/>
          <ac:spMkLst>
            <pc:docMk/>
            <pc:sldMk cId="871691630" sldId="871"/>
            <ac:spMk id="200" creationId="{6FB996BC-5DD5-4A06-B535-57EEDE4B3583}"/>
          </ac:spMkLst>
        </pc:spChg>
        <pc:spChg chg="mod">
          <ac:chgData name="Kisliuk, Adrian (ext)" userId="6e619ce3-2643-4cdf-9a13-b4c269650021" providerId="ADAL" clId="{2F91516B-777A-4469-987E-B21E99E57CC9}" dt="2021-04-13T14:31:31.209" v="6554"/>
          <ac:spMkLst>
            <pc:docMk/>
            <pc:sldMk cId="871691630" sldId="871"/>
            <ac:spMk id="201" creationId="{9325BDE2-F9B5-4FB0-AFCE-6AF05FA8D313}"/>
          </ac:spMkLst>
        </pc:spChg>
        <pc:spChg chg="mod">
          <ac:chgData name="Kisliuk, Adrian (ext)" userId="6e619ce3-2643-4cdf-9a13-b4c269650021" providerId="ADAL" clId="{2F91516B-777A-4469-987E-B21E99E57CC9}" dt="2021-04-13T14:31:31.209" v="6554"/>
          <ac:spMkLst>
            <pc:docMk/>
            <pc:sldMk cId="871691630" sldId="871"/>
            <ac:spMk id="202" creationId="{C81135F9-8EF8-4B38-9900-04EF6B332EDF}"/>
          </ac:spMkLst>
        </pc:spChg>
        <pc:spChg chg="mod">
          <ac:chgData name="Kisliuk, Adrian (ext)" userId="6e619ce3-2643-4cdf-9a13-b4c269650021" providerId="ADAL" clId="{2F91516B-777A-4469-987E-B21E99E57CC9}" dt="2021-04-13T14:31:31.209" v="6554"/>
          <ac:spMkLst>
            <pc:docMk/>
            <pc:sldMk cId="871691630" sldId="871"/>
            <ac:spMk id="203" creationId="{FA41E358-C53C-4304-9205-F3707B89F45F}"/>
          </ac:spMkLst>
        </pc:spChg>
        <pc:grpChg chg="del">
          <ac:chgData name="Kisliuk, Adrian (ext)" userId="6e619ce3-2643-4cdf-9a13-b4c269650021" providerId="ADAL" clId="{2F91516B-777A-4469-987E-B21E99E57CC9}" dt="2021-04-13T14:31:11.219" v="6548" actId="478"/>
          <ac:grpSpMkLst>
            <pc:docMk/>
            <pc:sldMk cId="871691630" sldId="871"/>
            <ac:grpSpMk id="26" creationId="{D1E8B2E4-28D3-4136-AD03-8C02938A5A64}"/>
          </ac:grpSpMkLst>
        </pc:grpChg>
        <pc:grpChg chg="add mod">
          <ac:chgData name="Kisliuk, Adrian (ext)" userId="6e619ce3-2643-4cdf-9a13-b4c269650021" providerId="ADAL" clId="{2F91516B-777A-4469-987E-B21E99E57CC9}" dt="2021-04-13T14:31:31.209" v="6554"/>
          <ac:grpSpMkLst>
            <pc:docMk/>
            <pc:sldMk cId="871691630" sldId="871"/>
            <ac:grpSpMk id="104" creationId="{CF8366BC-CDB4-417C-8D96-2C8F0EE9ED5B}"/>
          </ac:grpSpMkLst>
        </pc:grpChg>
        <pc:picChg chg="add del mod">
          <ac:chgData name="Kisliuk, Adrian (ext)" userId="6e619ce3-2643-4cdf-9a13-b4c269650021" providerId="ADAL" clId="{2F91516B-777A-4469-987E-B21E99E57CC9}" dt="2021-04-13T14:31:25.312" v="6553" actId="478"/>
          <ac:picMkLst>
            <pc:docMk/>
            <pc:sldMk cId="871691630" sldId="871"/>
            <ac:picMk id="3" creationId="{A5031329-1C52-4BCC-84E0-872CB61B37F1}"/>
          </ac:picMkLst>
        </pc:picChg>
        <pc:picChg chg="mod">
          <ac:chgData name="Kisliuk, Adrian (ext)" userId="6e619ce3-2643-4cdf-9a13-b4c269650021" providerId="ADAL" clId="{2F91516B-777A-4469-987E-B21E99E57CC9}" dt="2021-04-13T14:31:31.209" v="6554"/>
          <ac:picMkLst>
            <pc:docMk/>
            <pc:sldMk cId="871691630" sldId="871"/>
            <ac:picMk id="118" creationId="{199C90B8-B9CB-453A-9F87-261D1D61E782}"/>
          </ac:picMkLst>
        </pc:picChg>
        <pc:picChg chg="mod">
          <ac:chgData name="Kisliuk, Adrian (ext)" userId="6e619ce3-2643-4cdf-9a13-b4c269650021" providerId="ADAL" clId="{2F91516B-777A-4469-987E-B21E99E57CC9}" dt="2021-04-13T14:31:31.209" v="6554"/>
          <ac:picMkLst>
            <pc:docMk/>
            <pc:sldMk cId="871691630" sldId="871"/>
            <ac:picMk id="163" creationId="{FA6FBE7F-C7B1-4CC5-9142-83CB25C030D4}"/>
          </ac:picMkLst>
        </pc:picChg>
        <pc:picChg chg="mod">
          <ac:chgData name="Kisliuk, Adrian (ext)" userId="6e619ce3-2643-4cdf-9a13-b4c269650021" providerId="ADAL" clId="{2F91516B-777A-4469-987E-B21E99E57CC9}" dt="2021-04-13T14:31:31.209" v="6554"/>
          <ac:picMkLst>
            <pc:docMk/>
            <pc:sldMk cId="871691630" sldId="871"/>
            <ac:picMk id="164" creationId="{FB7E4E9D-8E32-48ED-9E09-42B9069F3C23}"/>
          </ac:picMkLst>
        </pc:picChg>
        <pc:picChg chg="mod">
          <ac:chgData name="Kisliuk, Adrian (ext)" userId="6e619ce3-2643-4cdf-9a13-b4c269650021" providerId="ADAL" clId="{2F91516B-777A-4469-987E-B21E99E57CC9}" dt="2021-04-13T14:31:31.209" v="6554"/>
          <ac:picMkLst>
            <pc:docMk/>
            <pc:sldMk cId="871691630" sldId="871"/>
            <ac:picMk id="165" creationId="{AA937C99-044E-4E0F-B1B5-6BB15DCB8EC4}"/>
          </ac:picMkLst>
        </pc:picChg>
        <pc:picChg chg="mod">
          <ac:chgData name="Kisliuk, Adrian (ext)" userId="6e619ce3-2643-4cdf-9a13-b4c269650021" providerId="ADAL" clId="{2F91516B-777A-4469-987E-B21E99E57CC9}" dt="2021-04-13T14:31:31.209" v="6554"/>
          <ac:picMkLst>
            <pc:docMk/>
            <pc:sldMk cId="871691630" sldId="871"/>
            <ac:picMk id="166" creationId="{87E5961A-E596-4F34-A63D-B4573BA5A7A8}"/>
          </ac:picMkLst>
        </pc:picChg>
        <pc:picChg chg="mod">
          <ac:chgData name="Kisliuk, Adrian (ext)" userId="6e619ce3-2643-4cdf-9a13-b4c269650021" providerId="ADAL" clId="{2F91516B-777A-4469-987E-B21E99E57CC9}" dt="2021-04-13T14:31:31.209" v="6554"/>
          <ac:picMkLst>
            <pc:docMk/>
            <pc:sldMk cId="871691630" sldId="871"/>
            <ac:picMk id="167" creationId="{4953CB80-8639-473E-8E8B-0D4199A5ED7C}"/>
          </ac:picMkLst>
        </pc:picChg>
        <pc:picChg chg="mod">
          <ac:chgData name="Kisliuk, Adrian (ext)" userId="6e619ce3-2643-4cdf-9a13-b4c269650021" providerId="ADAL" clId="{2F91516B-777A-4469-987E-B21E99E57CC9}" dt="2021-04-13T14:31:31.209" v="6554"/>
          <ac:picMkLst>
            <pc:docMk/>
            <pc:sldMk cId="871691630" sldId="871"/>
            <ac:picMk id="168" creationId="{33D5B93F-281F-47D9-8DD1-119BE0DC0D3A}"/>
          </ac:picMkLst>
        </pc:picChg>
        <pc:picChg chg="mod">
          <ac:chgData name="Kisliuk, Adrian (ext)" userId="6e619ce3-2643-4cdf-9a13-b4c269650021" providerId="ADAL" clId="{2F91516B-777A-4469-987E-B21E99E57CC9}" dt="2021-04-13T14:31:31.209" v="6554"/>
          <ac:picMkLst>
            <pc:docMk/>
            <pc:sldMk cId="871691630" sldId="871"/>
            <ac:picMk id="169" creationId="{EEBE251B-B893-41FD-B236-1EF68860313A}"/>
          </ac:picMkLst>
        </pc:picChg>
        <pc:cxnChg chg="mod">
          <ac:chgData name="Kisliuk, Adrian (ext)" userId="6e619ce3-2643-4cdf-9a13-b4c269650021" providerId="ADAL" clId="{2F91516B-777A-4469-987E-B21E99E57CC9}" dt="2021-04-13T14:31:31.209" v="6554"/>
          <ac:cxnSpMkLst>
            <pc:docMk/>
            <pc:sldMk cId="871691630" sldId="871"/>
            <ac:cxnSpMk id="119" creationId="{C7D11FDE-C344-4703-AA36-59EB664F6D34}"/>
          </ac:cxnSpMkLst>
        </pc:cxnChg>
        <pc:cxnChg chg="mod">
          <ac:chgData name="Kisliuk, Adrian (ext)" userId="6e619ce3-2643-4cdf-9a13-b4c269650021" providerId="ADAL" clId="{2F91516B-777A-4469-987E-B21E99E57CC9}" dt="2021-04-13T14:31:31.209" v="6554"/>
          <ac:cxnSpMkLst>
            <pc:docMk/>
            <pc:sldMk cId="871691630" sldId="871"/>
            <ac:cxnSpMk id="121" creationId="{E0463904-1E3D-409B-931C-0C199EC11E70}"/>
          </ac:cxnSpMkLst>
        </pc:cxnChg>
        <pc:cxnChg chg="mod">
          <ac:chgData name="Kisliuk, Adrian (ext)" userId="6e619ce3-2643-4cdf-9a13-b4c269650021" providerId="ADAL" clId="{2F91516B-777A-4469-987E-B21E99E57CC9}" dt="2021-04-13T14:31:31.209" v="6554"/>
          <ac:cxnSpMkLst>
            <pc:docMk/>
            <pc:sldMk cId="871691630" sldId="871"/>
            <ac:cxnSpMk id="131" creationId="{C62AFE71-02BE-4DE6-A39B-48B398CCCCD5}"/>
          </ac:cxnSpMkLst>
        </pc:cxnChg>
        <pc:cxnChg chg="mod">
          <ac:chgData name="Kisliuk, Adrian (ext)" userId="6e619ce3-2643-4cdf-9a13-b4c269650021" providerId="ADAL" clId="{2F91516B-777A-4469-987E-B21E99E57CC9}" dt="2021-04-13T14:31:31.209" v="6554"/>
          <ac:cxnSpMkLst>
            <pc:docMk/>
            <pc:sldMk cId="871691630" sldId="871"/>
            <ac:cxnSpMk id="132" creationId="{0BE16A59-5AE1-4A13-AFE5-CB3942697DBD}"/>
          </ac:cxnSpMkLst>
        </pc:cxnChg>
        <pc:cxnChg chg="mod">
          <ac:chgData name="Kisliuk, Adrian (ext)" userId="6e619ce3-2643-4cdf-9a13-b4c269650021" providerId="ADAL" clId="{2F91516B-777A-4469-987E-B21E99E57CC9}" dt="2021-04-13T14:31:31.209" v="6554"/>
          <ac:cxnSpMkLst>
            <pc:docMk/>
            <pc:sldMk cId="871691630" sldId="871"/>
            <ac:cxnSpMk id="133" creationId="{0641DB2C-FEFC-4F14-A226-59DC440A8D66}"/>
          </ac:cxnSpMkLst>
        </pc:cxnChg>
        <pc:cxnChg chg="mod">
          <ac:chgData name="Kisliuk, Adrian (ext)" userId="6e619ce3-2643-4cdf-9a13-b4c269650021" providerId="ADAL" clId="{2F91516B-777A-4469-987E-B21E99E57CC9}" dt="2021-04-13T14:31:31.209" v="6554"/>
          <ac:cxnSpMkLst>
            <pc:docMk/>
            <pc:sldMk cId="871691630" sldId="871"/>
            <ac:cxnSpMk id="134" creationId="{D2BC7DF3-11D9-4690-B6C5-763A330E7C47}"/>
          </ac:cxnSpMkLst>
        </pc:cxnChg>
        <pc:cxnChg chg="mod">
          <ac:chgData name="Kisliuk, Adrian (ext)" userId="6e619ce3-2643-4cdf-9a13-b4c269650021" providerId="ADAL" clId="{2F91516B-777A-4469-987E-B21E99E57CC9}" dt="2021-04-13T14:31:31.209" v="6554"/>
          <ac:cxnSpMkLst>
            <pc:docMk/>
            <pc:sldMk cId="871691630" sldId="871"/>
            <ac:cxnSpMk id="135" creationId="{CA4736EC-CC92-476B-8676-67395D669692}"/>
          </ac:cxnSpMkLst>
        </pc:cxnChg>
        <pc:cxnChg chg="mod">
          <ac:chgData name="Kisliuk, Adrian (ext)" userId="6e619ce3-2643-4cdf-9a13-b4c269650021" providerId="ADAL" clId="{2F91516B-777A-4469-987E-B21E99E57CC9}" dt="2021-04-13T14:31:31.209" v="6554"/>
          <ac:cxnSpMkLst>
            <pc:docMk/>
            <pc:sldMk cId="871691630" sldId="871"/>
            <ac:cxnSpMk id="136" creationId="{9744BFC0-3C08-4391-A947-A15D5ADA30FF}"/>
          </ac:cxnSpMkLst>
        </pc:cxnChg>
        <pc:cxnChg chg="mod">
          <ac:chgData name="Kisliuk, Adrian (ext)" userId="6e619ce3-2643-4cdf-9a13-b4c269650021" providerId="ADAL" clId="{2F91516B-777A-4469-987E-B21E99E57CC9}" dt="2021-04-13T14:31:31.209" v="6554"/>
          <ac:cxnSpMkLst>
            <pc:docMk/>
            <pc:sldMk cId="871691630" sldId="871"/>
            <ac:cxnSpMk id="137" creationId="{29E21172-7CC4-4710-88D0-1882DA585E91}"/>
          </ac:cxnSpMkLst>
        </pc:cxnChg>
        <pc:cxnChg chg="mod">
          <ac:chgData name="Kisliuk, Adrian (ext)" userId="6e619ce3-2643-4cdf-9a13-b4c269650021" providerId="ADAL" clId="{2F91516B-777A-4469-987E-B21E99E57CC9}" dt="2021-04-13T14:31:31.209" v="6554"/>
          <ac:cxnSpMkLst>
            <pc:docMk/>
            <pc:sldMk cId="871691630" sldId="871"/>
            <ac:cxnSpMk id="138" creationId="{CC5B1BF8-9079-4C72-8E4A-C37592B8168D}"/>
          </ac:cxnSpMkLst>
        </pc:cxnChg>
        <pc:cxnChg chg="mod">
          <ac:chgData name="Kisliuk, Adrian (ext)" userId="6e619ce3-2643-4cdf-9a13-b4c269650021" providerId="ADAL" clId="{2F91516B-777A-4469-987E-B21E99E57CC9}" dt="2021-04-13T14:31:31.209" v="6554"/>
          <ac:cxnSpMkLst>
            <pc:docMk/>
            <pc:sldMk cId="871691630" sldId="871"/>
            <ac:cxnSpMk id="139" creationId="{E93C2A9F-018B-4FD9-A7C9-EAAA594D4E4F}"/>
          </ac:cxnSpMkLst>
        </pc:cxnChg>
        <pc:cxnChg chg="mod">
          <ac:chgData name="Kisliuk, Adrian (ext)" userId="6e619ce3-2643-4cdf-9a13-b4c269650021" providerId="ADAL" clId="{2F91516B-777A-4469-987E-B21E99E57CC9}" dt="2021-04-13T14:31:31.209" v="6554"/>
          <ac:cxnSpMkLst>
            <pc:docMk/>
            <pc:sldMk cId="871691630" sldId="871"/>
            <ac:cxnSpMk id="140" creationId="{E31B4B86-8885-4687-B0D1-FBA86A7188E2}"/>
          </ac:cxnSpMkLst>
        </pc:cxnChg>
        <pc:cxnChg chg="mod">
          <ac:chgData name="Kisliuk, Adrian (ext)" userId="6e619ce3-2643-4cdf-9a13-b4c269650021" providerId="ADAL" clId="{2F91516B-777A-4469-987E-B21E99E57CC9}" dt="2021-04-13T14:31:31.209" v="6554"/>
          <ac:cxnSpMkLst>
            <pc:docMk/>
            <pc:sldMk cId="871691630" sldId="871"/>
            <ac:cxnSpMk id="141" creationId="{96B95D8D-CE2F-4263-8263-5974C621DEB2}"/>
          </ac:cxnSpMkLst>
        </pc:cxnChg>
        <pc:cxnChg chg="mod">
          <ac:chgData name="Kisliuk, Adrian (ext)" userId="6e619ce3-2643-4cdf-9a13-b4c269650021" providerId="ADAL" clId="{2F91516B-777A-4469-987E-B21E99E57CC9}" dt="2021-04-13T14:31:31.209" v="6554"/>
          <ac:cxnSpMkLst>
            <pc:docMk/>
            <pc:sldMk cId="871691630" sldId="871"/>
            <ac:cxnSpMk id="142" creationId="{FF466C4F-FF18-4896-ABD2-B01A88BAB542}"/>
          </ac:cxnSpMkLst>
        </pc:cxnChg>
        <pc:cxnChg chg="mod">
          <ac:chgData name="Kisliuk, Adrian (ext)" userId="6e619ce3-2643-4cdf-9a13-b4c269650021" providerId="ADAL" clId="{2F91516B-777A-4469-987E-B21E99E57CC9}" dt="2021-04-13T14:31:31.209" v="6554"/>
          <ac:cxnSpMkLst>
            <pc:docMk/>
            <pc:sldMk cId="871691630" sldId="871"/>
            <ac:cxnSpMk id="143" creationId="{61CBB830-17BC-4808-8F22-F73DE8D1BD0A}"/>
          </ac:cxnSpMkLst>
        </pc:cxnChg>
        <pc:cxnChg chg="mod">
          <ac:chgData name="Kisliuk, Adrian (ext)" userId="6e619ce3-2643-4cdf-9a13-b4c269650021" providerId="ADAL" clId="{2F91516B-777A-4469-987E-B21E99E57CC9}" dt="2021-04-13T14:31:31.209" v="6554"/>
          <ac:cxnSpMkLst>
            <pc:docMk/>
            <pc:sldMk cId="871691630" sldId="871"/>
            <ac:cxnSpMk id="144" creationId="{85B2227E-3A87-45ED-99F6-30E535B71340}"/>
          </ac:cxnSpMkLst>
        </pc:cxnChg>
        <pc:cxnChg chg="mod">
          <ac:chgData name="Kisliuk, Adrian (ext)" userId="6e619ce3-2643-4cdf-9a13-b4c269650021" providerId="ADAL" clId="{2F91516B-777A-4469-987E-B21E99E57CC9}" dt="2021-04-13T14:31:31.209" v="6554"/>
          <ac:cxnSpMkLst>
            <pc:docMk/>
            <pc:sldMk cId="871691630" sldId="871"/>
            <ac:cxnSpMk id="145" creationId="{0797A303-15C5-4054-8099-203FE79477D6}"/>
          </ac:cxnSpMkLst>
        </pc:cxnChg>
        <pc:cxnChg chg="mod">
          <ac:chgData name="Kisliuk, Adrian (ext)" userId="6e619ce3-2643-4cdf-9a13-b4c269650021" providerId="ADAL" clId="{2F91516B-777A-4469-987E-B21E99E57CC9}" dt="2021-04-13T14:31:31.209" v="6554"/>
          <ac:cxnSpMkLst>
            <pc:docMk/>
            <pc:sldMk cId="871691630" sldId="871"/>
            <ac:cxnSpMk id="146" creationId="{0089F1C7-7CA9-49D2-9849-663A11BF2CED}"/>
          </ac:cxnSpMkLst>
        </pc:cxnChg>
        <pc:cxnChg chg="mod">
          <ac:chgData name="Kisliuk, Adrian (ext)" userId="6e619ce3-2643-4cdf-9a13-b4c269650021" providerId="ADAL" clId="{2F91516B-777A-4469-987E-B21E99E57CC9}" dt="2021-04-13T14:31:31.209" v="6554"/>
          <ac:cxnSpMkLst>
            <pc:docMk/>
            <pc:sldMk cId="871691630" sldId="871"/>
            <ac:cxnSpMk id="147" creationId="{AC6A82F0-D713-42A9-8A1E-06FE4E171691}"/>
          </ac:cxnSpMkLst>
        </pc:cxnChg>
        <pc:cxnChg chg="mod">
          <ac:chgData name="Kisliuk, Adrian (ext)" userId="6e619ce3-2643-4cdf-9a13-b4c269650021" providerId="ADAL" clId="{2F91516B-777A-4469-987E-B21E99E57CC9}" dt="2021-04-13T14:31:31.209" v="6554"/>
          <ac:cxnSpMkLst>
            <pc:docMk/>
            <pc:sldMk cId="871691630" sldId="871"/>
            <ac:cxnSpMk id="148" creationId="{44202E16-93FF-46FB-85BA-D0B400639D26}"/>
          </ac:cxnSpMkLst>
        </pc:cxnChg>
        <pc:cxnChg chg="mod">
          <ac:chgData name="Kisliuk, Adrian (ext)" userId="6e619ce3-2643-4cdf-9a13-b4c269650021" providerId="ADAL" clId="{2F91516B-777A-4469-987E-B21E99E57CC9}" dt="2021-04-13T14:31:31.209" v="6554"/>
          <ac:cxnSpMkLst>
            <pc:docMk/>
            <pc:sldMk cId="871691630" sldId="871"/>
            <ac:cxnSpMk id="149" creationId="{E7B5ED9D-8516-4B98-81CF-30C5D7DF04CD}"/>
          </ac:cxnSpMkLst>
        </pc:cxnChg>
        <pc:cxnChg chg="mod">
          <ac:chgData name="Kisliuk, Adrian (ext)" userId="6e619ce3-2643-4cdf-9a13-b4c269650021" providerId="ADAL" clId="{2F91516B-777A-4469-987E-B21E99E57CC9}" dt="2021-04-13T14:31:31.209" v="6554"/>
          <ac:cxnSpMkLst>
            <pc:docMk/>
            <pc:sldMk cId="871691630" sldId="871"/>
            <ac:cxnSpMk id="150" creationId="{90B79093-B165-4AFC-833D-CD7A1AD5EFF1}"/>
          </ac:cxnSpMkLst>
        </pc:cxnChg>
        <pc:cxnChg chg="mod">
          <ac:chgData name="Kisliuk, Adrian (ext)" userId="6e619ce3-2643-4cdf-9a13-b4c269650021" providerId="ADAL" clId="{2F91516B-777A-4469-987E-B21E99E57CC9}" dt="2021-04-13T14:31:31.209" v="6554"/>
          <ac:cxnSpMkLst>
            <pc:docMk/>
            <pc:sldMk cId="871691630" sldId="871"/>
            <ac:cxnSpMk id="151" creationId="{35B1B56C-ECA2-460B-8BFA-DC4E3D12FC1B}"/>
          </ac:cxnSpMkLst>
        </pc:cxnChg>
        <pc:cxnChg chg="mod">
          <ac:chgData name="Kisliuk, Adrian (ext)" userId="6e619ce3-2643-4cdf-9a13-b4c269650021" providerId="ADAL" clId="{2F91516B-777A-4469-987E-B21E99E57CC9}" dt="2021-04-13T14:31:31.209" v="6554"/>
          <ac:cxnSpMkLst>
            <pc:docMk/>
            <pc:sldMk cId="871691630" sldId="871"/>
            <ac:cxnSpMk id="152" creationId="{597D1CDB-B100-47C4-934D-AF65B6E77538}"/>
          </ac:cxnSpMkLst>
        </pc:cxnChg>
        <pc:cxnChg chg="mod">
          <ac:chgData name="Kisliuk, Adrian (ext)" userId="6e619ce3-2643-4cdf-9a13-b4c269650021" providerId="ADAL" clId="{2F91516B-777A-4469-987E-B21E99E57CC9}" dt="2021-04-13T14:31:31.209" v="6554"/>
          <ac:cxnSpMkLst>
            <pc:docMk/>
            <pc:sldMk cId="871691630" sldId="871"/>
            <ac:cxnSpMk id="153" creationId="{1E055197-3A15-4ED0-A29D-883163C1ABFA}"/>
          </ac:cxnSpMkLst>
        </pc:cxnChg>
        <pc:cxnChg chg="mod">
          <ac:chgData name="Kisliuk, Adrian (ext)" userId="6e619ce3-2643-4cdf-9a13-b4c269650021" providerId="ADAL" clId="{2F91516B-777A-4469-987E-B21E99E57CC9}" dt="2021-04-13T14:31:31.209" v="6554"/>
          <ac:cxnSpMkLst>
            <pc:docMk/>
            <pc:sldMk cId="871691630" sldId="871"/>
            <ac:cxnSpMk id="154" creationId="{F07A0F0E-91A9-4CAD-AA9F-BED6905E9E42}"/>
          </ac:cxnSpMkLst>
        </pc:cxnChg>
        <pc:cxnChg chg="mod">
          <ac:chgData name="Kisliuk, Adrian (ext)" userId="6e619ce3-2643-4cdf-9a13-b4c269650021" providerId="ADAL" clId="{2F91516B-777A-4469-987E-B21E99E57CC9}" dt="2021-04-13T14:31:31.209" v="6554"/>
          <ac:cxnSpMkLst>
            <pc:docMk/>
            <pc:sldMk cId="871691630" sldId="871"/>
            <ac:cxnSpMk id="155" creationId="{7BF827B2-4745-4960-8C0F-5ECFBA75EDE3}"/>
          </ac:cxnSpMkLst>
        </pc:cxnChg>
        <pc:cxnChg chg="mod">
          <ac:chgData name="Kisliuk, Adrian (ext)" userId="6e619ce3-2643-4cdf-9a13-b4c269650021" providerId="ADAL" clId="{2F91516B-777A-4469-987E-B21E99E57CC9}" dt="2021-04-13T14:31:31.209" v="6554"/>
          <ac:cxnSpMkLst>
            <pc:docMk/>
            <pc:sldMk cId="871691630" sldId="871"/>
            <ac:cxnSpMk id="156" creationId="{2D7C7947-68B5-4859-863A-E356F58F6356}"/>
          </ac:cxnSpMkLst>
        </pc:cxnChg>
        <pc:cxnChg chg="mod">
          <ac:chgData name="Kisliuk, Adrian (ext)" userId="6e619ce3-2643-4cdf-9a13-b4c269650021" providerId="ADAL" clId="{2F91516B-777A-4469-987E-B21E99E57CC9}" dt="2021-04-13T14:31:31.209" v="6554"/>
          <ac:cxnSpMkLst>
            <pc:docMk/>
            <pc:sldMk cId="871691630" sldId="871"/>
            <ac:cxnSpMk id="157" creationId="{21A81B0A-B1FA-4199-B6BD-0EE3EB036E01}"/>
          </ac:cxnSpMkLst>
        </pc:cxnChg>
        <pc:cxnChg chg="mod">
          <ac:chgData name="Kisliuk, Adrian (ext)" userId="6e619ce3-2643-4cdf-9a13-b4c269650021" providerId="ADAL" clId="{2F91516B-777A-4469-987E-B21E99E57CC9}" dt="2021-04-13T14:31:31.209" v="6554"/>
          <ac:cxnSpMkLst>
            <pc:docMk/>
            <pc:sldMk cId="871691630" sldId="871"/>
            <ac:cxnSpMk id="158" creationId="{6EBB8E8E-4954-40B2-87CC-0D056E38F73E}"/>
          </ac:cxnSpMkLst>
        </pc:cxnChg>
        <pc:cxnChg chg="mod">
          <ac:chgData name="Kisliuk, Adrian (ext)" userId="6e619ce3-2643-4cdf-9a13-b4c269650021" providerId="ADAL" clId="{2F91516B-777A-4469-987E-B21E99E57CC9}" dt="2021-04-13T14:31:31.209" v="6554"/>
          <ac:cxnSpMkLst>
            <pc:docMk/>
            <pc:sldMk cId="871691630" sldId="871"/>
            <ac:cxnSpMk id="159" creationId="{97930EBB-5320-4B6E-879A-B612CCBD2904}"/>
          </ac:cxnSpMkLst>
        </pc:cxnChg>
        <pc:cxnChg chg="mod">
          <ac:chgData name="Kisliuk, Adrian (ext)" userId="6e619ce3-2643-4cdf-9a13-b4c269650021" providerId="ADAL" clId="{2F91516B-777A-4469-987E-B21E99E57CC9}" dt="2021-04-13T14:31:31.209" v="6554"/>
          <ac:cxnSpMkLst>
            <pc:docMk/>
            <pc:sldMk cId="871691630" sldId="871"/>
            <ac:cxnSpMk id="160" creationId="{A4D6CFB8-C3E1-44B6-9512-6746C2B5B56E}"/>
          </ac:cxnSpMkLst>
        </pc:cxnChg>
        <pc:cxnChg chg="mod">
          <ac:chgData name="Kisliuk, Adrian (ext)" userId="6e619ce3-2643-4cdf-9a13-b4c269650021" providerId="ADAL" clId="{2F91516B-777A-4469-987E-B21E99E57CC9}" dt="2021-04-13T14:31:31.209" v="6554"/>
          <ac:cxnSpMkLst>
            <pc:docMk/>
            <pc:sldMk cId="871691630" sldId="871"/>
            <ac:cxnSpMk id="161" creationId="{92D38C8F-4CA4-4460-AF35-5AE97ED1869F}"/>
          </ac:cxnSpMkLst>
        </pc:cxnChg>
        <pc:cxnChg chg="mod">
          <ac:chgData name="Kisliuk, Adrian (ext)" userId="6e619ce3-2643-4cdf-9a13-b4c269650021" providerId="ADAL" clId="{2F91516B-777A-4469-987E-B21E99E57CC9}" dt="2021-04-13T14:31:31.209" v="6554"/>
          <ac:cxnSpMkLst>
            <pc:docMk/>
            <pc:sldMk cId="871691630" sldId="871"/>
            <ac:cxnSpMk id="162" creationId="{4002F8DA-D2FE-4113-9B7A-90855FC4FFF0}"/>
          </ac:cxnSpMkLst>
        </pc:cxnChg>
      </pc:sldChg>
      <pc:sldChg chg="addSp modSp add mod modTransition modShow">
        <pc:chgData name="Kisliuk, Adrian (ext)" userId="6e619ce3-2643-4cdf-9a13-b4c269650021" providerId="ADAL" clId="{2F91516B-777A-4469-987E-B21E99E57CC9}" dt="2021-04-13T18:25:49.565" v="7033" actId="688"/>
        <pc:sldMkLst>
          <pc:docMk/>
          <pc:sldMk cId="1971424281" sldId="871"/>
        </pc:sldMkLst>
        <pc:spChg chg="mod">
          <ac:chgData name="Kisliuk, Adrian (ext)" userId="6e619ce3-2643-4cdf-9a13-b4c269650021" providerId="ADAL" clId="{2F91516B-777A-4469-987E-B21E99E57CC9}" dt="2021-04-13T14:37:44.637" v="6709" actId="164"/>
          <ac:spMkLst>
            <pc:docMk/>
            <pc:sldMk cId="1971424281" sldId="871"/>
            <ac:spMk id="5" creationId="{799DAEDE-FE9F-4CD9-84DA-FF1BF7D6D754}"/>
          </ac:spMkLst>
        </pc:spChg>
        <pc:spChg chg="mod">
          <ac:chgData name="Kisliuk, Adrian (ext)" userId="6e619ce3-2643-4cdf-9a13-b4c269650021" providerId="ADAL" clId="{2F91516B-777A-4469-987E-B21E99E57CC9}" dt="2021-04-13T14:37:44.637" v="6709" actId="164"/>
          <ac:spMkLst>
            <pc:docMk/>
            <pc:sldMk cId="1971424281" sldId="871"/>
            <ac:spMk id="23" creationId="{96B2F48E-A03B-48D7-B3C9-3A2EFF6557CB}"/>
          </ac:spMkLst>
        </pc:spChg>
        <pc:spChg chg="mod">
          <ac:chgData name="Kisliuk, Adrian (ext)" userId="6e619ce3-2643-4cdf-9a13-b4c269650021" providerId="ADAL" clId="{2F91516B-777A-4469-987E-B21E99E57CC9}" dt="2021-04-13T14:37:44.637" v="6709" actId="164"/>
          <ac:spMkLst>
            <pc:docMk/>
            <pc:sldMk cId="1971424281" sldId="871"/>
            <ac:spMk id="24" creationId="{445FA13C-E508-49B2-9531-0FD324D32282}"/>
          </ac:spMkLst>
        </pc:spChg>
        <pc:spChg chg="mod">
          <ac:chgData name="Kisliuk, Adrian (ext)" userId="6e619ce3-2643-4cdf-9a13-b4c269650021" providerId="ADAL" clId="{2F91516B-777A-4469-987E-B21E99E57CC9}" dt="2021-04-13T14:37:44.637" v="6709" actId="164"/>
          <ac:spMkLst>
            <pc:docMk/>
            <pc:sldMk cId="1971424281" sldId="871"/>
            <ac:spMk id="59" creationId="{9767E184-5AEE-4DC8-9C24-1CF04C34F27A}"/>
          </ac:spMkLst>
        </pc:spChg>
        <pc:spChg chg="mod">
          <ac:chgData name="Kisliuk, Adrian (ext)" userId="6e619ce3-2643-4cdf-9a13-b4c269650021" providerId="ADAL" clId="{2F91516B-777A-4469-987E-B21E99E57CC9}" dt="2021-04-13T14:37:44.637" v="6709" actId="164"/>
          <ac:spMkLst>
            <pc:docMk/>
            <pc:sldMk cId="1971424281" sldId="871"/>
            <ac:spMk id="60" creationId="{3086623F-BB31-493A-812A-86E0BCC6E0FF}"/>
          </ac:spMkLst>
        </pc:spChg>
        <pc:spChg chg="mod">
          <ac:chgData name="Kisliuk, Adrian (ext)" userId="6e619ce3-2643-4cdf-9a13-b4c269650021" providerId="ADAL" clId="{2F91516B-777A-4469-987E-B21E99E57CC9}" dt="2021-04-13T14:37:44.637" v="6709" actId="164"/>
          <ac:spMkLst>
            <pc:docMk/>
            <pc:sldMk cId="1971424281" sldId="871"/>
            <ac:spMk id="61" creationId="{43474FE5-C08E-43FF-8F7E-71F720D9A022}"/>
          </ac:spMkLst>
        </pc:spChg>
        <pc:spChg chg="mod">
          <ac:chgData name="Kisliuk, Adrian (ext)" userId="6e619ce3-2643-4cdf-9a13-b4c269650021" providerId="ADAL" clId="{2F91516B-777A-4469-987E-B21E99E57CC9}" dt="2021-04-13T14:37:44.637" v="6709" actId="164"/>
          <ac:spMkLst>
            <pc:docMk/>
            <pc:sldMk cId="1971424281" sldId="871"/>
            <ac:spMk id="62" creationId="{B5147C3C-1543-4507-BEFD-15E39A20DF10}"/>
          </ac:spMkLst>
        </pc:spChg>
        <pc:spChg chg="mod">
          <ac:chgData name="Kisliuk, Adrian (ext)" userId="6e619ce3-2643-4cdf-9a13-b4c269650021" providerId="ADAL" clId="{2F91516B-777A-4469-987E-B21E99E57CC9}" dt="2021-04-13T14:37:44.637" v="6709" actId="164"/>
          <ac:spMkLst>
            <pc:docMk/>
            <pc:sldMk cId="1971424281" sldId="871"/>
            <ac:spMk id="63" creationId="{559652C7-C81C-4EBA-9554-7C0D93BCFDE4}"/>
          </ac:spMkLst>
        </pc:spChg>
        <pc:spChg chg="mod">
          <ac:chgData name="Kisliuk, Adrian (ext)" userId="6e619ce3-2643-4cdf-9a13-b4c269650021" providerId="ADAL" clId="{2F91516B-777A-4469-987E-B21E99E57CC9}" dt="2021-04-13T14:37:44.637" v="6709" actId="164"/>
          <ac:spMkLst>
            <pc:docMk/>
            <pc:sldMk cId="1971424281" sldId="871"/>
            <ac:spMk id="64" creationId="{D16D84C9-D9D3-4F40-99C9-355C0AA88F32}"/>
          </ac:spMkLst>
        </pc:spChg>
        <pc:spChg chg="mod">
          <ac:chgData name="Kisliuk, Adrian (ext)" userId="6e619ce3-2643-4cdf-9a13-b4c269650021" providerId="ADAL" clId="{2F91516B-777A-4469-987E-B21E99E57CC9}" dt="2021-04-13T14:37:44.637" v="6709" actId="164"/>
          <ac:spMkLst>
            <pc:docMk/>
            <pc:sldMk cId="1971424281" sldId="871"/>
            <ac:spMk id="68" creationId="{8E049227-8FEA-4DFC-A7E7-3FADC129ED1F}"/>
          </ac:spMkLst>
        </pc:spChg>
        <pc:spChg chg="mod">
          <ac:chgData name="Kisliuk, Adrian (ext)" userId="6e619ce3-2643-4cdf-9a13-b4c269650021" providerId="ADAL" clId="{2F91516B-777A-4469-987E-B21E99E57CC9}" dt="2021-04-13T14:37:44.637" v="6709" actId="164"/>
          <ac:spMkLst>
            <pc:docMk/>
            <pc:sldMk cId="1971424281" sldId="871"/>
            <ac:spMk id="81" creationId="{150CA25E-AC49-401A-939C-5672D0A9F7D7}"/>
          </ac:spMkLst>
        </pc:spChg>
        <pc:spChg chg="mod">
          <ac:chgData name="Kisliuk, Adrian (ext)" userId="6e619ce3-2643-4cdf-9a13-b4c269650021" providerId="ADAL" clId="{2F91516B-777A-4469-987E-B21E99E57CC9}" dt="2021-04-13T14:37:44.637" v="6709" actId="164"/>
          <ac:spMkLst>
            <pc:docMk/>
            <pc:sldMk cId="1971424281" sldId="871"/>
            <ac:spMk id="85" creationId="{A3D52708-085F-4552-9448-1A0C2D8D23D6}"/>
          </ac:spMkLst>
        </pc:spChg>
        <pc:spChg chg="mod">
          <ac:chgData name="Kisliuk, Adrian (ext)" userId="6e619ce3-2643-4cdf-9a13-b4c269650021" providerId="ADAL" clId="{2F91516B-777A-4469-987E-B21E99E57CC9}" dt="2021-04-13T14:37:44.637" v="6709" actId="164"/>
          <ac:spMkLst>
            <pc:docMk/>
            <pc:sldMk cId="1971424281" sldId="871"/>
            <ac:spMk id="98" creationId="{B005D4B3-4F32-4A5A-A0C8-7F1248CD2FA1}"/>
          </ac:spMkLst>
        </pc:spChg>
        <pc:spChg chg="mod">
          <ac:chgData name="Kisliuk, Adrian (ext)" userId="6e619ce3-2643-4cdf-9a13-b4c269650021" providerId="ADAL" clId="{2F91516B-777A-4469-987E-B21E99E57CC9}" dt="2021-04-13T14:37:44.637" v="6709" actId="164"/>
          <ac:spMkLst>
            <pc:docMk/>
            <pc:sldMk cId="1971424281" sldId="871"/>
            <ac:spMk id="101" creationId="{F9D616E8-1881-4082-B85E-68C0538B5FEC}"/>
          </ac:spMkLst>
        </pc:spChg>
        <pc:spChg chg="mod">
          <ac:chgData name="Kisliuk, Adrian (ext)" userId="6e619ce3-2643-4cdf-9a13-b4c269650021" providerId="ADAL" clId="{2F91516B-777A-4469-987E-B21E99E57CC9}" dt="2021-04-13T14:37:44.637" v="6709" actId="164"/>
          <ac:spMkLst>
            <pc:docMk/>
            <pc:sldMk cId="1971424281" sldId="871"/>
            <ac:spMk id="107" creationId="{EEA958F5-916D-45A7-A5ED-7D00044A1C89}"/>
          </ac:spMkLst>
        </pc:spChg>
        <pc:spChg chg="mod">
          <ac:chgData name="Kisliuk, Adrian (ext)" userId="6e619ce3-2643-4cdf-9a13-b4c269650021" providerId="ADAL" clId="{2F91516B-777A-4469-987E-B21E99E57CC9}" dt="2021-04-13T14:37:44.637" v="6709" actId="164"/>
          <ac:spMkLst>
            <pc:docMk/>
            <pc:sldMk cId="1971424281" sldId="871"/>
            <ac:spMk id="108" creationId="{8964B0A2-B897-4129-9670-94620DB66599}"/>
          </ac:spMkLst>
        </pc:spChg>
        <pc:spChg chg="mod">
          <ac:chgData name="Kisliuk, Adrian (ext)" userId="6e619ce3-2643-4cdf-9a13-b4c269650021" providerId="ADAL" clId="{2F91516B-777A-4469-987E-B21E99E57CC9}" dt="2021-04-13T14:37:44.637" v="6709" actId="164"/>
          <ac:spMkLst>
            <pc:docMk/>
            <pc:sldMk cId="1971424281" sldId="871"/>
            <ac:spMk id="109" creationId="{C6038F1D-A59B-4065-B4C9-4017C99DCA61}"/>
          </ac:spMkLst>
        </pc:spChg>
        <pc:spChg chg="mod">
          <ac:chgData name="Kisliuk, Adrian (ext)" userId="6e619ce3-2643-4cdf-9a13-b4c269650021" providerId="ADAL" clId="{2F91516B-777A-4469-987E-B21E99E57CC9}" dt="2021-04-13T14:37:44.637" v="6709" actId="164"/>
          <ac:spMkLst>
            <pc:docMk/>
            <pc:sldMk cId="1971424281" sldId="871"/>
            <ac:spMk id="110" creationId="{1C37D9E6-3796-4FC0-B83D-5218C494A961}"/>
          </ac:spMkLst>
        </pc:spChg>
        <pc:spChg chg="mod">
          <ac:chgData name="Kisliuk, Adrian (ext)" userId="6e619ce3-2643-4cdf-9a13-b4c269650021" providerId="ADAL" clId="{2F91516B-777A-4469-987E-B21E99E57CC9}" dt="2021-04-13T14:37:44.637" v="6709" actId="164"/>
          <ac:spMkLst>
            <pc:docMk/>
            <pc:sldMk cId="1971424281" sldId="871"/>
            <ac:spMk id="111" creationId="{6807A774-3EAA-464C-9D4B-E0E6DD23467A}"/>
          </ac:spMkLst>
        </pc:spChg>
        <pc:spChg chg="mod">
          <ac:chgData name="Kisliuk, Adrian (ext)" userId="6e619ce3-2643-4cdf-9a13-b4c269650021" providerId="ADAL" clId="{2F91516B-777A-4469-987E-B21E99E57CC9}" dt="2021-04-13T14:37:44.637" v="6709" actId="164"/>
          <ac:spMkLst>
            <pc:docMk/>
            <pc:sldMk cId="1971424281" sldId="871"/>
            <ac:spMk id="112" creationId="{BECC0D94-2C31-431E-ACDC-3AD50A15594D}"/>
          </ac:spMkLst>
        </pc:spChg>
        <pc:spChg chg="mod">
          <ac:chgData name="Kisliuk, Adrian (ext)" userId="6e619ce3-2643-4cdf-9a13-b4c269650021" providerId="ADAL" clId="{2F91516B-777A-4469-987E-B21E99E57CC9}" dt="2021-04-13T14:37:44.637" v="6709" actId="164"/>
          <ac:spMkLst>
            <pc:docMk/>
            <pc:sldMk cId="1971424281" sldId="871"/>
            <ac:spMk id="113" creationId="{6E074606-3D3F-4DAD-AD8C-9C8BE37EFD59}"/>
          </ac:spMkLst>
        </pc:spChg>
        <pc:spChg chg="mod">
          <ac:chgData name="Kisliuk, Adrian (ext)" userId="6e619ce3-2643-4cdf-9a13-b4c269650021" providerId="ADAL" clId="{2F91516B-777A-4469-987E-B21E99E57CC9}" dt="2021-04-13T14:37:44.637" v="6709" actId="164"/>
          <ac:spMkLst>
            <pc:docMk/>
            <pc:sldMk cId="1971424281" sldId="871"/>
            <ac:spMk id="114" creationId="{97533070-8F43-4111-993B-6569B256B674}"/>
          </ac:spMkLst>
        </pc:spChg>
        <pc:spChg chg="mod">
          <ac:chgData name="Kisliuk, Adrian (ext)" userId="6e619ce3-2643-4cdf-9a13-b4c269650021" providerId="ADAL" clId="{2F91516B-777A-4469-987E-B21E99E57CC9}" dt="2021-04-13T14:37:44.637" v="6709" actId="164"/>
          <ac:spMkLst>
            <pc:docMk/>
            <pc:sldMk cId="1971424281" sldId="871"/>
            <ac:spMk id="115" creationId="{033132EF-C18D-42A1-9EA5-D764261CA9E2}"/>
          </ac:spMkLst>
        </pc:spChg>
        <pc:spChg chg="mod">
          <ac:chgData name="Kisliuk, Adrian (ext)" userId="6e619ce3-2643-4cdf-9a13-b4c269650021" providerId="ADAL" clId="{2F91516B-777A-4469-987E-B21E99E57CC9}" dt="2021-04-13T18:25:49.565" v="7033" actId="688"/>
          <ac:spMkLst>
            <pc:docMk/>
            <pc:sldMk cId="1971424281" sldId="871"/>
            <ac:spMk id="116" creationId="{A1ECF95A-256A-43FB-A88E-E3D240E1B3E1}"/>
          </ac:spMkLst>
        </pc:spChg>
        <pc:spChg chg="mod">
          <ac:chgData name="Kisliuk, Adrian (ext)" userId="6e619ce3-2643-4cdf-9a13-b4c269650021" providerId="ADAL" clId="{2F91516B-777A-4469-987E-B21E99E57CC9}" dt="2021-04-13T14:37:44.637" v="6709" actId="164"/>
          <ac:spMkLst>
            <pc:docMk/>
            <pc:sldMk cId="1971424281" sldId="871"/>
            <ac:spMk id="117" creationId="{1D316FBA-5965-49E8-AB26-BDEA63E39BC6}"/>
          </ac:spMkLst>
        </pc:spChg>
        <pc:spChg chg="mod">
          <ac:chgData name="Kisliuk, Adrian (ext)" userId="6e619ce3-2643-4cdf-9a13-b4c269650021" providerId="ADAL" clId="{2F91516B-777A-4469-987E-B21E99E57CC9}" dt="2021-04-13T14:37:44.637" v="6709" actId="164"/>
          <ac:spMkLst>
            <pc:docMk/>
            <pc:sldMk cId="1971424281" sldId="871"/>
            <ac:spMk id="120" creationId="{5991557B-29A6-443C-A59F-4C06F8A55F23}"/>
          </ac:spMkLst>
        </pc:spChg>
        <pc:spChg chg="mod">
          <ac:chgData name="Kisliuk, Adrian (ext)" userId="6e619ce3-2643-4cdf-9a13-b4c269650021" providerId="ADAL" clId="{2F91516B-777A-4469-987E-B21E99E57CC9}" dt="2021-04-13T14:37:44.637" v="6709" actId="164"/>
          <ac:spMkLst>
            <pc:docMk/>
            <pc:sldMk cId="1971424281" sldId="871"/>
            <ac:spMk id="122" creationId="{9E017614-D0A8-4B22-A915-3A857077B481}"/>
          </ac:spMkLst>
        </pc:spChg>
        <pc:spChg chg="mod">
          <ac:chgData name="Kisliuk, Adrian (ext)" userId="6e619ce3-2643-4cdf-9a13-b4c269650021" providerId="ADAL" clId="{2F91516B-777A-4469-987E-B21E99E57CC9}" dt="2021-04-13T14:37:44.637" v="6709" actId="164"/>
          <ac:spMkLst>
            <pc:docMk/>
            <pc:sldMk cId="1971424281" sldId="871"/>
            <ac:spMk id="123" creationId="{2EB6AEEE-2AE3-4DAD-B59D-FFEACCC8E6F0}"/>
          </ac:spMkLst>
        </pc:spChg>
        <pc:spChg chg="mod">
          <ac:chgData name="Kisliuk, Adrian (ext)" userId="6e619ce3-2643-4cdf-9a13-b4c269650021" providerId="ADAL" clId="{2F91516B-777A-4469-987E-B21E99E57CC9}" dt="2021-04-13T14:37:44.637" v="6709" actId="164"/>
          <ac:spMkLst>
            <pc:docMk/>
            <pc:sldMk cId="1971424281" sldId="871"/>
            <ac:spMk id="124" creationId="{AFE5596A-CF60-41BC-B989-75B0B97D1D99}"/>
          </ac:spMkLst>
        </pc:spChg>
        <pc:spChg chg="mod">
          <ac:chgData name="Kisliuk, Adrian (ext)" userId="6e619ce3-2643-4cdf-9a13-b4c269650021" providerId="ADAL" clId="{2F91516B-777A-4469-987E-B21E99E57CC9}" dt="2021-04-13T14:37:44.637" v="6709" actId="164"/>
          <ac:spMkLst>
            <pc:docMk/>
            <pc:sldMk cId="1971424281" sldId="871"/>
            <ac:spMk id="125" creationId="{B15AAB64-58FB-443E-9FFA-EB172B6F66DE}"/>
          </ac:spMkLst>
        </pc:spChg>
        <pc:spChg chg="mod">
          <ac:chgData name="Kisliuk, Adrian (ext)" userId="6e619ce3-2643-4cdf-9a13-b4c269650021" providerId="ADAL" clId="{2F91516B-777A-4469-987E-B21E99E57CC9}" dt="2021-04-13T14:37:44.637" v="6709" actId="164"/>
          <ac:spMkLst>
            <pc:docMk/>
            <pc:sldMk cId="1971424281" sldId="871"/>
            <ac:spMk id="126" creationId="{12285547-ED0B-47FE-8920-5AC5B8E7A057}"/>
          </ac:spMkLst>
        </pc:spChg>
        <pc:spChg chg="mod">
          <ac:chgData name="Kisliuk, Adrian (ext)" userId="6e619ce3-2643-4cdf-9a13-b4c269650021" providerId="ADAL" clId="{2F91516B-777A-4469-987E-B21E99E57CC9}" dt="2021-04-13T14:37:44.637" v="6709" actId="164"/>
          <ac:spMkLst>
            <pc:docMk/>
            <pc:sldMk cId="1971424281" sldId="871"/>
            <ac:spMk id="127" creationId="{E8F80E55-0E01-470C-B49D-8247CAF639D2}"/>
          </ac:spMkLst>
        </pc:spChg>
        <pc:spChg chg="mod">
          <ac:chgData name="Kisliuk, Adrian (ext)" userId="6e619ce3-2643-4cdf-9a13-b4c269650021" providerId="ADAL" clId="{2F91516B-777A-4469-987E-B21E99E57CC9}" dt="2021-04-13T17:22:09.256" v="6981" actId="14100"/>
          <ac:spMkLst>
            <pc:docMk/>
            <pc:sldMk cId="1971424281" sldId="871"/>
            <ac:spMk id="128" creationId="{9B62D2A2-51CA-41B9-A0BC-13DC86D7797B}"/>
          </ac:spMkLst>
        </pc:spChg>
        <pc:spChg chg="mod">
          <ac:chgData name="Kisliuk, Adrian (ext)" userId="6e619ce3-2643-4cdf-9a13-b4c269650021" providerId="ADAL" clId="{2F91516B-777A-4469-987E-B21E99E57CC9}" dt="2021-04-13T17:20:14.887" v="6948" actId="20577"/>
          <ac:spMkLst>
            <pc:docMk/>
            <pc:sldMk cId="1971424281" sldId="871"/>
            <ac:spMk id="129" creationId="{39F9B750-B3E2-4F5E-9A43-754153F046EA}"/>
          </ac:spMkLst>
        </pc:spChg>
        <pc:grpChg chg="add mod">
          <ac:chgData name="Kisliuk, Adrian (ext)" userId="6e619ce3-2643-4cdf-9a13-b4c269650021" providerId="ADAL" clId="{2F91516B-777A-4469-987E-B21E99E57CC9}" dt="2021-04-13T14:37:51.454" v="6710" actId="1076"/>
          <ac:grpSpMkLst>
            <pc:docMk/>
            <pc:sldMk cId="1971424281" sldId="871"/>
            <ac:grpSpMk id="7" creationId="{3A967E32-01E6-4421-86B0-2BCE8F390FF2}"/>
          </ac:grpSpMkLst>
        </pc:grpChg>
        <pc:picChg chg="mod">
          <ac:chgData name="Kisliuk, Adrian (ext)" userId="6e619ce3-2643-4cdf-9a13-b4c269650021" providerId="ADAL" clId="{2F91516B-777A-4469-987E-B21E99E57CC9}" dt="2021-04-13T14:37:44.637" v="6709" actId="164"/>
          <ac:picMkLst>
            <pc:docMk/>
            <pc:sldMk cId="1971424281" sldId="871"/>
            <ac:picMk id="25" creationId="{B5EF6DB6-C371-478D-9AD0-02EB7A025348}"/>
          </ac:picMkLst>
        </pc:picChg>
        <pc:picChg chg="mod">
          <ac:chgData name="Kisliuk, Adrian (ext)" userId="6e619ce3-2643-4cdf-9a13-b4c269650021" providerId="ADAL" clId="{2F91516B-777A-4469-987E-B21E99E57CC9}" dt="2021-04-13T14:37:44.637" v="6709" actId="164"/>
          <ac:picMkLst>
            <pc:docMk/>
            <pc:sldMk cId="1971424281" sldId="871"/>
            <ac:picMk id="97" creationId="{CA4DED43-C903-4DFC-B40D-D712A4E2B173}"/>
          </ac:picMkLst>
        </pc:picChg>
        <pc:picChg chg="mod">
          <ac:chgData name="Kisliuk, Adrian (ext)" userId="6e619ce3-2643-4cdf-9a13-b4c269650021" providerId="ADAL" clId="{2F91516B-777A-4469-987E-B21E99E57CC9}" dt="2021-04-13T14:37:44.637" v="6709" actId="164"/>
          <ac:picMkLst>
            <pc:docMk/>
            <pc:sldMk cId="1971424281" sldId="871"/>
            <ac:picMk id="99" creationId="{E399955B-0BE8-479D-A2E0-A796C6AF7611}"/>
          </ac:picMkLst>
        </pc:picChg>
        <pc:picChg chg="mod">
          <ac:chgData name="Kisliuk, Adrian (ext)" userId="6e619ce3-2643-4cdf-9a13-b4c269650021" providerId="ADAL" clId="{2F91516B-777A-4469-987E-B21E99E57CC9}" dt="2021-04-13T14:37:44.637" v="6709" actId="164"/>
          <ac:picMkLst>
            <pc:docMk/>
            <pc:sldMk cId="1971424281" sldId="871"/>
            <ac:picMk id="100" creationId="{0593936E-19F5-4657-B808-15F38E097891}"/>
          </ac:picMkLst>
        </pc:picChg>
        <pc:picChg chg="mod">
          <ac:chgData name="Kisliuk, Adrian (ext)" userId="6e619ce3-2643-4cdf-9a13-b4c269650021" providerId="ADAL" clId="{2F91516B-777A-4469-987E-B21E99E57CC9}" dt="2021-04-13T14:37:44.637" v="6709" actId="164"/>
          <ac:picMkLst>
            <pc:docMk/>
            <pc:sldMk cId="1971424281" sldId="871"/>
            <ac:picMk id="102" creationId="{5F8195F5-5988-4649-8FFB-24BAE3436708}"/>
          </ac:picMkLst>
        </pc:picChg>
        <pc:picChg chg="mod">
          <ac:chgData name="Kisliuk, Adrian (ext)" userId="6e619ce3-2643-4cdf-9a13-b4c269650021" providerId="ADAL" clId="{2F91516B-777A-4469-987E-B21E99E57CC9}" dt="2021-04-13T14:37:44.637" v="6709" actId="164"/>
          <ac:picMkLst>
            <pc:docMk/>
            <pc:sldMk cId="1971424281" sldId="871"/>
            <ac:picMk id="103" creationId="{34EFCB08-1249-40C7-B895-1569A77B9762}"/>
          </ac:picMkLst>
        </pc:picChg>
        <pc:picChg chg="mod">
          <ac:chgData name="Kisliuk, Adrian (ext)" userId="6e619ce3-2643-4cdf-9a13-b4c269650021" providerId="ADAL" clId="{2F91516B-777A-4469-987E-B21E99E57CC9}" dt="2021-04-13T14:37:44.637" v="6709" actId="164"/>
          <ac:picMkLst>
            <pc:docMk/>
            <pc:sldMk cId="1971424281" sldId="871"/>
            <ac:picMk id="105" creationId="{798E17B3-5C8F-4A2E-811D-E2FF11FC5E85}"/>
          </ac:picMkLst>
        </pc:picChg>
        <pc:picChg chg="mod">
          <ac:chgData name="Kisliuk, Adrian (ext)" userId="6e619ce3-2643-4cdf-9a13-b4c269650021" providerId="ADAL" clId="{2F91516B-777A-4469-987E-B21E99E57CC9}" dt="2021-04-13T14:37:44.637" v="6709" actId="164"/>
          <ac:picMkLst>
            <pc:docMk/>
            <pc:sldMk cId="1971424281" sldId="871"/>
            <ac:picMk id="106" creationId="{C9060A64-34EE-49B8-92DA-6C613CD9D374}"/>
          </ac:picMkLst>
        </pc:picChg>
        <pc:cxnChg chg="mod">
          <ac:chgData name="Kisliuk, Adrian (ext)" userId="6e619ce3-2643-4cdf-9a13-b4c269650021" providerId="ADAL" clId="{2F91516B-777A-4469-987E-B21E99E57CC9}" dt="2021-04-13T14:37:44.637" v="6709" actId="164"/>
          <ac:cxnSpMkLst>
            <pc:docMk/>
            <pc:sldMk cId="1971424281" sldId="871"/>
            <ac:cxnSpMk id="8" creationId="{1CFB2DA8-F1DB-4058-956F-DBA8895DAF49}"/>
          </ac:cxnSpMkLst>
        </pc:cxnChg>
        <pc:cxnChg chg="mod">
          <ac:chgData name="Kisliuk, Adrian (ext)" userId="6e619ce3-2643-4cdf-9a13-b4c269650021" providerId="ADAL" clId="{2F91516B-777A-4469-987E-B21E99E57CC9}" dt="2021-04-13T14:37:44.637" v="6709" actId="164"/>
          <ac:cxnSpMkLst>
            <pc:docMk/>
            <pc:sldMk cId="1971424281" sldId="871"/>
            <ac:cxnSpMk id="9" creationId="{5592F179-7344-45B6-8706-9FC31F265CBB}"/>
          </ac:cxnSpMkLst>
        </pc:cxnChg>
        <pc:cxnChg chg="mod">
          <ac:chgData name="Kisliuk, Adrian (ext)" userId="6e619ce3-2643-4cdf-9a13-b4c269650021" providerId="ADAL" clId="{2F91516B-777A-4469-987E-B21E99E57CC9}" dt="2021-04-13T14:37:44.637" v="6709" actId="164"/>
          <ac:cxnSpMkLst>
            <pc:docMk/>
            <pc:sldMk cId="1971424281" sldId="871"/>
            <ac:cxnSpMk id="10" creationId="{407FD91D-F855-494E-9F66-558F7DA074CB}"/>
          </ac:cxnSpMkLst>
        </pc:cxnChg>
        <pc:cxnChg chg="mod">
          <ac:chgData name="Kisliuk, Adrian (ext)" userId="6e619ce3-2643-4cdf-9a13-b4c269650021" providerId="ADAL" clId="{2F91516B-777A-4469-987E-B21E99E57CC9}" dt="2021-04-13T14:37:44.637" v="6709" actId="164"/>
          <ac:cxnSpMkLst>
            <pc:docMk/>
            <pc:sldMk cId="1971424281" sldId="871"/>
            <ac:cxnSpMk id="11" creationId="{7609E589-A284-464B-A806-A25DB6BDC08E}"/>
          </ac:cxnSpMkLst>
        </pc:cxnChg>
        <pc:cxnChg chg="mod">
          <ac:chgData name="Kisliuk, Adrian (ext)" userId="6e619ce3-2643-4cdf-9a13-b4c269650021" providerId="ADAL" clId="{2F91516B-777A-4469-987E-B21E99E57CC9}" dt="2021-04-13T14:37:44.637" v="6709" actId="164"/>
          <ac:cxnSpMkLst>
            <pc:docMk/>
            <pc:sldMk cId="1971424281" sldId="871"/>
            <ac:cxnSpMk id="12" creationId="{27D4984D-E3D6-4AF1-A61A-68A918C163F9}"/>
          </ac:cxnSpMkLst>
        </pc:cxnChg>
        <pc:cxnChg chg="mod">
          <ac:chgData name="Kisliuk, Adrian (ext)" userId="6e619ce3-2643-4cdf-9a13-b4c269650021" providerId="ADAL" clId="{2F91516B-777A-4469-987E-B21E99E57CC9}" dt="2021-04-13T14:37:44.637" v="6709" actId="164"/>
          <ac:cxnSpMkLst>
            <pc:docMk/>
            <pc:sldMk cId="1971424281" sldId="871"/>
            <ac:cxnSpMk id="13" creationId="{944063E5-EF47-4638-B559-23C6133D99CD}"/>
          </ac:cxnSpMkLst>
        </pc:cxnChg>
        <pc:cxnChg chg="mod">
          <ac:chgData name="Kisliuk, Adrian (ext)" userId="6e619ce3-2643-4cdf-9a13-b4c269650021" providerId="ADAL" clId="{2F91516B-777A-4469-987E-B21E99E57CC9}" dt="2021-04-13T14:37:44.637" v="6709" actId="164"/>
          <ac:cxnSpMkLst>
            <pc:docMk/>
            <pc:sldMk cId="1971424281" sldId="871"/>
            <ac:cxnSpMk id="14" creationId="{4B626E46-4810-414D-9C0A-E0357EDCB9D7}"/>
          </ac:cxnSpMkLst>
        </pc:cxnChg>
        <pc:cxnChg chg="mod">
          <ac:chgData name="Kisliuk, Adrian (ext)" userId="6e619ce3-2643-4cdf-9a13-b4c269650021" providerId="ADAL" clId="{2F91516B-777A-4469-987E-B21E99E57CC9}" dt="2021-04-13T14:37:44.637" v="6709" actId="164"/>
          <ac:cxnSpMkLst>
            <pc:docMk/>
            <pc:sldMk cId="1971424281" sldId="871"/>
            <ac:cxnSpMk id="67" creationId="{7D040921-F50F-4B27-A4C5-6FCB77EF1B05}"/>
          </ac:cxnSpMkLst>
        </pc:cxnChg>
        <pc:cxnChg chg="mod">
          <ac:chgData name="Kisliuk, Adrian (ext)" userId="6e619ce3-2643-4cdf-9a13-b4c269650021" providerId="ADAL" clId="{2F91516B-777A-4469-987E-B21E99E57CC9}" dt="2021-04-13T14:37:44.637" v="6709" actId="164"/>
          <ac:cxnSpMkLst>
            <pc:docMk/>
            <pc:sldMk cId="1971424281" sldId="871"/>
            <ac:cxnSpMk id="69" creationId="{F13A6B81-45D2-413C-AE2F-89DA1F14E39F}"/>
          </ac:cxnSpMkLst>
        </pc:cxnChg>
        <pc:cxnChg chg="mod">
          <ac:chgData name="Kisliuk, Adrian (ext)" userId="6e619ce3-2643-4cdf-9a13-b4c269650021" providerId="ADAL" clId="{2F91516B-777A-4469-987E-B21E99E57CC9}" dt="2021-04-13T14:37:44.637" v="6709" actId="164"/>
          <ac:cxnSpMkLst>
            <pc:docMk/>
            <pc:sldMk cId="1971424281" sldId="871"/>
            <ac:cxnSpMk id="70" creationId="{63E361CB-B4F7-4929-B0F9-8AEE2FDA6FD9}"/>
          </ac:cxnSpMkLst>
        </pc:cxnChg>
        <pc:cxnChg chg="mod">
          <ac:chgData name="Kisliuk, Adrian (ext)" userId="6e619ce3-2643-4cdf-9a13-b4c269650021" providerId="ADAL" clId="{2F91516B-777A-4469-987E-B21E99E57CC9}" dt="2021-04-13T14:37:44.637" v="6709" actId="164"/>
          <ac:cxnSpMkLst>
            <pc:docMk/>
            <pc:sldMk cId="1971424281" sldId="871"/>
            <ac:cxnSpMk id="71" creationId="{08DB5702-6918-4D61-9C6E-2607E9A6F795}"/>
          </ac:cxnSpMkLst>
        </pc:cxnChg>
        <pc:cxnChg chg="mod">
          <ac:chgData name="Kisliuk, Adrian (ext)" userId="6e619ce3-2643-4cdf-9a13-b4c269650021" providerId="ADAL" clId="{2F91516B-777A-4469-987E-B21E99E57CC9}" dt="2021-04-13T14:37:44.637" v="6709" actId="164"/>
          <ac:cxnSpMkLst>
            <pc:docMk/>
            <pc:sldMk cId="1971424281" sldId="871"/>
            <ac:cxnSpMk id="72" creationId="{D75B69DC-A0EE-4AE7-BBDF-7784B4EE85AB}"/>
          </ac:cxnSpMkLst>
        </pc:cxnChg>
        <pc:cxnChg chg="mod">
          <ac:chgData name="Kisliuk, Adrian (ext)" userId="6e619ce3-2643-4cdf-9a13-b4c269650021" providerId="ADAL" clId="{2F91516B-777A-4469-987E-B21E99E57CC9}" dt="2021-04-13T14:37:44.637" v="6709" actId="164"/>
          <ac:cxnSpMkLst>
            <pc:docMk/>
            <pc:sldMk cId="1971424281" sldId="871"/>
            <ac:cxnSpMk id="73" creationId="{9660463F-1189-4710-9918-49B6FF75AD96}"/>
          </ac:cxnSpMkLst>
        </pc:cxnChg>
        <pc:cxnChg chg="mod">
          <ac:chgData name="Kisliuk, Adrian (ext)" userId="6e619ce3-2643-4cdf-9a13-b4c269650021" providerId="ADAL" clId="{2F91516B-777A-4469-987E-B21E99E57CC9}" dt="2021-04-13T14:37:44.637" v="6709" actId="164"/>
          <ac:cxnSpMkLst>
            <pc:docMk/>
            <pc:sldMk cId="1971424281" sldId="871"/>
            <ac:cxnSpMk id="74" creationId="{16771A44-7FFF-487A-AC2F-0702F8E34C91}"/>
          </ac:cxnSpMkLst>
        </pc:cxnChg>
        <pc:cxnChg chg="mod">
          <ac:chgData name="Kisliuk, Adrian (ext)" userId="6e619ce3-2643-4cdf-9a13-b4c269650021" providerId="ADAL" clId="{2F91516B-777A-4469-987E-B21E99E57CC9}" dt="2021-04-13T14:37:44.637" v="6709" actId="164"/>
          <ac:cxnSpMkLst>
            <pc:docMk/>
            <pc:sldMk cId="1971424281" sldId="871"/>
            <ac:cxnSpMk id="75" creationId="{775DD168-1D1F-4B53-A56E-5F9979DAA77C}"/>
          </ac:cxnSpMkLst>
        </pc:cxnChg>
        <pc:cxnChg chg="mod">
          <ac:chgData name="Kisliuk, Adrian (ext)" userId="6e619ce3-2643-4cdf-9a13-b4c269650021" providerId="ADAL" clId="{2F91516B-777A-4469-987E-B21E99E57CC9}" dt="2021-04-13T14:37:44.637" v="6709" actId="164"/>
          <ac:cxnSpMkLst>
            <pc:docMk/>
            <pc:sldMk cId="1971424281" sldId="871"/>
            <ac:cxnSpMk id="76" creationId="{9B49F1A1-9281-4809-BF6B-55D27752F4B1}"/>
          </ac:cxnSpMkLst>
        </pc:cxnChg>
        <pc:cxnChg chg="mod">
          <ac:chgData name="Kisliuk, Adrian (ext)" userId="6e619ce3-2643-4cdf-9a13-b4c269650021" providerId="ADAL" clId="{2F91516B-777A-4469-987E-B21E99E57CC9}" dt="2021-04-13T14:37:44.637" v="6709" actId="164"/>
          <ac:cxnSpMkLst>
            <pc:docMk/>
            <pc:sldMk cId="1971424281" sldId="871"/>
            <ac:cxnSpMk id="77" creationId="{210C1624-06D9-462C-A118-E079D96C6DA1}"/>
          </ac:cxnSpMkLst>
        </pc:cxnChg>
        <pc:cxnChg chg="mod">
          <ac:chgData name="Kisliuk, Adrian (ext)" userId="6e619ce3-2643-4cdf-9a13-b4c269650021" providerId="ADAL" clId="{2F91516B-777A-4469-987E-B21E99E57CC9}" dt="2021-04-13T14:37:44.637" v="6709" actId="164"/>
          <ac:cxnSpMkLst>
            <pc:docMk/>
            <pc:sldMk cId="1971424281" sldId="871"/>
            <ac:cxnSpMk id="78" creationId="{EDE3BCF1-FB7F-4A6F-98E0-14F8DEEF88F2}"/>
          </ac:cxnSpMkLst>
        </pc:cxnChg>
        <pc:cxnChg chg="mod">
          <ac:chgData name="Kisliuk, Adrian (ext)" userId="6e619ce3-2643-4cdf-9a13-b4c269650021" providerId="ADAL" clId="{2F91516B-777A-4469-987E-B21E99E57CC9}" dt="2021-04-13T14:37:44.637" v="6709" actId="164"/>
          <ac:cxnSpMkLst>
            <pc:docMk/>
            <pc:sldMk cId="1971424281" sldId="871"/>
            <ac:cxnSpMk id="79" creationId="{91115089-EEBA-455C-AE1F-9BCD9D04D952}"/>
          </ac:cxnSpMkLst>
        </pc:cxnChg>
        <pc:cxnChg chg="mod">
          <ac:chgData name="Kisliuk, Adrian (ext)" userId="6e619ce3-2643-4cdf-9a13-b4c269650021" providerId="ADAL" clId="{2F91516B-777A-4469-987E-B21E99E57CC9}" dt="2021-04-13T14:37:44.637" v="6709" actId="164"/>
          <ac:cxnSpMkLst>
            <pc:docMk/>
            <pc:sldMk cId="1971424281" sldId="871"/>
            <ac:cxnSpMk id="80" creationId="{43C0A06B-40DE-44DA-873F-5AE25FD0DD72}"/>
          </ac:cxnSpMkLst>
        </pc:cxnChg>
        <pc:cxnChg chg="mod">
          <ac:chgData name="Kisliuk, Adrian (ext)" userId="6e619ce3-2643-4cdf-9a13-b4c269650021" providerId="ADAL" clId="{2F91516B-777A-4469-987E-B21E99E57CC9}" dt="2021-04-13T14:37:44.637" v="6709" actId="164"/>
          <ac:cxnSpMkLst>
            <pc:docMk/>
            <pc:sldMk cId="1971424281" sldId="871"/>
            <ac:cxnSpMk id="82" creationId="{E91FF393-4D36-4DD7-86BA-7F577CAEBB81}"/>
          </ac:cxnSpMkLst>
        </pc:cxnChg>
        <pc:cxnChg chg="mod">
          <ac:chgData name="Kisliuk, Adrian (ext)" userId="6e619ce3-2643-4cdf-9a13-b4c269650021" providerId="ADAL" clId="{2F91516B-777A-4469-987E-B21E99E57CC9}" dt="2021-04-13T14:37:44.637" v="6709" actId="164"/>
          <ac:cxnSpMkLst>
            <pc:docMk/>
            <pc:sldMk cId="1971424281" sldId="871"/>
            <ac:cxnSpMk id="83" creationId="{AB7CBA41-0897-47C4-B74E-06AD4420D705}"/>
          </ac:cxnSpMkLst>
        </pc:cxnChg>
        <pc:cxnChg chg="mod">
          <ac:chgData name="Kisliuk, Adrian (ext)" userId="6e619ce3-2643-4cdf-9a13-b4c269650021" providerId="ADAL" clId="{2F91516B-777A-4469-987E-B21E99E57CC9}" dt="2021-04-13T14:37:44.637" v="6709" actId="164"/>
          <ac:cxnSpMkLst>
            <pc:docMk/>
            <pc:sldMk cId="1971424281" sldId="871"/>
            <ac:cxnSpMk id="84" creationId="{A440801C-41CD-477D-AF08-4C5C16593E29}"/>
          </ac:cxnSpMkLst>
        </pc:cxnChg>
        <pc:cxnChg chg="mod">
          <ac:chgData name="Kisliuk, Adrian (ext)" userId="6e619ce3-2643-4cdf-9a13-b4c269650021" providerId="ADAL" clId="{2F91516B-777A-4469-987E-B21E99E57CC9}" dt="2021-04-13T14:37:44.637" v="6709" actId="164"/>
          <ac:cxnSpMkLst>
            <pc:docMk/>
            <pc:sldMk cId="1971424281" sldId="871"/>
            <ac:cxnSpMk id="86" creationId="{C5D96FB4-A4D4-4ECC-9235-C317E62D9705}"/>
          </ac:cxnSpMkLst>
        </pc:cxnChg>
        <pc:cxnChg chg="mod">
          <ac:chgData name="Kisliuk, Adrian (ext)" userId="6e619ce3-2643-4cdf-9a13-b4c269650021" providerId="ADAL" clId="{2F91516B-777A-4469-987E-B21E99E57CC9}" dt="2021-04-13T14:37:44.637" v="6709" actId="164"/>
          <ac:cxnSpMkLst>
            <pc:docMk/>
            <pc:sldMk cId="1971424281" sldId="871"/>
            <ac:cxnSpMk id="87" creationId="{1912D34D-7E22-4759-9693-341EBC75C073}"/>
          </ac:cxnSpMkLst>
        </pc:cxnChg>
        <pc:cxnChg chg="mod">
          <ac:chgData name="Kisliuk, Adrian (ext)" userId="6e619ce3-2643-4cdf-9a13-b4c269650021" providerId="ADAL" clId="{2F91516B-777A-4469-987E-B21E99E57CC9}" dt="2021-04-13T14:37:44.637" v="6709" actId="164"/>
          <ac:cxnSpMkLst>
            <pc:docMk/>
            <pc:sldMk cId="1971424281" sldId="871"/>
            <ac:cxnSpMk id="88" creationId="{111DCFF6-9720-4BC7-8AF0-F848679BD3A2}"/>
          </ac:cxnSpMkLst>
        </pc:cxnChg>
        <pc:cxnChg chg="mod">
          <ac:chgData name="Kisliuk, Adrian (ext)" userId="6e619ce3-2643-4cdf-9a13-b4c269650021" providerId="ADAL" clId="{2F91516B-777A-4469-987E-B21E99E57CC9}" dt="2021-04-13T14:37:44.637" v="6709" actId="164"/>
          <ac:cxnSpMkLst>
            <pc:docMk/>
            <pc:sldMk cId="1971424281" sldId="871"/>
            <ac:cxnSpMk id="89" creationId="{E10A9B36-F1E8-4D51-90D6-E1237DFEABD5}"/>
          </ac:cxnSpMkLst>
        </pc:cxnChg>
        <pc:cxnChg chg="mod">
          <ac:chgData name="Kisliuk, Adrian (ext)" userId="6e619ce3-2643-4cdf-9a13-b4c269650021" providerId="ADAL" clId="{2F91516B-777A-4469-987E-B21E99E57CC9}" dt="2021-04-13T14:37:44.637" v="6709" actId="164"/>
          <ac:cxnSpMkLst>
            <pc:docMk/>
            <pc:sldMk cId="1971424281" sldId="871"/>
            <ac:cxnSpMk id="90" creationId="{B4522E43-61FE-4B46-866D-CFD8C166B996}"/>
          </ac:cxnSpMkLst>
        </pc:cxnChg>
        <pc:cxnChg chg="mod">
          <ac:chgData name="Kisliuk, Adrian (ext)" userId="6e619ce3-2643-4cdf-9a13-b4c269650021" providerId="ADAL" clId="{2F91516B-777A-4469-987E-B21E99E57CC9}" dt="2021-04-13T14:37:44.637" v="6709" actId="164"/>
          <ac:cxnSpMkLst>
            <pc:docMk/>
            <pc:sldMk cId="1971424281" sldId="871"/>
            <ac:cxnSpMk id="91" creationId="{28A3AE67-A679-46FD-B5C7-DBD91B653732}"/>
          </ac:cxnSpMkLst>
        </pc:cxnChg>
        <pc:cxnChg chg="mod">
          <ac:chgData name="Kisliuk, Adrian (ext)" userId="6e619ce3-2643-4cdf-9a13-b4c269650021" providerId="ADAL" clId="{2F91516B-777A-4469-987E-B21E99E57CC9}" dt="2021-04-13T14:37:44.637" v="6709" actId="164"/>
          <ac:cxnSpMkLst>
            <pc:docMk/>
            <pc:sldMk cId="1971424281" sldId="871"/>
            <ac:cxnSpMk id="92" creationId="{EA736C85-F086-4450-9E7B-B22980818D56}"/>
          </ac:cxnSpMkLst>
        </pc:cxnChg>
        <pc:cxnChg chg="mod">
          <ac:chgData name="Kisliuk, Adrian (ext)" userId="6e619ce3-2643-4cdf-9a13-b4c269650021" providerId="ADAL" clId="{2F91516B-777A-4469-987E-B21E99E57CC9}" dt="2021-04-13T14:37:44.637" v="6709" actId="164"/>
          <ac:cxnSpMkLst>
            <pc:docMk/>
            <pc:sldMk cId="1971424281" sldId="871"/>
            <ac:cxnSpMk id="93" creationId="{08565026-B3A1-4191-815C-57CA703CDFE2}"/>
          </ac:cxnSpMkLst>
        </pc:cxnChg>
        <pc:cxnChg chg="mod">
          <ac:chgData name="Kisliuk, Adrian (ext)" userId="6e619ce3-2643-4cdf-9a13-b4c269650021" providerId="ADAL" clId="{2F91516B-777A-4469-987E-B21E99E57CC9}" dt="2021-04-13T14:37:44.637" v="6709" actId="164"/>
          <ac:cxnSpMkLst>
            <pc:docMk/>
            <pc:sldMk cId="1971424281" sldId="871"/>
            <ac:cxnSpMk id="94" creationId="{75B2B4E5-0ACA-46E4-A5C4-F500E20D1D6F}"/>
          </ac:cxnSpMkLst>
        </pc:cxnChg>
        <pc:cxnChg chg="mod">
          <ac:chgData name="Kisliuk, Adrian (ext)" userId="6e619ce3-2643-4cdf-9a13-b4c269650021" providerId="ADAL" clId="{2F91516B-777A-4469-987E-B21E99E57CC9}" dt="2021-04-13T14:37:44.637" v="6709" actId="164"/>
          <ac:cxnSpMkLst>
            <pc:docMk/>
            <pc:sldMk cId="1971424281" sldId="871"/>
            <ac:cxnSpMk id="95" creationId="{249FA8D5-6976-48C3-A048-D152E993F616}"/>
          </ac:cxnSpMkLst>
        </pc:cxnChg>
        <pc:cxnChg chg="mod">
          <ac:chgData name="Kisliuk, Adrian (ext)" userId="6e619ce3-2643-4cdf-9a13-b4c269650021" providerId="ADAL" clId="{2F91516B-777A-4469-987E-B21E99E57CC9}" dt="2021-04-13T14:37:44.637" v="6709" actId="164"/>
          <ac:cxnSpMkLst>
            <pc:docMk/>
            <pc:sldMk cId="1971424281" sldId="871"/>
            <ac:cxnSpMk id="96" creationId="{0E2D9E64-712E-479C-8AA8-25FD26699F9E}"/>
          </ac:cxnSpMkLst>
        </pc:cxnChg>
      </pc:sldChg>
      <pc:sldChg chg="addSp delSp modSp add mod">
        <pc:chgData name="Kisliuk, Adrian (ext)" userId="6e619ce3-2643-4cdf-9a13-b4c269650021" providerId="ADAL" clId="{2F91516B-777A-4469-987E-B21E99E57CC9}" dt="2021-04-14T09:01:27.487" v="7693" actId="1582"/>
        <pc:sldMkLst>
          <pc:docMk/>
          <pc:sldMk cId="1758910654" sldId="872"/>
        </pc:sldMkLst>
        <pc:spChg chg="mod">
          <ac:chgData name="Kisliuk, Adrian (ext)" userId="6e619ce3-2643-4cdf-9a13-b4c269650021" providerId="ADAL" clId="{2F91516B-777A-4469-987E-B21E99E57CC9}" dt="2021-04-14T08:59:10.219" v="7638" actId="1076"/>
          <ac:spMkLst>
            <pc:docMk/>
            <pc:sldMk cId="1758910654" sldId="872"/>
            <ac:spMk id="2" creationId="{DE936FAF-2E76-49E3-A26B-EE542092B6EF}"/>
          </ac:spMkLst>
        </pc:spChg>
        <pc:spChg chg="mod">
          <ac:chgData name="Kisliuk, Adrian (ext)" userId="6e619ce3-2643-4cdf-9a13-b4c269650021" providerId="ADAL" clId="{2F91516B-777A-4469-987E-B21E99E57CC9}" dt="2021-04-14T08:59:18.803" v="7650" actId="1038"/>
          <ac:spMkLst>
            <pc:docMk/>
            <pc:sldMk cId="1758910654" sldId="872"/>
            <ac:spMk id="12" creationId="{13DDFB9B-B73F-4BDD-9450-596059F82F6F}"/>
          </ac:spMkLst>
        </pc:spChg>
        <pc:spChg chg="mod">
          <ac:chgData name="Kisliuk, Adrian (ext)" userId="6e619ce3-2643-4cdf-9a13-b4c269650021" providerId="ADAL" clId="{2F91516B-777A-4469-987E-B21E99E57CC9}" dt="2021-04-14T08:59:18.803" v="7650" actId="1038"/>
          <ac:spMkLst>
            <pc:docMk/>
            <pc:sldMk cId="1758910654" sldId="872"/>
            <ac:spMk id="19" creationId="{153306F1-2A0E-4D68-BA66-B8AF04BFEC63}"/>
          </ac:spMkLst>
        </pc:spChg>
        <pc:spChg chg="mod">
          <ac:chgData name="Kisliuk, Adrian (ext)" userId="6e619ce3-2643-4cdf-9a13-b4c269650021" providerId="ADAL" clId="{2F91516B-777A-4469-987E-B21E99E57CC9}" dt="2021-04-14T09:00:37.890" v="7685" actId="1036"/>
          <ac:spMkLst>
            <pc:docMk/>
            <pc:sldMk cId="1758910654" sldId="872"/>
            <ac:spMk id="23" creationId="{624170FD-30D4-4052-9186-927A77A3C792}"/>
          </ac:spMkLst>
        </pc:spChg>
        <pc:spChg chg="mod">
          <ac:chgData name="Kisliuk, Adrian (ext)" userId="6e619ce3-2643-4cdf-9a13-b4c269650021" providerId="ADAL" clId="{2F91516B-777A-4469-987E-B21E99E57CC9}" dt="2021-04-14T09:00:37.890" v="7685" actId="1036"/>
          <ac:spMkLst>
            <pc:docMk/>
            <pc:sldMk cId="1758910654" sldId="872"/>
            <ac:spMk id="24" creationId="{CC6C6EE1-EACB-4F1C-9536-D61F24ED4CC5}"/>
          </ac:spMkLst>
        </pc:spChg>
        <pc:spChg chg="mod">
          <ac:chgData name="Kisliuk, Adrian (ext)" userId="6e619ce3-2643-4cdf-9a13-b4c269650021" providerId="ADAL" clId="{2F91516B-777A-4469-987E-B21E99E57CC9}" dt="2021-04-14T09:00:37.890" v="7685" actId="1036"/>
          <ac:spMkLst>
            <pc:docMk/>
            <pc:sldMk cId="1758910654" sldId="872"/>
            <ac:spMk id="26" creationId="{548F08B3-6FD0-4D69-8E3A-FB7B859A81BE}"/>
          </ac:spMkLst>
        </pc:spChg>
        <pc:spChg chg="mod">
          <ac:chgData name="Kisliuk, Adrian (ext)" userId="6e619ce3-2643-4cdf-9a13-b4c269650021" providerId="ADAL" clId="{2F91516B-777A-4469-987E-B21E99E57CC9}" dt="2021-04-14T09:00:37.890" v="7685" actId="1036"/>
          <ac:spMkLst>
            <pc:docMk/>
            <pc:sldMk cId="1758910654" sldId="872"/>
            <ac:spMk id="27" creationId="{5ACC94EB-85FC-42C8-8F08-2B6132FC2B9A}"/>
          </ac:spMkLst>
        </pc:spChg>
        <pc:spChg chg="del">
          <ac:chgData name="Kisliuk, Adrian (ext)" userId="6e619ce3-2643-4cdf-9a13-b4c269650021" providerId="ADAL" clId="{2F91516B-777A-4469-987E-B21E99E57CC9}" dt="2021-04-14T08:40:49.875" v="7093" actId="478"/>
          <ac:spMkLst>
            <pc:docMk/>
            <pc:sldMk cId="1758910654" sldId="872"/>
            <ac:spMk id="35" creationId="{93B69849-1AEF-4948-95F6-0C25448C77D7}"/>
          </ac:spMkLst>
        </pc:spChg>
        <pc:spChg chg="mod">
          <ac:chgData name="Kisliuk, Adrian (ext)" userId="6e619ce3-2643-4cdf-9a13-b4c269650021" providerId="ADAL" clId="{2F91516B-777A-4469-987E-B21E99E57CC9}" dt="2021-04-14T08:57:19.233" v="7356" actId="1037"/>
          <ac:spMkLst>
            <pc:docMk/>
            <pc:sldMk cId="1758910654" sldId="872"/>
            <ac:spMk id="36" creationId="{12D829DC-FB4B-431C-B657-DE96D45F67BB}"/>
          </ac:spMkLst>
        </pc:spChg>
        <pc:spChg chg="mod">
          <ac:chgData name="Kisliuk, Adrian (ext)" userId="6e619ce3-2643-4cdf-9a13-b4c269650021" providerId="ADAL" clId="{2F91516B-777A-4469-987E-B21E99E57CC9}" dt="2021-04-14T08:57:19.233" v="7356" actId="1037"/>
          <ac:spMkLst>
            <pc:docMk/>
            <pc:sldMk cId="1758910654" sldId="872"/>
            <ac:spMk id="37" creationId="{5DFEC39C-CE07-4ECC-94CF-97BC683ABE78}"/>
          </ac:spMkLst>
        </pc:spChg>
        <pc:spChg chg="mod">
          <ac:chgData name="Kisliuk, Adrian (ext)" userId="6e619ce3-2643-4cdf-9a13-b4c269650021" providerId="ADAL" clId="{2F91516B-777A-4469-987E-B21E99E57CC9}" dt="2021-04-14T08:57:19.233" v="7356" actId="1037"/>
          <ac:spMkLst>
            <pc:docMk/>
            <pc:sldMk cId="1758910654" sldId="872"/>
            <ac:spMk id="38" creationId="{1CB22556-81D2-46B6-9C81-19EF13EA88F4}"/>
          </ac:spMkLst>
        </pc:spChg>
        <pc:spChg chg="mod">
          <ac:chgData name="Kisliuk, Adrian (ext)" userId="6e619ce3-2643-4cdf-9a13-b4c269650021" providerId="ADAL" clId="{2F91516B-777A-4469-987E-B21E99E57CC9}" dt="2021-04-14T08:59:18.803" v="7650" actId="1038"/>
          <ac:spMkLst>
            <pc:docMk/>
            <pc:sldMk cId="1758910654" sldId="872"/>
            <ac:spMk id="44" creationId="{5BE3AE2B-4A0E-4204-B25A-B404EC4FDDA8}"/>
          </ac:spMkLst>
        </pc:spChg>
        <pc:spChg chg="del">
          <ac:chgData name="Kisliuk, Adrian (ext)" userId="6e619ce3-2643-4cdf-9a13-b4c269650021" providerId="ADAL" clId="{2F91516B-777A-4469-987E-B21E99E57CC9}" dt="2021-04-14T08:40:22.292" v="7085" actId="478"/>
          <ac:spMkLst>
            <pc:docMk/>
            <pc:sldMk cId="1758910654" sldId="872"/>
            <ac:spMk id="63" creationId="{5358F583-7AE1-4BA3-A400-CB7025BBF5B7}"/>
          </ac:spMkLst>
        </pc:spChg>
        <pc:spChg chg="add mod">
          <ac:chgData name="Kisliuk, Adrian (ext)" userId="6e619ce3-2643-4cdf-9a13-b4c269650021" providerId="ADAL" clId="{2F91516B-777A-4469-987E-B21E99E57CC9}" dt="2021-04-14T09:00:43.785" v="7688" actId="20577"/>
          <ac:spMkLst>
            <pc:docMk/>
            <pc:sldMk cId="1758910654" sldId="872"/>
            <ac:spMk id="67" creationId="{6E0184C5-B967-4FCF-B023-8892F4ABBFB5}"/>
          </ac:spMkLst>
        </pc:spChg>
        <pc:spChg chg="add mod">
          <ac:chgData name="Kisliuk, Adrian (ext)" userId="6e619ce3-2643-4cdf-9a13-b4c269650021" providerId="ADAL" clId="{2F91516B-777A-4469-987E-B21E99E57CC9}" dt="2021-04-14T09:00:46.896" v="7690" actId="20577"/>
          <ac:spMkLst>
            <pc:docMk/>
            <pc:sldMk cId="1758910654" sldId="872"/>
            <ac:spMk id="69" creationId="{EF23AA6E-069F-4349-A89F-7238D05307BE}"/>
          </ac:spMkLst>
        </pc:spChg>
        <pc:spChg chg="add mod">
          <ac:chgData name="Kisliuk, Adrian (ext)" userId="6e619ce3-2643-4cdf-9a13-b4c269650021" providerId="ADAL" clId="{2F91516B-777A-4469-987E-B21E99E57CC9}" dt="2021-04-14T09:00:52.343" v="7692" actId="20577"/>
          <ac:spMkLst>
            <pc:docMk/>
            <pc:sldMk cId="1758910654" sldId="872"/>
            <ac:spMk id="70" creationId="{EE66E68C-AC94-4FD2-96ED-8D8997ABB572}"/>
          </ac:spMkLst>
        </pc:spChg>
        <pc:spChg chg="add mod">
          <ac:chgData name="Kisliuk, Adrian (ext)" userId="6e619ce3-2643-4cdf-9a13-b4c269650021" providerId="ADAL" clId="{2F91516B-777A-4469-987E-B21E99E57CC9}" dt="2021-04-14T09:00:37.890" v="7685" actId="1036"/>
          <ac:spMkLst>
            <pc:docMk/>
            <pc:sldMk cId="1758910654" sldId="872"/>
            <ac:spMk id="71" creationId="{61B29BA6-3764-49FF-9F42-FB0CDC7E8FFB}"/>
          </ac:spMkLst>
        </pc:spChg>
        <pc:spChg chg="add mod">
          <ac:chgData name="Kisliuk, Adrian (ext)" userId="6e619ce3-2643-4cdf-9a13-b4c269650021" providerId="ADAL" clId="{2F91516B-777A-4469-987E-B21E99E57CC9}" dt="2021-04-14T09:00:37.890" v="7685" actId="1036"/>
          <ac:spMkLst>
            <pc:docMk/>
            <pc:sldMk cId="1758910654" sldId="872"/>
            <ac:spMk id="72" creationId="{36059C90-DBC1-45FB-9E74-3747AAEBEE5F}"/>
          </ac:spMkLst>
        </pc:spChg>
        <pc:spChg chg="add mod">
          <ac:chgData name="Kisliuk, Adrian (ext)" userId="6e619ce3-2643-4cdf-9a13-b4c269650021" providerId="ADAL" clId="{2F91516B-777A-4469-987E-B21E99E57CC9}" dt="2021-04-14T08:57:19.233" v="7356" actId="1037"/>
          <ac:spMkLst>
            <pc:docMk/>
            <pc:sldMk cId="1758910654" sldId="872"/>
            <ac:spMk id="81" creationId="{552775DB-5997-454C-9151-C8164EC41734}"/>
          </ac:spMkLst>
        </pc:spChg>
        <pc:spChg chg="add mod">
          <ac:chgData name="Kisliuk, Adrian (ext)" userId="6e619ce3-2643-4cdf-9a13-b4c269650021" providerId="ADAL" clId="{2F91516B-777A-4469-987E-B21E99E57CC9}" dt="2021-04-14T08:57:19.233" v="7356" actId="1037"/>
          <ac:spMkLst>
            <pc:docMk/>
            <pc:sldMk cId="1758910654" sldId="872"/>
            <ac:spMk id="82" creationId="{BFFE17F6-4064-4957-86F3-32341E45A770}"/>
          </ac:spMkLst>
        </pc:spChg>
        <pc:spChg chg="add mod">
          <ac:chgData name="Kisliuk, Adrian (ext)" userId="6e619ce3-2643-4cdf-9a13-b4c269650021" providerId="ADAL" clId="{2F91516B-777A-4469-987E-B21E99E57CC9}" dt="2021-04-14T08:57:19.233" v="7356" actId="1037"/>
          <ac:spMkLst>
            <pc:docMk/>
            <pc:sldMk cId="1758910654" sldId="872"/>
            <ac:spMk id="83" creationId="{A7F4A503-1623-463F-B66A-90F98586D750}"/>
          </ac:spMkLst>
        </pc:spChg>
        <pc:spChg chg="add del mod modVis">
          <ac:chgData name="Kisliuk, Adrian (ext)" userId="6e619ce3-2643-4cdf-9a13-b4c269650021" providerId="ADAL" clId="{2F91516B-777A-4469-987E-B21E99E57CC9}" dt="2021-04-14T08:57:30.029" v="7432" actId="962"/>
          <ac:spMkLst>
            <pc:docMk/>
            <pc:sldMk cId="1758910654" sldId="872"/>
            <ac:spMk id="101" creationId="{2E11A623-3599-4C56-809E-18D2326885A9}"/>
          </ac:spMkLst>
        </pc:spChg>
        <pc:spChg chg="add del mod modVis">
          <ac:chgData name="Kisliuk, Adrian (ext)" userId="6e619ce3-2643-4cdf-9a13-b4c269650021" providerId="ADAL" clId="{2F91516B-777A-4469-987E-B21E99E57CC9}" dt="2021-04-14T08:59:10.218" v="7636" actId="962"/>
          <ac:spMkLst>
            <pc:docMk/>
            <pc:sldMk cId="1758910654" sldId="872"/>
            <ac:spMk id="109" creationId="{30EB7631-E020-4085-A608-40D15FC21C0A}"/>
          </ac:spMkLst>
        </pc:spChg>
        <pc:graphicFrameChg chg="mod">
          <ac:chgData name="Kisliuk, Adrian (ext)" userId="6e619ce3-2643-4cdf-9a13-b4c269650021" providerId="ADAL" clId="{2F91516B-777A-4469-987E-B21E99E57CC9}" dt="2021-04-14T08:59:10.242" v="7640"/>
          <ac:graphicFrameMkLst>
            <pc:docMk/>
            <pc:sldMk cId="1758910654" sldId="872"/>
            <ac:graphicFrameMk id="6" creationId="{580DFCAE-76C4-413B-B499-F7B76F1E13AF}"/>
          </ac:graphicFrameMkLst>
        </pc:graphicFrameChg>
        <pc:picChg chg="mod">
          <ac:chgData name="Kisliuk, Adrian (ext)" userId="6e619ce3-2643-4cdf-9a13-b4c269650021" providerId="ADAL" clId="{2F91516B-777A-4469-987E-B21E99E57CC9}" dt="2021-04-14T09:00:37.890" v="7685" actId="1036"/>
          <ac:picMkLst>
            <pc:docMk/>
            <pc:sldMk cId="1758910654" sldId="872"/>
            <ac:picMk id="16" creationId="{F29F1F7C-0D26-41DF-AC6A-9886F949FEC9}"/>
          </ac:picMkLst>
        </pc:picChg>
        <pc:picChg chg="mod">
          <ac:chgData name="Kisliuk, Adrian (ext)" userId="6e619ce3-2643-4cdf-9a13-b4c269650021" providerId="ADAL" clId="{2F91516B-777A-4469-987E-B21E99E57CC9}" dt="2021-04-14T08:44:49.109" v="7157" actId="1076"/>
          <ac:picMkLst>
            <pc:docMk/>
            <pc:sldMk cId="1758910654" sldId="872"/>
            <ac:picMk id="33" creationId="{FDFCE72B-4FE7-427A-8A4C-F087F18E34A5}"/>
          </ac:picMkLst>
        </pc:picChg>
        <pc:picChg chg="mod">
          <ac:chgData name="Kisliuk, Adrian (ext)" userId="6e619ce3-2643-4cdf-9a13-b4c269650021" providerId="ADAL" clId="{2F91516B-777A-4469-987E-B21E99E57CC9}" dt="2021-04-14T08:42:28.326" v="7132" actId="1036"/>
          <ac:picMkLst>
            <pc:docMk/>
            <pc:sldMk cId="1758910654" sldId="872"/>
            <ac:picMk id="1026" creationId="{92BEDCD2-D9FA-492D-9738-4357A3D8F149}"/>
          </ac:picMkLst>
        </pc:picChg>
        <pc:cxnChg chg="mod">
          <ac:chgData name="Kisliuk, Adrian (ext)" userId="6e619ce3-2643-4cdf-9a13-b4c269650021" providerId="ADAL" clId="{2F91516B-777A-4469-987E-B21E99E57CC9}" dt="2021-04-14T09:00:37.890" v="7685" actId="1036"/>
          <ac:cxnSpMkLst>
            <pc:docMk/>
            <pc:sldMk cId="1758910654" sldId="872"/>
            <ac:cxnSpMk id="5" creationId="{A4C623EE-5F8C-43C6-BD7F-4F7F0804E80E}"/>
          </ac:cxnSpMkLst>
        </pc:cxnChg>
        <pc:cxnChg chg="del">
          <ac:chgData name="Kisliuk, Adrian (ext)" userId="6e619ce3-2643-4cdf-9a13-b4c269650021" providerId="ADAL" clId="{2F91516B-777A-4469-987E-B21E99E57CC9}" dt="2021-04-14T08:40:04.325" v="7077" actId="478"/>
          <ac:cxnSpMkLst>
            <pc:docMk/>
            <pc:sldMk cId="1758910654" sldId="872"/>
            <ac:cxnSpMk id="10" creationId="{273BF7F6-06B5-4471-8BC6-9B087719241F}"/>
          </ac:cxnSpMkLst>
        </pc:cxnChg>
        <pc:cxnChg chg="del mod">
          <ac:chgData name="Kisliuk, Adrian (ext)" userId="6e619ce3-2643-4cdf-9a13-b4c269650021" providerId="ADAL" clId="{2F91516B-777A-4469-987E-B21E99E57CC9}" dt="2021-04-14T08:52:13.802" v="7209" actId="478"/>
          <ac:cxnSpMkLst>
            <pc:docMk/>
            <pc:sldMk cId="1758910654" sldId="872"/>
            <ac:cxnSpMk id="17" creationId="{E00C1456-EBC7-41F2-BF30-B1A7340F0087}"/>
          </ac:cxnSpMkLst>
        </pc:cxnChg>
        <pc:cxnChg chg="mod">
          <ac:chgData name="Kisliuk, Adrian (ext)" userId="6e619ce3-2643-4cdf-9a13-b4c269650021" providerId="ADAL" clId="{2F91516B-777A-4469-987E-B21E99E57CC9}" dt="2021-04-14T09:00:37.890" v="7685" actId="1036"/>
          <ac:cxnSpMkLst>
            <pc:docMk/>
            <pc:sldMk cId="1758910654" sldId="872"/>
            <ac:cxnSpMk id="21" creationId="{9362684C-436C-45A6-9F89-A22C41EF495B}"/>
          </ac:cxnSpMkLst>
        </pc:cxnChg>
        <pc:cxnChg chg="mod">
          <ac:chgData name="Kisliuk, Adrian (ext)" userId="6e619ce3-2643-4cdf-9a13-b4c269650021" providerId="ADAL" clId="{2F91516B-777A-4469-987E-B21E99E57CC9}" dt="2021-04-14T08:59:18.803" v="7650" actId="1038"/>
          <ac:cxnSpMkLst>
            <pc:docMk/>
            <pc:sldMk cId="1758910654" sldId="872"/>
            <ac:cxnSpMk id="29" creationId="{AD8299C5-A83B-4DE8-827B-CBDF6ED21028}"/>
          </ac:cxnSpMkLst>
        </pc:cxnChg>
        <pc:cxnChg chg="add mod">
          <ac:chgData name="Kisliuk, Adrian (ext)" userId="6e619ce3-2643-4cdf-9a13-b4c269650021" providerId="ADAL" clId="{2F91516B-777A-4469-987E-B21E99E57CC9}" dt="2021-04-14T08:59:18.803" v="7650" actId="1038"/>
          <ac:cxnSpMkLst>
            <pc:docMk/>
            <pc:sldMk cId="1758910654" sldId="872"/>
            <ac:cxnSpMk id="32" creationId="{960A8471-4033-4D9C-B0CF-94B8FDF047AB}"/>
          </ac:cxnSpMkLst>
        </pc:cxnChg>
        <pc:cxnChg chg="del mod">
          <ac:chgData name="Kisliuk, Adrian (ext)" userId="6e619ce3-2643-4cdf-9a13-b4c269650021" providerId="ADAL" clId="{2F91516B-777A-4469-987E-B21E99E57CC9}" dt="2021-04-14T08:40:23.083" v="7086" actId="478"/>
          <ac:cxnSpMkLst>
            <pc:docMk/>
            <pc:sldMk cId="1758910654" sldId="872"/>
            <ac:cxnSpMk id="46" creationId="{2DDF8105-35F3-473E-927D-EDC4D8909C4A}"/>
          </ac:cxnSpMkLst>
        </pc:cxnChg>
        <pc:cxnChg chg="add mod">
          <ac:chgData name="Kisliuk, Adrian (ext)" userId="6e619ce3-2643-4cdf-9a13-b4c269650021" providerId="ADAL" clId="{2F91516B-777A-4469-987E-B21E99E57CC9}" dt="2021-04-14T09:01:27.487" v="7693" actId="1582"/>
          <ac:cxnSpMkLst>
            <pc:docMk/>
            <pc:sldMk cId="1758910654" sldId="872"/>
            <ac:cxnSpMk id="48" creationId="{1050C63E-5585-4A11-B1EC-F7EDA319A04E}"/>
          </ac:cxnSpMkLst>
        </pc:cxnChg>
        <pc:cxnChg chg="mod">
          <ac:chgData name="Kisliuk, Adrian (ext)" userId="6e619ce3-2643-4cdf-9a13-b4c269650021" providerId="ADAL" clId="{2F91516B-777A-4469-987E-B21E99E57CC9}" dt="2021-04-14T08:59:18.803" v="7650" actId="1038"/>
          <ac:cxnSpMkLst>
            <pc:docMk/>
            <pc:sldMk cId="1758910654" sldId="872"/>
            <ac:cxnSpMk id="53" creationId="{AD39E464-4ACC-414D-B567-513C379969E3}"/>
          </ac:cxnSpMkLst>
        </pc:cxnChg>
        <pc:cxnChg chg="mod">
          <ac:chgData name="Kisliuk, Adrian (ext)" userId="6e619ce3-2643-4cdf-9a13-b4c269650021" providerId="ADAL" clId="{2F91516B-777A-4469-987E-B21E99E57CC9}" dt="2021-04-14T08:59:18.803" v="7650" actId="1038"/>
          <ac:cxnSpMkLst>
            <pc:docMk/>
            <pc:sldMk cId="1758910654" sldId="872"/>
            <ac:cxnSpMk id="56" creationId="{08E8E5E4-67B7-4DAF-A6CC-D2743D94A973}"/>
          </ac:cxnSpMkLst>
        </pc:cxnChg>
        <pc:cxnChg chg="add del mod">
          <ac:chgData name="Kisliuk, Adrian (ext)" userId="6e619ce3-2643-4cdf-9a13-b4c269650021" providerId="ADAL" clId="{2F91516B-777A-4469-987E-B21E99E57CC9}" dt="2021-04-14T08:44:23.803" v="7156" actId="478"/>
          <ac:cxnSpMkLst>
            <pc:docMk/>
            <pc:sldMk cId="1758910654" sldId="872"/>
            <ac:cxnSpMk id="57" creationId="{B8C34A2B-AB66-4301-9AC6-E0CA9ED035F1}"/>
          </ac:cxnSpMkLst>
        </pc:cxnChg>
        <pc:cxnChg chg="del mod">
          <ac:chgData name="Kisliuk, Adrian (ext)" userId="6e619ce3-2643-4cdf-9a13-b4c269650021" providerId="ADAL" clId="{2F91516B-777A-4469-987E-B21E99E57CC9}" dt="2021-04-14T08:59:25.472" v="7651" actId="478"/>
          <ac:cxnSpMkLst>
            <pc:docMk/>
            <pc:sldMk cId="1758910654" sldId="872"/>
            <ac:cxnSpMk id="59" creationId="{D7B8E812-336A-43FB-AC97-5795CCB65A3E}"/>
          </ac:cxnSpMkLst>
        </pc:cxnChg>
        <pc:cxnChg chg="del">
          <ac:chgData name="Kisliuk, Adrian (ext)" userId="6e619ce3-2643-4cdf-9a13-b4c269650021" providerId="ADAL" clId="{2F91516B-777A-4469-987E-B21E99E57CC9}" dt="2021-04-14T08:40:10.587" v="7079" actId="478"/>
          <ac:cxnSpMkLst>
            <pc:docMk/>
            <pc:sldMk cId="1758910654" sldId="872"/>
            <ac:cxnSpMk id="65" creationId="{1D7BD989-92B4-4FA4-9722-4067C19EEBF1}"/>
          </ac:cxnSpMkLst>
        </pc:cxnChg>
        <pc:cxnChg chg="del mod">
          <ac:chgData name="Kisliuk, Adrian (ext)" userId="6e619ce3-2643-4cdf-9a13-b4c269650021" providerId="ADAL" clId="{2F91516B-777A-4469-987E-B21E99E57CC9}" dt="2021-04-14T08:40:12.572" v="7080" actId="478"/>
          <ac:cxnSpMkLst>
            <pc:docMk/>
            <pc:sldMk cId="1758910654" sldId="872"/>
            <ac:cxnSpMk id="68" creationId="{29686DF6-B69B-4AE9-AFE1-74022EE9CBFE}"/>
          </ac:cxnSpMkLst>
        </pc:cxnChg>
        <pc:cxnChg chg="add mod">
          <ac:chgData name="Kisliuk, Adrian (ext)" userId="6e619ce3-2643-4cdf-9a13-b4c269650021" providerId="ADAL" clId="{2F91516B-777A-4469-987E-B21E99E57CC9}" dt="2021-04-14T09:00:37.890" v="7685" actId="1036"/>
          <ac:cxnSpMkLst>
            <pc:docMk/>
            <pc:sldMk cId="1758910654" sldId="872"/>
            <ac:cxnSpMk id="75" creationId="{6E239FD2-9337-48F7-865C-32CBD5FCDFFF}"/>
          </ac:cxnSpMkLst>
        </pc:cxnChg>
        <pc:cxnChg chg="add mod">
          <ac:chgData name="Kisliuk, Adrian (ext)" userId="6e619ce3-2643-4cdf-9a13-b4c269650021" providerId="ADAL" clId="{2F91516B-777A-4469-987E-B21E99E57CC9}" dt="2021-04-14T09:00:37.890" v="7685" actId="1036"/>
          <ac:cxnSpMkLst>
            <pc:docMk/>
            <pc:sldMk cId="1758910654" sldId="872"/>
            <ac:cxnSpMk id="78" creationId="{7F603801-B170-455A-B796-0BE874C79947}"/>
          </ac:cxnSpMkLst>
        </pc:cxnChg>
        <pc:cxnChg chg="add del mod">
          <ac:chgData name="Kisliuk, Adrian (ext)" userId="6e619ce3-2643-4cdf-9a13-b4c269650021" providerId="ADAL" clId="{2F91516B-777A-4469-987E-B21E99E57CC9}" dt="2021-04-14T08:58:24.695" v="7500" actId="478"/>
          <ac:cxnSpMkLst>
            <pc:docMk/>
            <pc:sldMk cId="1758910654" sldId="872"/>
            <ac:cxnSpMk id="84" creationId="{2C085E22-9D4A-4DA1-BA65-173E94911808}"/>
          </ac:cxnSpMkLst>
        </pc:cxnChg>
        <pc:cxnChg chg="add mod">
          <ac:chgData name="Kisliuk, Adrian (ext)" userId="6e619ce3-2643-4cdf-9a13-b4c269650021" providerId="ADAL" clId="{2F91516B-777A-4469-987E-B21E99E57CC9}" dt="2021-04-14T08:57:19.233" v="7356" actId="1037"/>
          <ac:cxnSpMkLst>
            <pc:docMk/>
            <pc:sldMk cId="1758910654" sldId="872"/>
            <ac:cxnSpMk id="90" creationId="{170F4735-1CEB-462F-AFD3-E7AF1B99D737}"/>
          </ac:cxnSpMkLst>
        </pc:cxnChg>
        <pc:cxnChg chg="add mod">
          <ac:chgData name="Kisliuk, Adrian (ext)" userId="6e619ce3-2643-4cdf-9a13-b4c269650021" providerId="ADAL" clId="{2F91516B-777A-4469-987E-B21E99E57CC9}" dt="2021-04-14T08:59:18.803" v="7650" actId="1038"/>
          <ac:cxnSpMkLst>
            <pc:docMk/>
            <pc:sldMk cId="1758910654" sldId="872"/>
            <ac:cxnSpMk id="93" creationId="{1416EC65-93AC-4B21-8796-1D3552EEE3AA}"/>
          </ac:cxnSpMkLst>
        </pc:cxnChg>
        <pc:cxnChg chg="add mod">
          <ac:chgData name="Kisliuk, Adrian (ext)" userId="6e619ce3-2643-4cdf-9a13-b4c269650021" providerId="ADAL" clId="{2F91516B-777A-4469-987E-B21E99E57CC9}" dt="2021-04-14T08:57:19.233" v="7356" actId="1037"/>
          <ac:cxnSpMkLst>
            <pc:docMk/>
            <pc:sldMk cId="1758910654" sldId="872"/>
            <ac:cxnSpMk id="96" creationId="{CFEFBC2F-A57B-4D23-9AD8-0177BFBAF3B8}"/>
          </ac:cxnSpMkLst>
        </pc:cxnChg>
        <pc:cxnChg chg="add mod">
          <ac:chgData name="Kisliuk, Adrian (ext)" userId="6e619ce3-2643-4cdf-9a13-b4c269650021" providerId="ADAL" clId="{2F91516B-777A-4469-987E-B21E99E57CC9}" dt="2021-04-14T09:00:37.890" v="7685" actId="1036"/>
          <ac:cxnSpMkLst>
            <pc:docMk/>
            <pc:sldMk cId="1758910654" sldId="872"/>
            <ac:cxnSpMk id="111" creationId="{8E995278-8651-4F8F-888E-25CC8EC65F61}"/>
          </ac:cxnSpMkLst>
        </pc:cxnChg>
        <pc:cxnChg chg="add mod">
          <ac:chgData name="Kisliuk, Adrian (ext)" userId="6e619ce3-2643-4cdf-9a13-b4c269650021" providerId="ADAL" clId="{2F91516B-777A-4469-987E-B21E99E57CC9}" dt="2021-04-14T09:00:37.890" v="7685" actId="1036"/>
          <ac:cxnSpMkLst>
            <pc:docMk/>
            <pc:sldMk cId="1758910654" sldId="872"/>
            <ac:cxnSpMk id="114" creationId="{9A803330-86A2-4C09-AD48-555222D89CF3}"/>
          </ac:cxnSpMkLst>
        </pc:cxnChg>
        <pc:cxnChg chg="add mod">
          <ac:chgData name="Kisliuk, Adrian (ext)" userId="6e619ce3-2643-4cdf-9a13-b4c269650021" providerId="ADAL" clId="{2F91516B-777A-4469-987E-B21E99E57CC9}" dt="2021-04-14T09:00:37.890" v="7685" actId="1036"/>
          <ac:cxnSpMkLst>
            <pc:docMk/>
            <pc:sldMk cId="1758910654" sldId="872"/>
            <ac:cxnSpMk id="117" creationId="{F0F6DDE1-8831-404C-B915-33DE1AF72ED3}"/>
          </ac:cxnSpMkLst>
        </pc:cxnChg>
        <pc:cxnChg chg="add mod">
          <ac:chgData name="Kisliuk, Adrian (ext)" userId="6e619ce3-2643-4cdf-9a13-b4c269650021" providerId="ADAL" clId="{2F91516B-777A-4469-987E-B21E99E57CC9}" dt="2021-04-14T09:00:37.890" v="7685" actId="1036"/>
          <ac:cxnSpMkLst>
            <pc:docMk/>
            <pc:sldMk cId="1758910654" sldId="872"/>
            <ac:cxnSpMk id="120" creationId="{659374FF-74A4-453A-AC6D-39E6A7DADD46}"/>
          </ac:cxnSpMkLst>
        </pc:cxnChg>
      </pc:sldChg>
    </pc:docChg>
  </pc:docChgLst>
  <pc:docChgLst>
    <pc:chgData name="Kisliuk, Adrian (ext)" userId="S::adrian.kisliuk@external.t-systems.com::6e619ce3-2643-4cdf-9a13-b4c269650021" providerId="AD" clId="Web-{3D760D69-5FB5-C29A-DDD6-520C2C0854E4}"/>
    <pc:docChg chg="addSld modSld sldOrd">
      <pc:chgData name="Kisliuk, Adrian (ext)" userId="S::adrian.kisliuk@external.t-systems.com::6e619ce3-2643-4cdf-9a13-b4c269650021" providerId="AD" clId="Web-{3D760D69-5FB5-C29A-DDD6-520C2C0854E4}" dt="2021-04-19T09:29:29.649" v="15" actId="20577"/>
      <pc:docMkLst>
        <pc:docMk/>
      </pc:docMkLst>
      <pc:sldChg chg="ord">
        <pc:chgData name="Kisliuk, Adrian (ext)" userId="S::adrian.kisliuk@external.t-systems.com::6e619ce3-2643-4cdf-9a13-b4c269650021" providerId="AD" clId="Web-{3D760D69-5FB5-C29A-DDD6-520C2C0854E4}" dt="2021-04-19T09:14:27.625" v="7"/>
        <pc:sldMkLst>
          <pc:docMk/>
          <pc:sldMk cId="530366835" sldId="851"/>
        </pc:sldMkLst>
      </pc:sldChg>
      <pc:sldChg chg="ord">
        <pc:chgData name="Kisliuk, Adrian (ext)" userId="S::adrian.kisliuk@external.t-systems.com::6e619ce3-2643-4cdf-9a13-b4c269650021" providerId="AD" clId="Web-{3D760D69-5FB5-C29A-DDD6-520C2C0854E4}" dt="2021-04-19T09:14:52.047" v="8"/>
        <pc:sldMkLst>
          <pc:docMk/>
          <pc:sldMk cId="1758910654" sldId="872"/>
        </pc:sldMkLst>
      </pc:sldChg>
      <pc:sldChg chg="modSp mod modShow addCm modCm">
        <pc:chgData name="Kisliuk, Adrian (ext)" userId="S::adrian.kisliuk@external.t-systems.com::6e619ce3-2643-4cdf-9a13-b4c269650021" providerId="AD" clId="Web-{3D760D69-5FB5-C29A-DDD6-520C2C0854E4}" dt="2021-04-19T09:23:10.364" v="11"/>
        <pc:sldMkLst>
          <pc:docMk/>
          <pc:sldMk cId="3931138914" sldId="887"/>
        </pc:sldMkLst>
        <pc:spChg chg="mod">
          <ac:chgData name="Kisliuk, Adrian (ext)" userId="S::adrian.kisliuk@external.t-systems.com::6e619ce3-2643-4cdf-9a13-b4c269650021" providerId="AD" clId="Web-{3D760D69-5FB5-C29A-DDD6-520C2C0854E4}" dt="2021-04-19T09:11:49.311" v="4" actId="20577"/>
          <ac:spMkLst>
            <pc:docMk/>
            <pc:sldMk cId="3931138914" sldId="887"/>
            <ac:spMk id="17" creationId="{80C85612-3195-43C6-84FD-E4F97C4E2FAF}"/>
          </ac:spMkLst>
        </pc:spChg>
      </pc:sldChg>
      <pc:sldChg chg="ord">
        <pc:chgData name="Kisliuk, Adrian (ext)" userId="S::adrian.kisliuk@external.t-systems.com::6e619ce3-2643-4cdf-9a13-b4c269650021" providerId="AD" clId="Web-{3D760D69-5FB5-C29A-DDD6-520C2C0854E4}" dt="2021-04-19T09:14:17.235" v="6"/>
        <pc:sldMkLst>
          <pc:docMk/>
          <pc:sldMk cId="3383307614" sldId="888"/>
        </pc:sldMkLst>
      </pc:sldChg>
      <pc:sldChg chg="modSp add ord replId">
        <pc:chgData name="Kisliuk, Adrian (ext)" userId="S::adrian.kisliuk@external.t-systems.com::6e619ce3-2643-4cdf-9a13-b4c269650021" providerId="AD" clId="Web-{3D760D69-5FB5-C29A-DDD6-520C2C0854E4}" dt="2021-04-19T09:29:29.649" v="15" actId="20577"/>
        <pc:sldMkLst>
          <pc:docMk/>
          <pc:sldMk cId="2401060283" sldId="889"/>
        </pc:sldMkLst>
        <pc:spChg chg="mod">
          <ac:chgData name="Kisliuk, Adrian (ext)" userId="S::adrian.kisliuk@external.t-systems.com::6e619ce3-2643-4cdf-9a13-b4c269650021" providerId="AD" clId="Web-{3D760D69-5FB5-C29A-DDD6-520C2C0854E4}" dt="2021-04-19T09:29:29.649" v="15" actId="20577"/>
          <ac:spMkLst>
            <pc:docMk/>
            <pc:sldMk cId="2401060283" sldId="889"/>
            <ac:spMk id="26" creationId="{CE1C3E13-AF8F-4301-B411-986CE84A3DD5}"/>
          </ac:spMkLst>
        </pc:spChg>
      </pc:sldChg>
    </pc:docChg>
  </pc:docChgLst>
  <pc:docChgLst>
    <pc:chgData name="Dsouza, Felix" userId="937cf874-2bf2-4bc2-bae8-9a90428f36dc" providerId="ADAL" clId="{503E48C4-209E-462E-8FB9-AA978396B9FA}"/>
    <pc:docChg chg="custSel modSld">
      <pc:chgData name="Dsouza, Felix" userId="937cf874-2bf2-4bc2-bae8-9a90428f36dc" providerId="ADAL" clId="{503E48C4-209E-462E-8FB9-AA978396B9FA}" dt="2021-04-27T11:02:01.232" v="8" actId="1592"/>
      <pc:docMkLst>
        <pc:docMk/>
      </pc:docMkLst>
      <pc:sldChg chg="addSp modSp mod">
        <pc:chgData name="Dsouza, Felix" userId="937cf874-2bf2-4bc2-bae8-9a90428f36dc" providerId="ADAL" clId="{503E48C4-209E-462E-8FB9-AA978396B9FA}" dt="2021-04-27T09:28:30.515" v="2" actId="947"/>
        <pc:sldMkLst>
          <pc:docMk/>
          <pc:sldMk cId="3888384040" sldId="474"/>
        </pc:sldMkLst>
        <pc:spChg chg="add mod">
          <ac:chgData name="Dsouza, Felix" userId="937cf874-2bf2-4bc2-bae8-9a90428f36dc" providerId="ADAL" clId="{503E48C4-209E-462E-8FB9-AA978396B9FA}" dt="2021-04-27T09:28:30.515" v="2" actId="947"/>
          <ac:spMkLst>
            <pc:docMk/>
            <pc:sldMk cId="3888384040" sldId="474"/>
            <ac:spMk id="4" creationId="{8AB8E76E-D555-4E5A-A682-52AA97F696D2}"/>
          </ac:spMkLst>
        </pc:spChg>
      </pc:sldChg>
      <pc:sldChg chg="addCm delCm modCm">
        <pc:chgData name="Dsouza, Felix" userId="937cf874-2bf2-4bc2-bae8-9a90428f36dc" providerId="ADAL" clId="{503E48C4-209E-462E-8FB9-AA978396B9FA}" dt="2021-04-27T11:02:01.232" v="8" actId="1592"/>
        <pc:sldMkLst>
          <pc:docMk/>
          <pc:sldMk cId="576101963" sldId="911"/>
        </pc:sldMkLst>
      </pc:sldChg>
    </pc:docChg>
  </pc:docChgLst>
  <pc:docChgLst>
    <pc:chgData name="Adrian Kisliuk" userId="81f189f0-3ed9-4f29-a7b1-770f7af93676" providerId="ADAL" clId="{A635875F-BE0D-4938-9F04-46F82588313B}"/>
    <pc:docChg chg="undo redo custSel addSld delSld modSld sldOrd modMainMaster">
      <pc:chgData name="Adrian Kisliuk" userId="81f189f0-3ed9-4f29-a7b1-770f7af93676" providerId="ADAL" clId="{A635875F-BE0D-4938-9F04-46F82588313B}" dt="2021-03-01T16:27:42.210" v="3606" actId="404"/>
      <pc:docMkLst>
        <pc:docMk/>
      </pc:docMkLst>
      <pc:sldChg chg="delSp modSp mod setBg">
        <pc:chgData name="Adrian Kisliuk" userId="81f189f0-3ed9-4f29-a7b1-770f7af93676" providerId="ADAL" clId="{A635875F-BE0D-4938-9F04-46F82588313B}" dt="2021-03-01T14:28:55.621" v="2708" actId="207"/>
        <pc:sldMkLst>
          <pc:docMk/>
          <pc:sldMk cId="3888384040" sldId="474"/>
        </pc:sldMkLst>
        <pc:spChg chg="mod">
          <ac:chgData name="Adrian Kisliuk" userId="81f189f0-3ed9-4f29-a7b1-770f7af93676" providerId="ADAL" clId="{A635875F-BE0D-4938-9F04-46F82588313B}" dt="2021-03-01T14:28:55.621" v="2708" actId="207"/>
          <ac:spMkLst>
            <pc:docMk/>
            <pc:sldMk cId="3888384040" sldId="474"/>
            <ac:spMk id="10" creationId="{00000000-0000-0000-0000-000000000000}"/>
          </ac:spMkLst>
        </pc:spChg>
        <pc:picChg chg="del">
          <ac:chgData name="Adrian Kisliuk" userId="81f189f0-3ed9-4f29-a7b1-770f7af93676" providerId="ADAL" clId="{A635875F-BE0D-4938-9F04-46F82588313B}" dt="2021-03-01T11:10:15.520" v="10" actId="478"/>
          <ac:picMkLst>
            <pc:docMk/>
            <pc:sldMk cId="3888384040" sldId="474"/>
            <ac:picMk id="6" creationId="{00000000-0000-0000-0000-000000000000}"/>
          </ac:picMkLst>
        </pc:picChg>
      </pc:sldChg>
      <pc:sldChg chg="del">
        <pc:chgData name="Adrian Kisliuk" userId="81f189f0-3ed9-4f29-a7b1-770f7af93676" providerId="ADAL" clId="{A635875F-BE0D-4938-9F04-46F82588313B}" dt="2021-03-01T13:57:47.541" v="2494" actId="47"/>
        <pc:sldMkLst>
          <pc:docMk/>
          <pc:sldMk cId="1207129849" sldId="757"/>
        </pc:sldMkLst>
      </pc:sldChg>
      <pc:sldChg chg="addSp delSp modSp mod setBg">
        <pc:chgData name="Adrian Kisliuk" userId="81f189f0-3ed9-4f29-a7b1-770f7af93676" providerId="ADAL" clId="{A635875F-BE0D-4938-9F04-46F82588313B}" dt="2021-03-01T14:14:33.496" v="2669" actId="207"/>
        <pc:sldMkLst>
          <pc:docMk/>
          <pc:sldMk cId="3603600991" sldId="759"/>
        </pc:sldMkLst>
        <pc:spChg chg="mod">
          <ac:chgData name="Adrian Kisliuk" userId="81f189f0-3ed9-4f29-a7b1-770f7af93676" providerId="ADAL" clId="{A635875F-BE0D-4938-9F04-46F82588313B}" dt="2021-03-01T14:14:33.496" v="2669" actId="207"/>
          <ac:spMkLst>
            <pc:docMk/>
            <pc:sldMk cId="3603600991" sldId="759"/>
            <ac:spMk id="2" creationId="{848724A1-8D9B-4E48-BEA8-7DD98666F28D}"/>
          </ac:spMkLst>
        </pc:spChg>
        <pc:spChg chg="add del mod">
          <ac:chgData name="Adrian Kisliuk" userId="81f189f0-3ed9-4f29-a7b1-770f7af93676" providerId="ADAL" clId="{A635875F-BE0D-4938-9F04-46F82588313B}" dt="2021-03-01T14:10:14.716" v="2627"/>
          <ac:spMkLst>
            <pc:docMk/>
            <pc:sldMk cId="3603600991" sldId="759"/>
            <ac:spMk id="3" creationId="{97C96346-7EC3-4AFB-8561-623CDEA78650}"/>
          </ac:spMkLst>
        </pc:spChg>
      </pc:sldChg>
      <pc:sldChg chg="modSp mod ord setBg">
        <pc:chgData name="Adrian Kisliuk" userId="81f189f0-3ed9-4f29-a7b1-770f7af93676" providerId="ADAL" clId="{A635875F-BE0D-4938-9F04-46F82588313B}" dt="2021-03-01T14:25:25.072" v="2698"/>
        <pc:sldMkLst>
          <pc:docMk/>
          <pc:sldMk cId="886612709" sldId="766"/>
        </pc:sldMkLst>
        <pc:spChg chg="mod">
          <ac:chgData name="Adrian Kisliuk" userId="81f189f0-3ed9-4f29-a7b1-770f7af93676" providerId="ADAL" clId="{A635875F-BE0D-4938-9F04-46F82588313B}" dt="2021-03-01T14:09:52.918" v="2623" actId="20577"/>
          <ac:spMkLst>
            <pc:docMk/>
            <pc:sldMk cId="886612709" sldId="766"/>
            <ac:spMk id="2" creationId="{848724A1-8D9B-4E48-BEA8-7DD98666F28D}"/>
          </ac:spMkLst>
        </pc:spChg>
      </pc:sldChg>
      <pc:sldChg chg="del">
        <pc:chgData name="Adrian Kisliuk" userId="81f189f0-3ed9-4f29-a7b1-770f7af93676" providerId="ADAL" clId="{A635875F-BE0D-4938-9F04-46F82588313B}" dt="2021-03-01T13:57:47.541" v="2494" actId="47"/>
        <pc:sldMkLst>
          <pc:docMk/>
          <pc:sldMk cId="1183502899" sldId="810"/>
        </pc:sldMkLst>
      </pc:sldChg>
      <pc:sldChg chg="del">
        <pc:chgData name="Adrian Kisliuk" userId="81f189f0-3ed9-4f29-a7b1-770f7af93676" providerId="ADAL" clId="{A635875F-BE0D-4938-9F04-46F82588313B}" dt="2021-03-01T13:57:47.541" v="2494" actId="47"/>
        <pc:sldMkLst>
          <pc:docMk/>
          <pc:sldMk cId="381622030" sldId="811"/>
        </pc:sldMkLst>
      </pc:sldChg>
      <pc:sldChg chg="addSp modSp del mod">
        <pc:chgData name="Adrian Kisliuk" userId="81f189f0-3ed9-4f29-a7b1-770f7af93676" providerId="ADAL" clId="{A635875F-BE0D-4938-9F04-46F82588313B}" dt="2021-03-01T13:58:24.236" v="2509" actId="47"/>
        <pc:sldMkLst>
          <pc:docMk/>
          <pc:sldMk cId="3032441792" sldId="813"/>
        </pc:sldMkLst>
        <pc:spChg chg="mod">
          <ac:chgData name="Adrian Kisliuk" userId="81f189f0-3ed9-4f29-a7b1-770f7af93676" providerId="ADAL" clId="{A635875F-BE0D-4938-9F04-46F82588313B}" dt="2021-03-01T11:47:34.962" v="121" actId="207"/>
          <ac:spMkLst>
            <pc:docMk/>
            <pc:sldMk cId="3032441792" sldId="813"/>
            <ac:spMk id="3" creationId="{00000000-0000-0000-0000-000000000000}"/>
          </ac:spMkLst>
        </pc:spChg>
        <pc:graphicFrameChg chg="modGraphic">
          <ac:chgData name="Adrian Kisliuk" userId="81f189f0-3ed9-4f29-a7b1-770f7af93676" providerId="ADAL" clId="{A635875F-BE0D-4938-9F04-46F82588313B}" dt="2021-03-01T11:42:14.391" v="73" actId="2711"/>
          <ac:graphicFrameMkLst>
            <pc:docMk/>
            <pc:sldMk cId="3032441792" sldId="813"/>
            <ac:graphicFrameMk id="11" creationId="{FF10CA16-74F9-4260-93E9-F994C8B3E186}"/>
          </ac:graphicFrameMkLst>
        </pc:graphicFrameChg>
        <pc:picChg chg="add mod">
          <ac:chgData name="Adrian Kisliuk" userId="81f189f0-3ed9-4f29-a7b1-770f7af93676" providerId="ADAL" clId="{A635875F-BE0D-4938-9F04-46F82588313B}" dt="2021-03-01T11:47:23.823" v="120"/>
          <ac:picMkLst>
            <pc:docMk/>
            <pc:sldMk cId="3032441792" sldId="813"/>
            <ac:picMk id="4" creationId="{A870237B-CB96-4C44-84A2-F17890EA37EB}"/>
          </ac:picMkLst>
        </pc:picChg>
      </pc:sldChg>
      <pc:sldChg chg="addSp delSp modSp mod ord chgLayout">
        <pc:chgData name="Adrian Kisliuk" userId="81f189f0-3ed9-4f29-a7b1-770f7af93676" providerId="ADAL" clId="{A635875F-BE0D-4938-9F04-46F82588313B}" dt="2021-03-01T14:14:45.510" v="2672" actId="6549"/>
        <pc:sldMkLst>
          <pc:docMk/>
          <pc:sldMk cId="3936041182" sldId="814"/>
        </pc:sldMkLst>
        <pc:spChg chg="mod ord">
          <ac:chgData name="Adrian Kisliuk" userId="81f189f0-3ed9-4f29-a7b1-770f7af93676" providerId="ADAL" clId="{A635875F-BE0D-4938-9F04-46F82588313B}" dt="2021-03-01T14:14:43.497" v="2671" actId="207"/>
          <ac:spMkLst>
            <pc:docMk/>
            <pc:sldMk cId="3936041182" sldId="814"/>
            <ac:spMk id="3" creationId="{00000000-0000-0000-0000-000000000000}"/>
          </ac:spMkLst>
        </pc:spChg>
        <pc:spChg chg="mod ord">
          <ac:chgData name="Adrian Kisliuk" userId="81f189f0-3ed9-4f29-a7b1-770f7af93676" providerId="ADAL" clId="{A635875F-BE0D-4938-9F04-46F82588313B}" dt="2021-03-01T14:14:45.510" v="2672" actId="6549"/>
          <ac:spMkLst>
            <pc:docMk/>
            <pc:sldMk cId="3936041182" sldId="814"/>
            <ac:spMk id="4" creationId="{00000000-0000-0000-0000-000000000000}"/>
          </ac:spMkLst>
        </pc:spChg>
        <pc:spChg chg="mod">
          <ac:chgData name="Adrian Kisliuk" userId="81f189f0-3ed9-4f29-a7b1-770f7af93676" providerId="ADAL" clId="{A635875F-BE0D-4938-9F04-46F82588313B}" dt="2021-03-01T13:58:21.224" v="2507" actId="1076"/>
          <ac:spMkLst>
            <pc:docMk/>
            <pc:sldMk cId="3936041182" sldId="814"/>
            <ac:spMk id="21" creationId="{00000000-0000-0000-0000-000000000000}"/>
          </ac:spMkLst>
        </pc:spChg>
        <pc:spChg chg="del mod">
          <ac:chgData name="Adrian Kisliuk" userId="81f189f0-3ed9-4f29-a7b1-770f7af93676" providerId="ADAL" clId="{A635875F-BE0D-4938-9F04-46F82588313B}" dt="2021-03-01T13:58:17.604" v="2506" actId="478"/>
          <ac:spMkLst>
            <pc:docMk/>
            <pc:sldMk cId="3936041182" sldId="814"/>
            <ac:spMk id="22" creationId="{00000000-0000-0000-0000-000000000000}"/>
          </ac:spMkLst>
        </pc:spChg>
        <pc:spChg chg="mod">
          <ac:chgData name="Adrian Kisliuk" userId="81f189f0-3ed9-4f29-a7b1-770f7af93676" providerId="ADAL" clId="{A635875F-BE0D-4938-9F04-46F82588313B}" dt="2021-03-01T13:58:21.224" v="2507" actId="1076"/>
          <ac:spMkLst>
            <pc:docMk/>
            <pc:sldMk cId="3936041182" sldId="814"/>
            <ac:spMk id="23" creationId="{00000000-0000-0000-0000-000000000000}"/>
          </ac:spMkLst>
        </pc:spChg>
        <pc:spChg chg="del mod">
          <ac:chgData name="Adrian Kisliuk" userId="81f189f0-3ed9-4f29-a7b1-770f7af93676" providerId="ADAL" clId="{A635875F-BE0D-4938-9F04-46F82588313B}" dt="2021-03-01T13:58:15.474" v="2505" actId="478"/>
          <ac:spMkLst>
            <pc:docMk/>
            <pc:sldMk cId="3936041182" sldId="814"/>
            <ac:spMk id="24" creationId="{00000000-0000-0000-0000-000000000000}"/>
          </ac:spMkLst>
        </pc:spChg>
        <pc:picChg chg="add del mod">
          <ac:chgData name="Adrian Kisliuk" userId="81f189f0-3ed9-4f29-a7b1-770f7af93676" providerId="ADAL" clId="{A635875F-BE0D-4938-9F04-46F82588313B}" dt="2021-03-01T11:48:11.957" v="124" actId="478"/>
          <ac:picMkLst>
            <pc:docMk/>
            <pc:sldMk cId="3936041182" sldId="814"/>
            <ac:picMk id="8" creationId="{DCDA63C4-A21F-4392-B263-55A77E8B965A}"/>
          </ac:picMkLst>
        </pc:picChg>
        <pc:picChg chg="add mod">
          <ac:chgData name="Adrian Kisliuk" userId="81f189f0-3ed9-4f29-a7b1-770f7af93676" providerId="ADAL" clId="{A635875F-BE0D-4938-9F04-46F82588313B}" dt="2021-03-01T13:58:22.208" v="2508" actId="1076"/>
          <ac:picMkLst>
            <pc:docMk/>
            <pc:sldMk cId="3936041182" sldId="814"/>
            <ac:picMk id="9" creationId="{2AD22F75-362D-46DE-A688-9962816A44F9}"/>
          </ac:picMkLst>
        </pc:picChg>
      </pc:sldChg>
      <pc:sldChg chg="addSp delSp modSp add mod ord chgLayout">
        <pc:chgData name="Adrian Kisliuk" userId="81f189f0-3ed9-4f29-a7b1-770f7af93676" providerId="ADAL" clId="{A635875F-BE0D-4938-9F04-46F82588313B}" dt="2021-03-01T14:16:24.709" v="2681" actId="6549"/>
        <pc:sldMkLst>
          <pc:docMk/>
          <pc:sldMk cId="2281607591" sldId="815"/>
        </pc:sldMkLst>
        <pc:spChg chg="mod ord">
          <ac:chgData name="Adrian Kisliuk" userId="81f189f0-3ed9-4f29-a7b1-770f7af93676" providerId="ADAL" clId="{A635875F-BE0D-4938-9F04-46F82588313B}" dt="2021-03-01T14:14:56.447" v="2674" actId="207"/>
          <ac:spMkLst>
            <pc:docMk/>
            <pc:sldMk cId="2281607591" sldId="815"/>
            <ac:spMk id="3" creationId="{00000000-0000-0000-0000-000000000000}"/>
          </ac:spMkLst>
        </pc:spChg>
        <pc:spChg chg="mod ord">
          <ac:chgData name="Adrian Kisliuk" userId="81f189f0-3ed9-4f29-a7b1-770f7af93676" providerId="ADAL" clId="{A635875F-BE0D-4938-9F04-46F82588313B}" dt="2021-03-01T14:16:24.709" v="2681" actId="6549"/>
          <ac:spMkLst>
            <pc:docMk/>
            <pc:sldMk cId="2281607591" sldId="815"/>
            <ac:spMk id="4" creationId="{00000000-0000-0000-0000-000000000000}"/>
          </ac:spMkLst>
        </pc:spChg>
        <pc:spChg chg="add del mod">
          <ac:chgData name="Adrian Kisliuk" userId="81f189f0-3ed9-4f29-a7b1-770f7af93676" providerId="ADAL" clId="{A635875F-BE0D-4938-9F04-46F82588313B}" dt="2021-03-01T12:03:44.471" v="252" actId="478"/>
          <ac:spMkLst>
            <pc:docMk/>
            <pc:sldMk cId="2281607591" sldId="815"/>
            <ac:spMk id="8" creationId="{0E9C18D6-1952-4D53-B575-46A65809DBBF}"/>
          </ac:spMkLst>
        </pc:spChg>
        <pc:spChg chg="add mod">
          <ac:chgData name="Adrian Kisliuk" userId="81f189f0-3ed9-4f29-a7b1-770f7af93676" providerId="ADAL" clId="{A635875F-BE0D-4938-9F04-46F82588313B}" dt="2021-03-01T14:14:56.447" v="2674" actId="207"/>
          <ac:spMkLst>
            <pc:docMk/>
            <pc:sldMk cId="2281607591" sldId="815"/>
            <ac:spMk id="9" creationId="{D6E18E4B-4E9B-4CFD-AF88-29C3A515D1B4}"/>
          </ac:spMkLst>
        </pc:spChg>
        <pc:spChg chg="add mod">
          <ac:chgData name="Adrian Kisliuk" userId="81f189f0-3ed9-4f29-a7b1-770f7af93676" providerId="ADAL" clId="{A635875F-BE0D-4938-9F04-46F82588313B}" dt="2021-03-01T14:14:56.447" v="2674" actId="207"/>
          <ac:spMkLst>
            <pc:docMk/>
            <pc:sldMk cId="2281607591" sldId="815"/>
            <ac:spMk id="11" creationId="{4F40012B-730E-4563-9DD9-41229AD9971E}"/>
          </ac:spMkLst>
        </pc:spChg>
        <pc:spChg chg="add del mod">
          <ac:chgData name="Adrian Kisliuk" userId="81f189f0-3ed9-4f29-a7b1-770f7af93676" providerId="ADAL" clId="{A635875F-BE0D-4938-9F04-46F82588313B}" dt="2021-03-01T12:03:31.632" v="241" actId="21"/>
          <ac:spMkLst>
            <pc:docMk/>
            <pc:sldMk cId="2281607591" sldId="815"/>
            <ac:spMk id="13" creationId="{D457603E-F4E8-412A-8F11-D1A385BE7241}"/>
          </ac:spMkLst>
        </pc:spChg>
        <pc:spChg chg="add del mod">
          <ac:chgData name="Adrian Kisliuk" userId="81f189f0-3ed9-4f29-a7b1-770f7af93676" providerId="ADAL" clId="{A635875F-BE0D-4938-9F04-46F82588313B}" dt="2021-03-01T12:03:33.120" v="242" actId="478"/>
          <ac:spMkLst>
            <pc:docMk/>
            <pc:sldMk cId="2281607591" sldId="815"/>
            <ac:spMk id="14" creationId="{D95C8B45-1D7B-424A-8BB1-D9764614F734}"/>
          </ac:spMkLst>
        </pc:spChg>
        <pc:spChg chg="add del mod">
          <ac:chgData name="Adrian Kisliuk" userId="81f189f0-3ed9-4f29-a7b1-770f7af93676" providerId="ADAL" clId="{A635875F-BE0D-4938-9F04-46F82588313B}" dt="2021-03-01T14:14:56.447" v="2674" actId="207"/>
          <ac:spMkLst>
            <pc:docMk/>
            <pc:sldMk cId="2281607591" sldId="815"/>
            <ac:spMk id="15" creationId="{438E61C8-3310-417E-857B-5FE9009B583C}"/>
          </ac:spMkLst>
        </pc:spChg>
        <pc:spChg chg="add del mod">
          <ac:chgData name="Adrian Kisliuk" userId="81f189f0-3ed9-4f29-a7b1-770f7af93676" providerId="ADAL" clId="{A635875F-BE0D-4938-9F04-46F82588313B}" dt="2021-03-01T12:02:59.607" v="235" actId="478"/>
          <ac:spMkLst>
            <pc:docMk/>
            <pc:sldMk cId="2281607591" sldId="815"/>
            <ac:spMk id="16" creationId="{DD9321AC-2463-4CB4-84F9-3AA4829F3526}"/>
          </ac:spMkLst>
        </pc:spChg>
        <pc:spChg chg="add del mod">
          <ac:chgData name="Adrian Kisliuk" userId="81f189f0-3ed9-4f29-a7b1-770f7af93676" providerId="ADAL" clId="{A635875F-BE0D-4938-9F04-46F82588313B}" dt="2021-03-01T12:03:00.911" v="236" actId="478"/>
          <ac:spMkLst>
            <pc:docMk/>
            <pc:sldMk cId="2281607591" sldId="815"/>
            <ac:spMk id="17" creationId="{49D5377E-4C22-4511-9590-91774F049F20}"/>
          </ac:spMkLst>
        </pc:spChg>
        <pc:spChg chg="mod">
          <ac:chgData name="Adrian Kisliuk" userId="81f189f0-3ed9-4f29-a7b1-770f7af93676" providerId="ADAL" clId="{A635875F-BE0D-4938-9F04-46F82588313B}" dt="2021-03-01T12:04:26.974" v="267" actId="1076"/>
          <ac:spMkLst>
            <pc:docMk/>
            <pc:sldMk cId="2281607591" sldId="815"/>
            <ac:spMk id="21" creationId="{00000000-0000-0000-0000-000000000000}"/>
          </ac:spMkLst>
        </pc:spChg>
        <pc:spChg chg="del">
          <ac:chgData name="Adrian Kisliuk" userId="81f189f0-3ed9-4f29-a7b1-770f7af93676" providerId="ADAL" clId="{A635875F-BE0D-4938-9F04-46F82588313B}" dt="2021-03-01T11:56:22.895" v="172" actId="478"/>
          <ac:spMkLst>
            <pc:docMk/>
            <pc:sldMk cId="2281607591" sldId="815"/>
            <ac:spMk id="22" creationId="{00000000-0000-0000-0000-000000000000}"/>
          </ac:spMkLst>
        </pc:spChg>
        <pc:spChg chg="mod">
          <ac:chgData name="Adrian Kisliuk" userId="81f189f0-3ed9-4f29-a7b1-770f7af93676" providerId="ADAL" clId="{A635875F-BE0D-4938-9F04-46F82588313B}" dt="2021-03-01T12:04:26.974" v="267" actId="1076"/>
          <ac:spMkLst>
            <pc:docMk/>
            <pc:sldMk cId="2281607591" sldId="815"/>
            <ac:spMk id="23" creationId="{00000000-0000-0000-0000-000000000000}"/>
          </ac:spMkLst>
        </pc:spChg>
        <pc:spChg chg="del">
          <ac:chgData name="Adrian Kisliuk" userId="81f189f0-3ed9-4f29-a7b1-770f7af93676" providerId="ADAL" clId="{A635875F-BE0D-4938-9F04-46F82588313B}" dt="2021-03-01T11:56:20.035" v="171" actId="478"/>
          <ac:spMkLst>
            <pc:docMk/>
            <pc:sldMk cId="2281607591" sldId="815"/>
            <ac:spMk id="24" creationId="{00000000-0000-0000-0000-000000000000}"/>
          </ac:spMkLst>
        </pc:spChg>
        <pc:spChg chg="add mod">
          <ac:chgData name="Adrian Kisliuk" userId="81f189f0-3ed9-4f29-a7b1-770f7af93676" providerId="ADAL" clId="{A635875F-BE0D-4938-9F04-46F82588313B}" dt="2021-03-01T14:14:56.447" v="2674" actId="207"/>
          <ac:spMkLst>
            <pc:docMk/>
            <pc:sldMk cId="2281607591" sldId="815"/>
            <ac:spMk id="26" creationId="{CE1C3E13-AF8F-4301-B411-986CE84A3DD5}"/>
          </ac:spMkLst>
        </pc:spChg>
        <pc:spChg chg="add mod">
          <ac:chgData name="Adrian Kisliuk" userId="81f189f0-3ed9-4f29-a7b1-770f7af93676" providerId="ADAL" clId="{A635875F-BE0D-4938-9F04-46F82588313B}" dt="2021-03-01T12:14:42.365" v="399" actId="2711"/>
          <ac:spMkLst>
            <pc:docMk/>
            <pc:sldMk cId="2281607591" sldId="815"/>
            <ac:spMk id="28" creationId="{EBCF4F41-59E1-4F76-BE07-8DD6A2304129}"/>
          </ac:spMkLst>
        </pc:spChg>
        <pc:spChg chg="add mod">
          <ac:chgData name="Adrian Kisliuk" userId="81f189f0-3ed9-4f29-a7b1-770f7af93676" providerId="ADAL" clId="{A635875F-BE0D-4938-9F04-46F82588313B}" dt="2021-03-01T14:14:56.447" v="2674" actId="207"/>
          <ac:spMkLst>
            <pc:docMk/>
            <pc:sldMk cId="2281607591" sldId="815"/>
            <ac:spMk id="29" creationId="{17760F75-D6E9-4BB1-BA35-50F4ACDBFC19}"/>
          </ac:spMkLst>
        </pc:spChg>
        <pc:spChg chg="add mod">
          <ac:chgData name="Adrian Kisliuk" userId="81f189f0-3ed9-4f29-a7b1-770f7af93676" providerId="ADAL" clId="{A635875F-BE0D-4938-9F04-46F82588313B}" dt="2021-03-01T12:15:02.226" v="400" actId="108"/>
          <ac:spMkLst>
            <pc:docMk/>
            <pc:sldMk cId="2281607591" sldId="815"/>
            <ac:spMk id="34" creationId="{BCE562CE-3651-4735-9919-32B7A4CF5B77}"/>
          </ac:spMkLst>
        </pc:spChg>
        <pc:spChg chg="add mod">
          <ac:chgData name="Adrian Kisliuk" userId="81f189f0-3ed9-4f29-a7b1-770f7af93676" providerId="ADAL" clId="{A635875F-BE0D-4938-9F04-46F82588313B}" dt="2021-03-01T14:14:56.447" v="2674" actId="207"/>
          <ac:spMkLst>
            <pc:docMk/>
            <pc:sldMk cId="2281607591" sldId="815"/>
            <ac:spMk id="35" creationId="{92CE1BAE-A30A-4391-8B6F-C63DAB1F3227}"/>
          </ac:spMkLst>
        </pc:spChg>
        <pc:spChg chg="add mod">
          <ac:chgData name="Adrian Kisliuk" userId="81f189f0-3ed9-4f29-a7b1-770f7af93676" providerId="ADAL" clId="{A635875F-BE0D-4938-9F04-46F82588313B}" dt="2021-03-01T14:14:56.447" v="2674" actId="207"/>
          <ac:spMkLst>
            <pc:docMk/>
            <pc:sldMk cId="2281607591" sldId="815"/>
            <ac:spMk id="36" creationId="{BEFA7745-1FDD-44B7-9596-EF8B16C4B236}"/>
          </ac:spMkLst>
        </pc:spChg>
        <pc:picChg chg="add del mod">
          <ac:chgData name="Adrian Kisliuk" userId="81f189f0-3ed9-4f29-a7b1-770f7af93676" providerId="ADAL" clId="{A635875F-BE0D-4938-9F04-46F82588313B}" dt="2021-03-01T11:58:14.610" v="178" actId="478"/>
          <ac:picMkLst>
            <pc:docMk/>
            <pc:sldMk cId="2281607591" sldId="815"/>
            <ac:picMk id="25" creationId="{15BC76E3-6669-40FE-A5B6-06EF9D994DA2}"/>
          </ac:picMkLst>
        </pc:picChg>
        <pc:cxnChg chg="add mod">
          <ac:chgData name="Adrian Kisliuk" userId="81f189f0-3ed9-4f29-a7b1-770f7af93676" providerId="ADAL" clId="{A635875F-BE0D-4938-9F04-46F82588313B}" dt="2021-03-01T12:10:50.227" v="368" actId="14100"/>
          <ac:cxnSpMkLst>
            <pc:docMk/>
            <pc:sldMk cId="2281607591" sldId="815"/>
            <ac:cxnSpMk id="10" creationId="{358A171D-C672-4196-9360-80C5160B1063}"/>
          </ac:cxnSpMkLst>
        </pc:cxnChg>
        <pc:cxnChg chg="add del mod">
          <ac:chgData name="Adrian Kisliuk" userId="81f189f0-3ed9-4f29-a7b1-770f7af93676" providerId="ADAL" clId="{A635875F-BE0D-4938-9F04-46F82588313B}" dt="2021-03-01T12:06:22.349" v="281" actId="21"/>
          <ac:cxnSpMkLst>
            <pc:docMk/>
            <pc:sldMk cId="2281607591" sldId="815"/>
            <ac:cxnSpMk id="12" creationId="{40B2F90F-F0B1-4F54-946C-4657843B76F7}"/>
          </ac:cxnSpMkLst>
        </pc:cxnChg>
        <pc:cxnChg chg="add del mod">
          <ac:chgData name="Adrian Kisliuk" userId="81f189f0-3ed9-4f29-a7b1-770f7af93676" providerId="ADAL" clId="{A635875F-BE0D-4938-9F04-46F82588313B}" dt="2021-03-01T12:03:41.793" v="251" actId="478"/>
          <ac:cxnSpMkLst>
            <pc:docMk/>
            <pc:sldMk cId="2281607591" sldId="815"/>
            <ac:cxnSpMk id="18" creationId="{19C97C80-D752-4E70-A599-A962B811D43E}"/>
          </ac:cxnSpMkLst>
        </pc:cxnChg>
        <pc:cxnChg chg="add mod">
          <ac:chgData name="Adrian Kisliuk" userId="81f189f0-3ed9-4f29-a7b1-770f7af93676" providerId="ADAL" clId="{A635875F-BE0D-4938-9F04-46F82588313B}" dt="2021-03-01T12:06:59.087" v="333" actId="1036"/>
          <ac:cxnSpMkLst>
            <pc:docMk/>
            <pc:sldMk cId="2281607591" sldId="815"/>
            <ac:cxnSpMk id="19" creationId="{FDD861AD-2623-4DFE-BE15-0320BD4DED87}"/>
          </ac:cxnSpMkLst>
        </pc:cxnChg>
        <pc:cxnChg chg="add del mod">
          <ac:chgData name="Adrian Kisliuk" userId="81f189f0-3ed9-4f29-a7b1-770f7af93676" providerId="ADAL" clId="{A635875F-BE0D-4938-9F04-46F82588313B}" dt="2021-03-01T12:03:01.543" v="237" actId="478"/>
          <ac:cxnSpMkLst>
            <pc:docMk/>
            <pc:sldMk cId="2281607591" sldId="815"/>
            <ac:cxnSpMk id="20" creationId="{060B6F6E-EA97-4911-B811-CB91C2BEEE57}"/>
          </ac:cxnSpMkLst>
        </pc:cxnChg>
        <pc:cxnChg chg="add mod">
          <ac:chgData name="Adrian Kisliuk" userId="81f189f0-3ed9-4f29-a7b1-770f7af93676" providerId="ADAL" clId="{A635875F-BE0D-4938-9F04-46F82588313B}" dt="2021-03-01T12:15:33.023" v="402" actId="208"/>
          <ac:cxnSpMkLst>
            <pc:docMk/>
            <pc:sldMk cId="2281607591" sldId="815"/>
            <ac:cxnSpMk id="27" creationId="{F23228C4-B5F4-4412-B4C7-E4B06BBF02CA}"/>
          </ac:cxnSpMkLst>
        </pc:cxnChg>
        <pc:cxnChg chg="add mod">
          <ac:chgData name="Adrian Kisliuk" userId="81f189f0-3ed9-4f29-a7b1-770f7af93676" providerId="ADAL" clId="{A635875F-BE0D-4938-9F04-46F82588313B}" dt="2021-03-01T12:07:29.981" v="338" actId="14100"/>
          <ac:cxnSpMkLst>
            <pc:docMk/>
            <pc:sldMk cId="2281607591" sldId="815"/>
            <ac:cxnSpMk id="30" creationId="{A7FA36C7-4ED0-4BBA-B572-C13E9A3C751E}"/>
          </ac:cxnSpMkLst>
        </pc:cxnChg>
      </pc:sldChg>
      <pc:sldChg chg="add del setBg">
        <pc:chgData name="Adrian Kisliuk" userId="81f189f0-3ed9-4f29-a7b1-770f7af93676" providerId="ADAL" clId="{A635875F-BE0D-4938-9F04-46F82588313B}" dt="2021-03-01T11:10:10.932" v="9" actId="47"/>
        <pc:sldMkLst>
          <pc:docMk/>
          <pc:sldMk cId="3032447974" sldId="815"/>
        </pc:sldMkLst>
      </pc:sldChg>
      <pc:sldChg chg="addSp delSp modSp add mod ord chgLayout">
        <pc:chgData name="Adrian Kisliuk" userId="81f189f0-3ed9-4f29-a7b1-770f7af93676" providerId="ADAL" clId="{A635875F-BE0D-4938-9F04-46F82588313B}" dt="2021-03-01T15:31:58.553" v="2916"/>
        <pc:sldMkLst>
          <pc:docMk/>
          <pc:sldMk cId="2209464991" sldId="816"/>
        </pc:sldMkLst>
        <pc:spChg chg="add del">
          <ac:chgData name="Adrian Kisliuk" userId="81f189f0-3ed9-4f29-a7b1-770f7af93676" providerId="ADAL" clId="{A635875F-BE0D-4938-9F04-46F82588313B}" dt="2021-03-01T13:28:15.467" v="1905"/>
          <ac:spMkLst>
            <pc:docMk/>
            <pc:sldMk cId="2209464991" sldId="816"/>
            <ac:spMk id="2" creationId="{4F6FD40C-5D3B-441F-9398-E47965DB1B26}"/>
          </ac:spMkLst>
        </pc:spChg>
        <pc:spChg chg="mod ord">
          <ac:chgData name="Adrian Kisliuk" userId="81f189f0-3ed9-4f29-a7b1-770f7af93676" providerId="ADAL" clId="{A635875F-BE0D-4938-9F04-46F82588313B}" dt="2021-03-01T14:16:20.651" v="2678" actId="207"/>
          <ac:spMkLst>
            <pc:docMk/>
            <pc:sldMk cId="2209464991" sldId="816"/>
            <ac:spMk id="3" creationId="{00000000-0000-0000-0000-000000000000}"/>
          </ac:spMkLst>
        </pc:spChg>
        <pc:spChg chg="mod ord">
          <ac:chgData name="Adrian Kisliuk" userId="81f189f0-3ed9-4f29-a7b1-770f7af93676" providerId="ADAL" clId="{A635875F-BE0D-4938-9F04-46F82588313B}" dt="2021-03-01T14:14:27.823" v="2668" actId="20577"/>
          <ac:spMkLst>
            <pc:docMk/>
            <pc:sldMk cId="2209464991" sldId="816"/>
            <ac:spMk id="4" creationId="{00000000-0000-0000-0000-000000000000}"/>
          </ac:spMkLst>
        </pc:spChg>
        <pc:spChg chg="add del mod">
          <ac:chgData name="Adrian Kisliuk" userId="81f189f0-3ed9-4f29-a7b1-770f7af93676" providerId="ADAL" clId="{A635875F-BE0D-4938-9F04-46F82588313B}" dt="2021-03-01T13:28:15.101" v="1904"/>
          <ac:spMkLst>
            <pc:docMk/>
            <pc:sldMk cId="2209464991" sldId="816"/>
            <ac:spMk id="5" creationId="{53729421-96A3-4009-AA0B-F4BF19ED2C6F}"/>
          </ac:spMkLst>
        </pc:spChg>
        <pc:spChg chg="mod">
          <ac:chgData name="Adrian Kisliuk" userId="81f189f0-3ed9-4f29-a7b1-770f7af93676" providerId="ADAL" clId="{A635875F-BE0D-4938-9F04-46F82588313B}" dt="2021-03-01T14:13:46.706" v="2657" actId="207"/>
          <ac:spMkLst>
            <pc:docMk/>
            <pc:sldMk cId="2209464991" sldId="816"/>
            <ac:spMk id="9" creationId="{D6E18E4B-4E9B-4CFD-AF88-29C3A515D1B4}"/>
          </ac:spMkLst>
        </pc:spChg>
        <pc:spChg chg="mod">
          <ac:chgData name="Adrian Kisliuk" userId="81f189f0-3ed9-4f29-a7b1-770f7af93676" providerId="ADAL" clId="{A635875F-BE0D-4938-9F04-46F82588313B}" dt="2021-03-01T14:13:46.706" v="2657" actId="207"/>
          <ac:spMkLst>
            <pc:docMk/>
            <pc:sldMk cId="2209464991" sldId="816"/>
            <ac:spMk id="11" creationId="{4F40012B-730E-4563-9DD9-41229AD9971E}"/>
          </ac:spMkLst>
        </pc:spChg>
        <pc:spChg chg="mod">
          <ac:chgData name="Adrian Kisliuk" userId="81f189f0-3ed9-4f29-a7b1-770f7af93676" providerId="ADAL" clId="{A635875F-BE0D-4938-9F04-46F82588313B}" dt="2021-03-01T14:13:46.706" v="2657" actId="207"/>
          <ac:spMkLst>
            <pc:docMk/>
            <pc:sldMk cId="2209464991" sldId="816"/>
            <ac:spMk id="15" creationId="{438E61C8-3310-417E-857B-5FE9009B583C}"/>
          </ac:spMkLst>
        </pc:spChg>
        <pc:spChg chg="del">
          <ac:chgData name="Adrian Kisliuk" userId="81f189f0-3ed9-4f29-a7b1-770f7af93676" providerId="ADAL" clId="{A635875F-BE0D-4938-9F04-46F82588313B}" dt="2021-03-01T12:17:41.081" v="413" actId="478"/>
          <ac:spMkLst>
            <pc:docMk/>
            <pc:sldMk cId="2209464991" sldId="816"/>
            <ac:spMk id="21" creationId="{00000000-0000-0000-0000-000000000000}"/>
          </ac:spMkLst>
        </pc:spChg>
        <pc:spChg chg="del">
          <ac:chgData name="Adrian Kisliuk" userId="81f189f0-3ed9-4f29-a7b1-770f7af93676" providerId="ADAL" clId="{A635875F-BE0D-4938-9F04-46F82588313B}" dt="2021-03-01T12:17:43.565" v="414" actId="478"/>
          <ac:spMkLst>
            <pc:docMk/>
            <pc:sldMk cId="2209464991" sldId="816"/>
            <ac:spMk id="23" creationId="{00000000-0000-0000-0000-000000000000}"/>
          </ac:spMkLst>
        </pc:spChg>
        <pc:spChg chg="mod">
          <ac:chgData name="Adrian Kisliuk" userId="81f189f0-3ed9-4f29-a7b1-770f7af93676" providerId="ADAL" clId="{A635875F-BE0D-4938-9F04-46F82588313B}" dt="2021-03-01T15:28:53.480" v="2802" actId="20577"/>
          <ac:spMkLst>
            <pc:docMk/>
            <pc:sldMk cId="2209464991" sldId="816"/>
            <ac:spMk id="26" creationId="{CE1C3E13-AF8F-4301-B411-986CE84A3DD5}"/>
          </ac:spMkLst>
        </pc:spChg>
        <pc:spChg chg="mod">
          <ac:chgData name="Adrian Kisliuk" userId="81f189f0-3ed9-4f29-a7b1-770f7af93676" providerId="ADAL" clId="{A635875F-BE0D-4938-9F04-46F82588313B}" dt="2021-03-01T14:13:46.706" v="2657" actId="207"/>
          <ac:spMkLst>
            <pc:docMk/>
            <pc:sldMk cId="2209464991" sldId="816"/>
            <ac:spMk id="28" creationId="{EBCF4F41-59E1-4F76-BE07-8DD6A2304129}"/>
          </ac:spMkLst>
        </pc:spChg>
        <pc:spChg chg="mod">
          <ac:chgData name="Adrian Kisliuk" userId="81f189f0-3ed9-4f29-a7b1-770f7af93676" providerId="ADAL" clId="{A635875F-BE0D-4938-9F04-46F82588313B}" dt="2021-03-01T14:14:06.374" v="2661" actId="207"/>
          <ac:spMkLst>
            <pc:docMk/>
            <pc:sldMk cId="2209464991" sldId="816"/>
            <ac:spMk id="29" creationId="{17760F75-D6E9-4BB1-BA35-50F4ACDBFC19}"/>
          </ac:spMkLst>
        </pc:spChg>
        <pc:spChg chg="mod">
          <ac:chgData name="Adrian Kisliuk" userId="81f189f0-3ed9-4f29-a7b1-770f7af93676" providerId="ADAL" clId="{A635875F-BE0D-4938-9F04-46F82588313B}" dt="2021-03-01T14:13:46.706" v="2657" actId="207"/>
          <ac:spMkLst>
            <pc:docMk/>
            <pc:sldMk cId="2209464991" sldId="816"/>
            <ac:spMk id="34" creationId="{BCE562CE-3651-4735-9919-32B7A4CF5B77}"/>
          </ac:spMkLst>
        </pc:spChg>
        <pc:spChg chg="mod">
          <ac:chgData name="Adrian Kisliuk" userId="81f189f0-3ed9-4f29-a7b1-770f7af93676" providerId="ADAL" clId="{A635875F-BE0D-4938-9F04-46F82588313B}" dt="2021-03-01T14:14:10.539" v="2663" actId="207"/>
          <ac:spMkLst>
            <pc:docMk/>
            <pc:sldMk cId="2209464991" sldId="816"/>
            <ac:spMk id="35" creationId="{92CE1BAE-A30A-4391-8B6F-C63DAB1F3227}"/>
          </ac:spMkLst>
        </pc:spChg>
        <pc:spChg chg="mod">
          <ac:chgData name="Adrian Kisliuk" userId="81f189f0-3ed9-4f29-a7b1-770f7af93676" providerId="ADAL" clId="{A635875F-BE0D-4938-9F04-46F82588313B}" dt="2021-03-01T14:14:10.539" v="2663" actId="207"/>
          <ac:spMkLst>
            <pc:docMk/>
            <pc:sldMk cId="2209464991" sldId="816"/>
            <ac:spMk id="36" creationId="{BEFA7745-1FDD-44B7-9596-EF8B16C4B236}"/>
          </ac:spMkLst>
        </pc:spChg>
        <pc:cxnChg chg="mod">
          <ac:chgData name="Adrian Kisliuk" userId="81f189f0-3ed9-4f29-a7b1-770f7af93676" providerId="ADAL" clId="{A635875F-BE0D-4938-9F04-46F82588313B}" dt="2021-03-01T13:30:25.519" v="2095" actId="1036"/>
          <ac:cxnSpMkLst>
            <pc:docMk/>
            <pc:sldMk cId="2209464991" sldId="816"/>
            <ac:cxnSpMk id="10" creationId="{358A171D-C672-4196-9360-80C5160B1063}"/>
          </ac:cxnSpMkLst>
        </pc:cxnChg>
        <pc:cxnChg chg="mod">
          <ac:chgData name="Adrian Kisliuk" userId="81f189f0-3ed9-4f29-a7b1-770f7af93676" providerId="ADAL" clId="{A635875F-BE0D-4938-9F04-46F82588313B}" dt="2021-03-01T13:30:25.519" v="2095" actId="1036"/>
          <ac:cxnSpMkLst>
            <pc:docMk/>
            <pc:sldMk cId="2209464991" sldId="816"/>
            <ac:cxnSpMk id="19" creationId="{FDD861AD-2623-4DFE-BE15-0320BD4DED87}"/>
          </ac:cxnSpMkLst>
        </pc:cxnChg>
        <pc:cxnChg chg="mod">
          <ac:chgData name="Adrian Kisliuk" userId="81f189f0-3ed9-4f29-a7b1-770f7af93676" providerId="ADAL" clId="{A635875F-BE0D-4938-9F04-46F82588313B}" dt="2021-03-01T13:30:25.519" v="2095" actId="1036"/>
          <ac:cxnSpMkLst>
            <pc:docMk/>
            <pc:sldMk cId="2209464991" sldId="816"/>
            <ac:cxnSpMk id="27" creationId="{F23228C4-B5F4-4412-B4C7-E4B06BBF02CA}"/>
          </ac:cxnSpMkLst>
        </pc:cxnChg>
        <pc:cxnChg chg="mod">
          <ac:chgData name="Adrian Kisliuk" userId="81f189f0-3ed9-4f29-a7b1-770f7af93676" providerId="ADAL" clId="{A635875F-BE0D-4938-9F04-46F82588313B}" dt="2021-03-01T13:30:25.519" v="2095" actId="1036"/>
          <ac:cxnSpMkLst>
            <pc:docMk/>
            <pc:sldMk cId="2209464991" sldId="816"/>
            <ac:cxnSpMk id="30" creationId="{A7FA36C7-4ED0-4BBA-B572-C13E9A3C751E}"/>
          </ac:cxnSpMkLst>
        </pc:cxnChg>
      </pc:sldChg>
      <pc:sldChg chg="modSp new add del mod">
        <pc:chgData name="Adrian Kisliuk" userId="81f189f0-3ed9-4f29-a7b1-770f7af93676" providerId="ADAL" clId="{A635875F-BE0D-4938-9F04-46F82588313B}" dt="2021-03-01T13:37:12.066" v="2129" actId="47"/>
        <pc:sldMkLst>
          <pc:docMk/>
          <pc:sldMk cId="2960690762" sldId="817"/>
        </pc:sldMkLst>
        <pc:spChg chg="mod">
          <ac:chgData name="Adrian Kisliuk" userId="81f189f0-3ed9-4f29-a7b1-770f7af93676" providerId="ADAL" clId="{A635875F-BE0D-4938-9F04-46F82588313B}" dt="2021-03-01T13:33:23.283" v="2101" actId="20577"/>
          <ac:spMkLst>
            <pc:docMk/>
            <pc:sldMk cId="2960690762" sldId="817"/>
            <ac:spMk id="2" creationId="{144BDD01-7145-46D6-B111-17F798E7FF03}"/>
          </ac:spMkLst>
        </pc:spChg>
      </pc:sldChg>
      <pc:sldChg chg="addSp modSp new add mod ord">
        <pc:chgData name="Adrian Kisliuk" userId="81f189f0-3ed9-4f29-a7b1-770f7af93676" providerId="ADAL" clId="{A635875F-BE0D-4938-9F04-46F82588313B}" dt="2021-03-01T14:18:24.749" v="2694" actId="1036"/>
        <pc:sldMkLst>
          <pc:docMk/>
          <pc:sldMk cId="3075530014" sldId="817"/>
        </pc:sldMkLst>
        <pc:spChg chg="mod">
          <ac:chgData name="Adrian Kisliuk" userId="81f189f0-3ed9-4f29-a7b1-770f7af93676" providerId="ADAL" clId="{A635875F-BE0D-4938-9F04-46F82588313B}" dt="2021-03-01T14:14:38.338" v="2670" actId="207"/>
          <ac:spMkLst>
            <pc:docMk/>
            <pc:sldMk cId="3075530014" sldId="817"/>
            <ac:spMk id="2" creationId="{736DD3AB-E3D8-451A-A2E0-B5EE4A7F1EDB}"/>
          </ac:spMkLst>
        </pc:spChg>
        <pc:spChg chg="mod">
          <ac:chgData name="Adrian Kisliuk" userId="81f189f0-3ed9-4f29-a7b1-770f7af93676" providerId="ADAL" clId="{A635875F-BE0D-4938-9F04-46F82588313B}" dt="2021-03-01T14:14:38.338" v="2670" actId="207"/>
          <ac:spMkLst>
            <pc:docMk/>
            <pc:sldMk cId="3075530014" sldId="817"/>
            <ac:spMk id="3" creationId="{15765966-5C73-4564-BEF2-375082945725}"/>
          </ac:spMkLst>
        </pc:spChg>
        <pc:spChg chg="add mod">
          <ac:chgData name="Adrian Kisliuk" userId="81f189f0-3ed9-4f29-a7b1-770f7af93676" providerId="ADAL" clId="{A635875F-BE0D-4938-9F04-46F82588313B}" dt="2021-03-01T14:14:38.338" v="2670" actId="207"/>
          <ac:spMkLst>
            <pc:docMk/>
            <pc:sldMk cId="3075530014" sldId="817"/>
            <ac:spMk id="7" creationId="{E9012687-F2EB-4588-B09C-6A095CE9CAD4}"/>
          </ac:spMkLst>
        </pc:spChg>
        <pc:spChg chg="add mod">
          <ac:chgData name="Adrian Kisliuk" userId="81f189f0-3ed9-4f29-a7b1-770f7af93676" providerId="ADAL" clId="{A635875F-BE0D-4938-9F04-46F82588313B}" dt="2021-03-01T14:18:24.749" v="2694" actId="1036"/>
          <ac:spMkLst>
            <pc:docMk/>
            <pc:sldMk cId="3075530014" sldId="817"/>
            <ac:spMk id="8" creationId="{B4C0E1C1-EE06-4550-8D30-EC13C78F6970}"/>
          </ac:spMkLst>
        </pc:spChg>
        <pc:picChg chg="add mod">
          <ac:chgData name="Adrian Kisliuk" userId="81f189f0-3ed9-4f29-a7b1-770f7af93676" providerId="ADAL" clId="{A635875F-BE0D-4938-9F04-46F82588313B}" dt="2021-03-01T14:18:20.789" v="2682" actId="1076"/>
          <ac:picMkLst>
            <pc:docMk/>
            <pc:sldMk cId="3075530014" sldId="817"/>
            <ac:picMk id="5" creationId="{35221591-890D-4F73-BB5F-33BA3CCAC55A}"/>
          </ac:picMkLst>
        </pc:picChg>
      </pc:sldChg>
      <pc:sldChg chg="modSp new add mod">
        <pc:chgData name="Adrian Kisliuk" userId="81f189f0-3ed9-4f29-a7b1-770f7af93676" providerId="ADAL" clId="{A635875F-BE0D-4938-9F04-46F82588313B}" dt="2021-03-01T14:14:20.080" v="2665" actId="207"/>
        <pc:sldMkLst>
          <pc:docMk/>
          <pc:sldMk cId="1677739735" sldId="818"/>
        </pc:sldMkLst>
        <pc:spChg chg="mod">
          <ac:chgData name="Adrian Kisliuk" userId="81f189f0-3ed9-4f29-a7b1-770f7af93676" providerId="ADAL" clId="{A635875F-BE0D-4938-9F04-46F82588313B}" dt="2021-03-01T14:14:20.080" v="2665" actId="207"/>
          <ac:spMkLst>
            <pc:docMk/>
            <pc:sldMk cId="1677739735" sldId="818"/>
            <ac:spMk id="2" creationId="{50E68478-280C-4B71-A2DA-1A37303CE9F7}"/>
          </ac:spMkLst>
        </pc:spChg>
        <pc:spChg chg="mod">
          <ac:chgData name="Adrian Kisliuk" userId="81f189f0-3ed9-4f29-a7b1-770f7af93676" providerId="ADAL" clId="{A635875F-BE0D-4938-9F04-46F82588313B}" dt="2021-03-01T14:14:16.568" v="2664" actId="207"/>
          <ac:spMkLst>
            <pc:docMk/>
            <pc:sldMk cId="1677739735" sldId="818"/>
            <ac:spMk id="3" creationId="{5CD78C9C-FC67-400A-AB19-9FAF630ADB32}"/>
          </ac:spMkLst>
        </pc:spChg>
      </pc:sldChg>
      <pc:sldChg chg="add setBg">
        <pc:chgData name="Adrian Kisliuk" userId="81f189f0-3ed9-4f29-a7b1-770f7af93676" providerId="ADAL" clId="{A635875F-BE0D-4938-9F04-46F82588313B}" dt="2021-03-01T14:28:11.801" v="2707"/>
        <pc:sldMkLst>
          <pc:docMk/>
          <pc:sldMk cId="967380677" sldId="819"/>
        </pc:sldMkLst>
      </pc:sldChg>
      <pc:sldChg chg="delSp modSp add mod">
        <pc:chgData name="Adrian Kisliuk" userId="81f189f0-3ed9-4f29-a7b1-770f7af93676" providerId="ADAL" clId="{A635875F-BE0D-4938-9F04-46F82588313B}" dt="2021-03-01T16:22:37.763" v="3567" actId="20577"/>
        <pc:sldMkLst>
          <pc:docMk/>
          <pc:sldMk cId="2509517720" sldId="820"/>
        </pc:sldMkLst>
        <pc:spChg chg="mod">
          <ac:chgData name="Adrian Kisliuk" userId="81f189f0-3ed9-4f29-a7b1-770f7af93676" providerId="ADAL" clId="{A635875F-BE0D-4938-9F04-46F82588313B}" dt="2021-03-01T16:22:37.763" v="3567" actId="20577"/>
          <ac:spMkLst>
            <pc:docMk/>
            <pc:sldMk cId="2509517720" sldId="820"/>
            <ac:spMk id="3" creationId="{00000000-0000-0000-0000-000000000000}"/>
          </ac:spMkLst>
        </pc:spChg>
        <pc:spChg chg="mod">
          <ac:chgData name="Adrian Kisliuk" userId="81f189f0-3ed9-4f29-a7b1-770f7af93676" providerId="ADAL" clId="{A635875F-BE0D-4938-9F04-46F82588313B}" dt="2021-03-01T16:21:17.248" v="3548" actId="20577"/>
          <ac:spMkLst>
            <pc:docMk/>
            <pc:sldMk cId="2509517720" sldId="820"/>
            <ac:spMk id="4" creationId="{00000000-0000-0000-0000-000000000000}"/>
          </ac:spMkLst>
        </pc:spChg>
        <pc:spChg chg="del">
          <ac:chgData name="Adrian Kisliuk" userId="81f189f0-3ed9-4f29-a7b1-770f7af93676" providerId="ADAL" clId="{A635875F-BE0D-4938-9F04-46F82588313B}" dt="2021-03-01T15:30:36.744" v="2844" actId="478"/>
          <ac:spMkLst>
            <pc:docMk/>
            <pc:sldMk cId="2509517720" sldId="820"/>
            <ac:spMk id="9" creationId="{D6E18E4B-4E9B-4CFD-AF88-29C3A515D1B4}"/>
          </ac:spMkLst>
        </pc:spChg>
        <pc:spChg chg="mod">
          <ac:chgData name="Adrian Kisliuk" userId="81f189f0-3ed9-4f29-a7b1-770f7af93676" providerId="ADAL" clId="{A635875F-BE0D-4938-9F04-46F82588313B}" dt="2021-03-01T16:10:03.659" v="3490" actId="1035"/>
          <ac:spMkLst>
            <pc:docMk/>
            <pc:sldMk cId="2509517720" sldId="820"/>
            <ac:spMk id="11" creationId="{4F40012B-730E-4563-9DD9-41229AD9971E}"/>
          </ac:spMkLst>
        </pc:spChg>
        <pc:spChg chg="del">
          <ac:chgData name="Adrian Kisliuk" userId="81f189f0-3ed9-4f29-a7b1-770f7af93676" providerId="ADAL" clId="{A635875F-BE0D-4938-9F04-46F82588313B}" dt="2021-03-01T15:30:32.968" v="2843" actId="478"/>
          <ac:spMkLst>
            <pc:docMk/>
            <pc:sldMk cId="2509517720" sldId="820"/>
            <ac:spMk id="15" creationId="{438E61C8-3310-417E-857B-5FE9009B583C}"/>
          </ac:spMkLst>
        </pc:spChg>
        <pc:spChg chg="mod">
          <ac:chgData name="Adrian Kisliuk" userId="81f189f0-3ed9-4f29-a7b1-770f7af93676" providerId="ADAL" clId="{A635875F-BE0D-4938-9F04-46F82588313B}" dt="2021-03-01T16:10:03.659" v="3490" actId="1035"/>
          <ac:spMkLst>
            <pc:docMk/>
            <pc:sldMk cId="2509517720" sldId="820"/>
            <ac:spMk id="26" creationId="{CE1C3E13-AF8F-4301-B411-986CE84A3DD5}"/>
          </ac:spMkLst>
        </pc:spChg>
        <pc:spChg chg="mod">
          <ac:chgData name="Adrian Kisliuk" userId="81f189f0-3ed9-4f29-a7b1-770f7af93676" providerId="ADAL" clId="{A635875F-BE0D-4938-9F04-46F82588313B}" dt="2021-03-01T16:10:03.659" v="3490" actId="1035"/>
          <ac:spMkLst>
            <pc:docMk/>
            <pc:sldMk cId="2509517720" sldId="820"/>
            <ac:spMk id="28" creationId="{EBCF4F41-59E1-4F76-BE07-8DD6A2304129}"/>
          </ac:spMkLst>
        </pc:spChg>
        <pc:spChg chg="mod">
          <ac:chgData name="Adrian Kisliuk" userId="81f189f0-3ed9-4f29-a7b1-770f7af93676" providerId="ADAL" clId="{A635875F-BE0D-4938-9F04-46F82588313B}" dt="2021-03-01T16:19:25.742" v="3507" actId="313"/>
          <ac:spMkLst>
            <pc:docMk/>
            <pc:sldMk cId="2509517720" sldId="820"/>
            <ac:spMk id="29" creationId="{17760F75-D6E9-4BB1-BA35-50F4ACDBFC19}"/>
          </ac:spMkLst>
        </pc:spChg>
        <pc:spChg chg="del">
          <ac:chgData name="Adrian Kisliuk" userId="81f189f0-3ed9-4f29-a7b1-770f7af93676" providerId="ADAL" clId="{A635875F-BE0D-4938-9F04-46F82588313B}" dt="2021-03-01T15:27:01.056" v="2711" actId="478"/>
          <ac:spMkLst>
            <pc:docMk/>
            <pc:sldMk cId="2509517720" sldId="820"/>
            <ac:spMk id="34" creationId="{BCE562CE-3651-4735-9919-32B7A4CF5B77}"/>
          </ac:spMkLst>
        </pc:spChg>
        <pc:spChg chg="del">
          <ac:chgData name="Adrian Kisliuk" userId="81f189f0-3ed9-4f29-a7b1-770f7af93676" providerId="ADAL" clId="{A635875F-BE0D-4938-9F04-46F82588313B}" dt="2021-03-01T15:27:01.056" v="2711" actId="478"/>
          <ac:spMkLst>
            <pc:docMk/>
            <pc:sldMk cId="2509517720" sldId="820"/>
            <ac:spMk id="35" creationId="{92CE1BAE-A30A-4391-8B6F-C63DAB1F3227}"/>
          </ac:spMkLst>
        </pc:spChg>
        <pc:spChg chg="del">
          <ac:chgData name="Adrian Kisliuk" userId="81f189f0-3ed9-4f29-a7b1-770f7af93676" providerId="ADAL" clId="{A635875F-BE0D-4938-9F04-46F82588313B}" dt="2021-03-01T15:27:01.056" v="2711" actId="478"/>
          <ac:spMkLst>
            <pc:docMk/>
            <pc:sldMk cId="2509517720" sldId="820"/>
            <ac:spMk id="36" creationId="{BEFA7745-1FDD-44B7-9596-EF8B16C4B236}"/>
          </ac:spMkLst>
        </pc:spChg>
        <pc:cxnChg chg="del">
          <ac:chgData name="Adrian Kisliuk" userId="81f189f0-3ed9-4f29-a7b1-770f7af93676" providerId="ADAL" clId="{A635875F-BE0D-4938-9F04-46F82588313B}" dt="2021-03-01T15:30:42.559" v="2846" actId="478"/>
          <ac:cxnSpMkLst>
            <pc:docMk/>
            <pc:sldMk cId="2509517720" sldId="820"/>
            <ac:cxnSpMk id="10" creationId="{358A171D-C672-4196-9360-80C5160B1063}"/>
          </ac:cxnSpMkLst>
        </pc:cxnChg>
        <pc:cxnChg chg="del">
          <ac:chgData name="Adrian Kisliuk" userId="81f189f0-3ed9-4f29-a7b1-770f7af93676" providerId="ADAL" clId="{A635875F-BE0D-4938-9F04-46F82588313B}" dt="2021-03-01T15:30:41.183" v="2845" actId="478"/>
          <ac:cxnSpMkLst>
            <pc:docMk/>
            <pc:sldMk cId="2509517720" sldId="820"/>
            <ac:cxnSpMk id="19" creationId="{FDD861AD-2623-4DFE-BE15-0320BD4DED87}"/>
          </ac:cxnSpMkLst>
        </pc:cxnChg>
        <pc:cxnChg chg="mod">
          <ac:chgData name="Adrian Kisliuk" userId="81f189f0-3ed9-4f29-a7b1-770f7af93676" providerId="ADAL" clId="{A635875F-BE0D-4938-9F04-46F82588313B}" dt="2021-03-01T16:10:03.659" v="3490" actId="1035"/>
          <ac:cxnSpMkLst>
            <pc:docMk/>
            <pc:sldMk cId="2509517720" sldId="820"/>
            <ac:cxnSpMk id="27" creationId="{F23228C4-B5F4-4412-B4C7-E4B06BBF02CA}"/>
          </ac:cxnSpMkLst>
        </pc:cxnChg>
        <pc:cxnChg chg="del">
          <ac:chgData name="Adrian Kisliuk" userId="81f189f0-3ed9-4f29-a7b1-770f7af93676" providerId="ADAL" clId="{A635875F-BE0D-4938-9F04-46F82588313B}" dt="2021-03-01T15:27:03.384" v="2712" actId="478"/>
          <ac:cxnSpMkLst>
            <pc:docMk/>
            <pc:sldMk cId="2509517720" sldId="820"/>
            <ac:cxnSpMk id="30" creationId="{A7FA36C7-4ED0-4BBA-B572-C13E9A3C751E}"/>
          </ac:cxnSpMkLst>
        </pc:cxnChg>
      </pc:sldChg>
      <pc:sldChg chg="addSp delSp modSp add mod ord">
        <pc:chgData name="Adrian Kisliuk" userId="81f189f0-3ed9-4f29-a7b1-770f7af93676" providerId="ADAL" clId="{A635875F-BE0D-4938-9F04-46F82588313B}" dt="2021-03-01T16:24:01.707" v="3571" actId="20577"/>
        <pc:sldMkLst>
          <pc:docMk/>
          <pc:sldMk cId="1161844579" sldId="821"/>
        </pc:sldMkLst>
        <pc:spChg chg="mod">
          <ac:chgData name="Adrian Kisliuk" userId="81f189f0-3ed9-4f29-a7b1-770f7af93676" providerId="ADAL" clId="{A635875F-BE0D-4938-9F04-46F82588313B}" dt="2021-03-01T15:33:27.478" v="2949" actId="20577"/>
          <ac:spMkLst>
            <pc:docMk/>
            <pc:sldMk cId="1161844579" sldId="821"/>
            <ac:spMk id="3" creationId="{00000000-0000-0000-0000-000000000000}"/>
          </ac:spMkLst>
        </pc:spChg>
        <pc:spChg chg="mod">
          <ac:chgData name="Adrian Kisliuk" userId="81f189f0-3ed9-4f29-a7b1-770f7af93676" providerId="ADAL" clId="{A635875F-BE0D-4938-9F04-46F82588313B}" dt="2021-03-01T16:21:27.410" v="3566" actId="20577"/>
          <ac:spMkLst>
            <pc:docMk/>
            <pc:sldMk cId="1161844579" sldId="821"/>
            <ac:spMk id="4" creationId="{00000000-0000-0000-0000-000000000000}"/>
          </ac:spMkLst>
        </pc:spChg>
        <pc:spChg chg="mod">
          <ac:chgData name="Adrian Kisliuk" userId="81f189f0-3ed9-4f29-a7b1-770f7af93676" providerId="ADAL" clId="{A635875F-BE0D-4938-9F04-46F82588313B}" dt="2021-03-01T15:33:46.319" v="2951" actId="1076"/>
          <ac:spMkLst>
            <pc:docMk/>
            <pc:sldMk cId="1161844579" sldId="821"/>
            <ac:spMk id="9" creationId="{D6E18E4B-4E9B-4CFD-AF88-29C3A515D1B4}"/>
          </ac:spMkLst>
        </pc:spChg>
        <pc:spChg chg="del">
          <ac:chgData name="Adrian Kisliuk" userId="81f189f0-3ed9-4f29-a7b1-770f7af93676" providerId="ADAL" clId="{A635875F-BE0D-4938-9F04-46F82588313B}" dt="2021-03-01T15:32:39.348" v="2928" actId="478"/>
          <ac:spMkLst>
            <pc:docMk/>
            <pc:sldMk cId="1161844579" sldId="821"/>
            <ac:spMk id="11" creationId="{4F40012B-730E-4563-9DD9-41229AD9971E}"/>
          </ac:spMkLst>
        </pc:spChg>
        <pc:spChg chg="mod">
          <ac:chgData name="Adrian Kisliuk" userId="81f189f0-3ed9-4f29-a7b1-770f7af93676" providerId="ADAL" clId="{A635875F-BE0D-4938-9F04-46F82588313B}" dt="2021-03-01T15:34:03.800" v="2952" actId="1076"/>
          <ac:spMkLst>
            <pc:docMk/>
            <pc:sldMk cId="1161844579" sldId="821"/>
            <ac:spMk id="15" creationId="{438E61C8-3310-417E-857B-5FE9009B583C}"/>
          </ac:spMkLst>
        </pc:spChg>
        <pc:spChg chg="add mod">
          <ac:chgData name="Adrian Kisliuk" userId="81f189f0-3ed9-4f29-a7b1-770f7af93676" providerId="ADAL" clId="{A635875F-BE0D-4938-9F04-46F82588313B}" dt="2021-03-01T15:33:46.319" v="2951" actId="1076"/>
          <ac:spMkLst>
            <pc:docMk/>
            <pc:sldMk cId="1161844579" sldId="821"/>
            <ac:spMk id="17" creationId="{28DC8D71-92A3-47AA-97BB-5BCFF31B461A}"/>
          </ac:spMkLst>
        </pc:spChg>
        <pc:spChg chg="add mod">
          <ac:chgData name="Adrian Kisliuk" userId="81f189f0-3ed9-4f29-a7b1-770f7af93676" providerId="ADAL" clId="{A635875F-BE0D-4938-9F04-46F82588313B}" dt="2021-03-01T16:24:01.707" v="3571" actId="20577"/>
          <ac:spMkLst>
            <pc:docMk/>
            <pc:sldMk cId="1161844579" sldId="821"/>
            <ac:spMk id="18" creationId="{A4FA0F6C-1044-40F3-A415-376719684F27}"/>
          </ac:spMkLst>
        </pc:spChg>
        <pc:spChg chg="add del mod">
          <ac:chgData name="Adrian Kisliuk" userId="81f189f0-3ed9-4f29-a7b1-770f7af93676" providerId="ADAL" clId="{A635875F-BE0D-4938-9F04-46F82588313B}" dt="2021-03-01T15:33:32.136" v="2950" actId="478"/>
          <ac:spMkLst>
            <pc:docMk/>
            <pc:sldMk cId="1161844579" sldId="821"/>
            <ac:spMk id="20" creationId="{BC687DBC-70A9-4914-8F9C-7A6130003E04}"/>
          </ac:spMkLst>
        </pc:spChg>
        <pc:spChg chg="del">
          <ac:chgData name="Adrian Kisliuk" userId="81f189f0-3ed9-4f29-a7b1-770f7af93676" providerId="ADAL" clId="{A635875F-BE0D-4938-9F04-46F82588313B}" dt="2021-03-01T15:32:26.486" v="2921" actId="478"/>
          <ac:spMkLst>
            <pc:docMk/>
            <pc:sldMk cId="1161844579" sldId="821"/>
            <ac:spMk id="26" creationId="{CE1C3E13-AF8F-4301-B411-986CE84A3DD5}"/>
          </ac:spMkLst>
        </pc:spChg>
        <pc:spChg chg="del">
          <ac:chgData name="Adrian Kisliuk" userId="81f189f0-3ed9-4f29-a7b1-770f7af93676" providerId="ADAL" clId="{A635875F-BE0D-4938-9F04-46F82588313B}" dt="2021-03-01T15:32:30.038" v="2924" actId="478"/>
          <ac:spMkLst>
            <pc:docMk/>
            <pc:sldMk cId="1161844579" sldId="821"/>
            <ac:spMk id="28" creationId="{EBCF4F41-59E1-4F76-BE07-8DD6A2304129}"/>
          </ac:spMkLst>
        </pc:spChg>
        <pc:spChg chg="del">
          <ac:chgData name="Adrian Kisliuk" userId="81f189f0-3ed9-4f29-a7b1-770f7af93676" providerId="ADAL" clId="{A635875F-BE0D-4938-9F04-46F82588313B}" dt="2021-03-01T15:32:24.630" v="2920" actId="478"/>
          <ac:spMkLst>
            <pc:docMk/>
            <pc:sldMk cId="1161844579" sldId="821"/>
            <ac:spMk id="29" creationId="{17760F75-D6E9-4BB1-BA35-50F4ACDBFC19}"/>
          </ac:spMkLst>
        </pc:spChg>
        <pc:spChg chg="del mod">
          <ac:chgData name="Adrian Kisliuk" userId="81f189f0-3ed9-4f29-a7b1-770f7af93676" providerId="ADAL" clId="{A635875F-BE0D-4938-9F04-46F82588313B}" dt="2021-03-01T15:32:37.970" v="2927" actId="21"/>
          <ac:spMkLst>
            <pc:docMk/>
            <pc:sldMk cId="1161844579" sldId="821"/>
            <ac:spMk id="34" creationId="{BCE562CE-3651-4735-9919-32B7A4CF5B77}"/>
          </ac:spMkLst>
        </pc:spChg>
        <pc:spChg chg="del mod">
          <ac:chgData name="Adrian Kisliuk" userId="81f189f0-3ed9-4f29-a7b1-770f7af93676" providerId="ADAL" clId="{A635875F-BE0D-4938-9F04-46F82588313B}" dt="2021-03-01T15:32:22.152" v="2919" actId="21"/>
          <ac:spMkLst>
            <pc:docMk/>
            <pc:sldMk cId="1161844579" sldId="821"/>
            <ac:spMk id="35" creationId="{92CE1BAE-A30A-4391-8B6F-C63DAB1F3227}"/>
          </ac:spMkLst>
        </pc:spChg>
        <pc:spChg chg="del mod">
          <ac:chgData name="Adrian Kisliuk" userId="81f189f0-3ed9-4f29-a7b1-770f7af93676" providerId="ADAL" clId="{A635875F-BE0D-4938-9F04-46F82588313B}" dt="2021-03-01T15:32:22.152" v="2919" actId="21"/>
          <ac:spMkLst>
            <pc:docMk/>
            <pc:sldMk cId="1161844579" sldId="821"/>
            <ac:spMk id="36" creationId="{BEFA7745-1FDD-44B7-9596-EF8B16C4B236}"/>
          </ac:spMkLst>
        </pc:spChg>
        <pc:cxnChg chg="mod">
          <ac:chgData name="Adrian Kisliuk" userId="81f189f0-3ed9-4f29-a7b1-770f7af93676" providerId="ADAL" clId="{A635875F-BE0D-4938-9F04-46F82588313B}" dt="2021-03-01T15:33:46.319" v="2951" actId="1076"/>
          <ac:cxnSpMkLst>
            <pc:docMk/>
            <pc:sldMk cId="1161844579" sldId="821"/>
            <ac:cxnSpMk id="10" creationId="{358A171D-C672-4196-9360-80C5160B1063}"/>
          </ac:cxnSpMkLst>
        </pc:cxnChg>
        <pc:cxnChg chg="mod">
          <ac:chgData name="Adrian Kisliuk" userId="81f189f0-3ed9-4f29-a7b1-770f7af93676" providerId="ADAL" clId="{A635875F-BE0D-4938-9F04-46F82588313B}" dt="2021-03-01T15:34:03.800" v="2952" actId="1076"/>
          <ac:cxnSpMkLst>
            <pc:docMk/>
            <pc:sldMk cId="1161844579" sldId="821"/>
            <ac:cxnSpMk id="19" creationId="{FDD861AD-2623-4DFE-BE15-0320BD4DED87}"/>
          </ac:cxnSpMkLst>
        </pc:cxnChg>
        <pc:cxnChg chg="del">
          <ac:chgData name="Adrian Kisliuk" userId="81f189f0-3ed9-4f29-a7b1-770f7af93676" providerId="ADAL" clId="{A635875F-BE0D-4938-9F04-46F82588313B}" dt="2021-03-01T15:32:27.894" v="2922" actId="478"/>
          <ac:cxnSpMkLst>
            <pc:docMk/>
            <pc:sldMk cId="1161844579" sldId="821"/>
            <ac:cxnSpMk id="27" creationId="{F23228C4-B5F4-4412-B4C7-E4B06BBF02CA}"/>
          </ac:cxnSpMkLst>
        </pc:cxnChg>
        <pc:cxnChg chg="del">
          <ac:chgData name="Adrian Kisliuk" userId="81f189f0-3ed9-4f29-a7b1-770f7af93676" providerId="ADAL" clId="{A635875F-BE0D-4938-9F04-46F82588313B}" dt="2021-03-01T15:32:29.316" v="2923" actId="478"/>
          <ac:cxnSpMkLst>
            <pc:docMk/>
            <pc:sldMk cId="1161844579" sldId="821"/>
            <ac:cxnSpMk id="30" creationId="{A7FA36C7-4ED0-4BBA-B572-C13E9A3C751E}"/>
          </ac:cxnSpMkLst>
        </pc:cxnChg>
      </pc:sldChg>
      <pc:sldChg chg="addSp modSp add mod ord">
        <pc:chgData name="Adrian Kisliuk" userId="81f189f0-3ed9-4f29-a7b1-770f7af93676" providerId="ADAL" clId="{A635875F-BE0D-4938-9F04-46F82588313B}" dt="2021-03-01T16:20:51.462" v="3518" actId="20577"/>
        <pc:sldMkLst>
          <pc:docMk/>
          <pc:sldMk cId="259345786" sldId="822"/>
        </pc:sldMkLst>
        <pc:spChg chg="mod">
          <ac:chgData name="Adrian Kisliuk" userId="81f189f0-3ed9-4f29-a7b1-770f7af93676" providerId="ADAL" clId="{A635875F-BE0D-4938-9F04-46F82588313B}" dt="2021-03-01T16:20:51.462" v="3518" actId="20577"/>
          <ac:spMkLst>
            <pc:docMk/>
            <pc:sldMk cId="259345786" sldId="822"/>
            <ac:spMk id="2" creationId="{50E68478-280C-4B71-A2DA-1A37303CE9F7}"/>
          </ac:spMkLst>
        </pc:spChg>
        <pc:spChg chg="mod">
          <ac:chgData name="Adrian Kisliuk" userId="81f189f0-3ed9-4f29-a7b1-770f7af93676" providerId="ADAL" clId="{A635875F-BE0D-4938-9F04-46F82588313B}" dt="2021-03-01T16:04:24.952" v="3087" actId="404"/>
          <ac:spMkLst>
            <pc:docMk/>
            <pc:sldMk cId="259345786" sldId="822"/>
            <ac:spMk id="3" creationId="{5CD78C9C-FC67-400A-AB19-9FAF630ADB32}"/>
          </ac:spMkLst>
        </pc:spChg>
        <pc:spChg chg="add mod">
          <ac:chgData name="Adrian Kisliuk" userId="81f189f0-3ed9-4f29-a7b1-770f7af93676" providerId="ADAL" clId="{A635875F-BE0D-4938-9F04-46F82588313B}" dt="2021-03-01T16:10:48.382" v="3494" actId="404"/>
          <ac:spMkLst>
            <pc:docMk/>
            <pc:sldMk cId="259345786" sldId="822"/>
            <ac:spMk id="5" creationId="{FC298125-D680-4F92-8081-A588B2F8C85A}"/>
          </ac:spMkLst>
        </pc:spChg>
        <pc:spChg chg="add mod">
          <ac:chgData name="Adrian Kisliuk" userId="81f189f0-3ed9-4f29-a7b1-770f7af93676" providerId="ADAL" clId="{A635875F-BE0D-4938-9F04-46F82588313B}" dt="2021-03-01T16:12:03.507" v="3506" actId="113"/>
          <ac:spMkLst>
            <pc:docMk/>
            <pc:sldMk cId="259345786" sldId="822"/>
            <ac:spMk id="6" creationId="{3A6602AB-52F5-4AA7-B758-5250A46B431C}"/>
          </ac:spMkLst>
        </pc:spChg>
        <pc:picChg chg="add mod">
          <ac:chgData name="Adrian Kisliuk" userId="81f189f0-3ed9-4f29-a7b1-770f7af93676" providerId="ADAL" clId="{A635875F-BE0D-4938-9F04-46F82588313B}" dt="2021-03-01T15:46:55.213" v="2976" actId="14100"/>
          <ac:picMkLst>
            <pc:docMk/>
            <pc:sldMk cId="259345786" sldId="822"/>
            <ac:picMk id="4" creationId="{B38C7461-3E12-4A25-836A-5CD4C410ADFA}"/>
          </ac:picMkLst>
        </pc:picChg>
      </pc:sldChg>
      <pc:sldChg chg="addSp delSp modSp add mod ord">
        <pc:chgData name="Adrian Kisliuk" userId="81f189f0-3ed9-4f29-a7b1-770f7af93676" providerId="ADAL" clId="{A635875F-BE0D-4938-9F04-46F82588313B}" dt="2021-03-01T16:27:42.210" v="3606" actId="404"/>
        <pc:sldMkLst>
          <pc:docMk/>
          <pc:sldMk cId="3175708426" sldId="823"/>
        </pc:sldMkLst>
        <pc:spChg chg="mod">
          <ac:chgData name="Adrian Kisliuk" userId="81f189f0-3ed9-4f29-a7b1-770f7af93676" providerId="ADAL" clId="{A635875F-BE0D-4938-9F04-46F82588313B}" dt="2021-03-01T16:20:55.575" v="3523" actId="20577"/>
          <ac:spMkLst>
            <pc:docMk/>
            <pc:sldMk cId="3175708426" sldId="823"/>
            <ac:spMk id="2" creationId="{50E68478-280C-4B71-A2DA-1A37303CE9F7}"/>
          </ac:spMkLst>
        </pc:spChg>
        <pc:spChg chg="mod">
          <ac:chgData name="Adrian Kisliuk" userId="81f189f0-3ed9-4f29-a7b1-770f7af93676" providerId="ADAL" clId="{A635875F-BE0D-4938-9F04-46F82588313B}" dt="2021-03-01T16:27:07.171" v="3601" actId="1076"/>
          <ac:spMkLst>
            <pc:docMk/>
            <pc:sldMk cId="3175708426" sldId="823"/>
            <ac:spMk id="3" creationId="{5CD78C9C-FC67-400A-AB19-9FAF630ADB32}"/>
          </ac:spMkLst>
        </pc:spChg>
        <pc:spChg chg="mod">
          <ac:chgData name="Adrian Kisliuk" userId="81f189f0-3ed9-4f29-a7b1-770f7af93676" providerId="ADAL" clId="{A635875F-BE0D-4938-9F04-46F82588313B}" dt="2021-03-01T16:07:43.808" v="3118" actId="20577"/>
          <ac:spMkLst>
            <pc:docMk/>
            <pc:sldMk cId="3175708426" sldId="823"/>
            <ac:spMk id="5" creationId="{FC298125-D680-4F92-8081-A588B2F8C85A}"/>
          </ac:spMkLst>
        </pc:spChg>
        <pc:spChg chg="del">
          <ac:chgData name="Adrian Kisliuk" userId="81f189f0-3ed9-4f29-a7b1-770f7af93676" providerId="ADAL" clId="{A635875F-BE0D-4938-9F04-46F82588313B}" dt="2021-03-01T16:07:46.094" v="3119" actId="478"/>
          <ac:spMkLst>
            <pc:docMk/>
            <pc:sldMk cId="3175708426" sldId="823"/>
            <ac:spMk id="6" creationId="{3A6602AB-52F5-4AA7-B758-5250A46B431C}"/>
          </ac:spMkLst>
        </pc:spChg>
        <pc:spChg chg="add mod">
          <ac:chgData name="Adrian Kisliuk" userId="81f189f0-3ed9-4f29-a7b1-770f7af93676" providerId="ADAL" clId="{A635875F-BE0D-4938-9F04-46F82588313B}" dt="2021-03-01T16:27:42.210" v="3606" actId="404"/>
          <ac:spMkLst>
            <pc:docMk/>
            <pc:sldMk cId="3175708426" sldId="823"/>
            <ac:spMk id="7" creationId="{8F4D423B-85D3-4284-9A25-F40277780F69}"/>
          </ac:spMkLst>
        </pc:spChg>
        <pc:picChg chg="del">
          <ac:chgData name="Adrian Kisliuk" userId="81f189f0-3ed9-4f29-a7b1-770f7af93676" providerId="ADAL" clId="{A635875F-BE0D-4938-9F04-46F82588313B}" dt="2021-03-01T16:07:36.297" v="3113" actId="478"/>
          <ac:picMkLst>
            <pc:docMk/>
            <pc:sldMk cId="3175708426" sldId="823"/>
            <ac:picMk id="4" creationId="{B38C7461-3E12-4A25-836A-5CD4C410ADFA}"/>
          </ac:picMkLst>
        </pc:picChg>
      </pc:sldChg>
      <pc:sldChg chg="delSp modSp add mod">
        <pc:chgData name="Adrian Kisliuk" userId="81f189f0-3ed9-4f29-a7b1-770f7af93676" providerId="ADAL" clId="{A635875F-BE0D-4938-9F04-46F82588313B}" dt="2021-03-01T16:21:10.910" v="3536" actId="20577"/>
        <pc:sldMkLst>
          <pc:docMk/>
          <pc:sldMk cId="2969731555" sldId="824"/>
        </pc:sldMkLst>
        <pc:spChg chg="mod">
          <ac:chgData name="Adrian Kisliuk" userId="81f189f0-3ed9-4f29-a7b1-770f7af93676" providerId="ADAL" clId="{A635875F-BE0D-4938-9F04-46F82588313B}" dt="2021-03-01T16:21:10.910" v="3536" actId="20577"/>
          <ac:spMkLst>
            <pc:docMk/>
            <pc:sldMk cId="2969731555" sldId="824"/>
            <ac:spMk id="2" creationId="{50E68478-280C-4B71-A2DA-1A37303CE9F7}"/>
          </ac:spMkLst>
        </pc:spChg>
        <pc:spChg chg="mod">
          <ac:chgData name="Adrian Kisliuk" userId="81f189f0-3ed9-4f29-a7b1-770f7af93676" providerId="ADAL" clId="{A635875F-BE0D-4938-9F04-46F82588313B}" dt="2021-03-01T16:04:00.630" v="3086" actId="20577"/>
          <ac:spMkLst>
            <pc:docMk/>
            <pc:sldMk cId="2969731555" sldId="824"/>
            <ac:spMk id="3" creationId="{5CD78C9C-FC67-400A-AB19-9FAF630ADB32}"/>
          </ac:spMkLst>
        </pc:spChg>
        <pc:spChg chg="mod">
          <ac:chgData name="Adrian Kisliuk" userId="81f189f0-3ed9-4f29-a7b1-770f7af93676" providerId="ADAL" clId="{A635875F-BE0D-4938-9F04-46F82588313B}" dt="2021-03-01T16:11:10.094" v="3502" actId="404"/>
          <ac:spMkLst>
            <pc:docMk/>
            <pc:sldMk cId="2969731555" sldId="824"/>
            <ac:spMk id="5" creationId="{FC298125-D680-4F92-8081-A588B2F8C85A}"/>
          </ac:spMkLst>
        </pc:spChg>
        <pc:spChg chg="del">
          <ac:chgData name="Adrian Kisliuk" userId="81f189f0-3ed9-4f29-a7b1-770f7af93676" providerId="ADAL" clId="{A635875F-BE0D-4938-9F04-46F82588313B}" dt="2021-03-01T16:05:47.336" v="3104" actId="478"/>
          <ac:spMkLst>
            <pc:docMk/>
            <pc:sldMk cId="2969731555" sldId="824"/>
            <ac:spMk id="6" creationId="{3A6602AB-52F5-4AA7-B758-5250A46B431C}"/>
          </ac:spMkLst>
        </pc:spChg>
        <pc:picChg chg="del">
          <ac:chgData name="Adrian Kisliuk" userId="81f189f0-3ed9-4f29-a7b1-770f7af93676" providerId="ADAL" clId="{A635875F-BE0D-4938-9F04-46F82588313B}" dt="2021-03-01T16:05:16.337" v="3093" actId="478"/>
          <ac:picMkLst>
            <pc:docMk/>
            <pc:sldMk cId="2969731555" sldId="824"/>
            <ac:picMk id="4" creationId="{B38C7461-3E12-4A25-836A-5CD4C410ADFA}"/>
          </ac:picMkLst>
        </pc:picChg>
      </pc:sldChg>
      <pc:sldMasterChg chg="addSp delSp modSp mod addSldLayout delSldLayout modSldLayout">
        <pc:chgData name="Adrian Kisliuk" userId="81f189f0-3ed9-4f29-a7b1-770f7af93676" providerId="ADAL" clId="{A635875F-BE0D-4938-9F04-46F82588313B}" dt="2021-03-01T13:55:30.930" v="2430" actId="6549"/>
        <pc:sldMasterMkLst>
          <pc:docMk/>
          <pc:sldMasterMk cId="792883523" sldId="2147483648"/>
        </pc:sldMasterMkLst>
        <pc:spChg chg="mod">
          <ac:chgData name="Adrian Kisliuk" userId="81f189f0-3ed9-4f29-a7b1-770f7af93676" providerId="ADAL" clId="{A635875F-BE0D-4938-9F04-46F82588313B}" dt="2021-03-01T12:45:03.337" v="1535" actId="948"/>
          <ac:spMkLst>
            <pc:docMk/>
            <pc:sldMasterMk cId="792883523" sldId="2147483648"/>
            <ac:spMk id="2" creationId="{00000000-0000-0000-0000-000000000000}"/>
          </ac:spMkLst>
        </pc:spChg>
        <pc:spChg chg="mod">
          <ac:chgData name="Adrian Kisliuk" userId="81f189f0-3ed9-4f29-a7b1-770f7af93676" providerId="ADAL" clId="{A635875F-BE0D-4938-9F04-46F82588313B}" dt="2021-03-01T12:34:33.686" v="970" actId="404"/>
          <ac:spMkLst>
            <pc:docMk/>
            <pc:sldMasterMk cId="792883523" sldId="2147483648"/>
            <ac:spMk id="3" creationId="{00000000-0000-0000-0000-000000000000}"/>
          </ac:spMkLst>
        </pc:spChg>
        <pc:spChg chg="mod">
          <ac:chgData name="Adrian Kisliuk" userId="81f189f0-3ed9-4f29-a7b1-770f7af93676" providerId="ADAL" clId="{A635875F-BE0D-4938-9F04-46F82588313B}" dt="2021-03-01T12:45:07.572" v="1575" actId="403"/>
          <ac:spMkLst>
            <pc:docMk/>
            <pc:sldMasterMk cId="792883523" sldId="2147483648"/>
            <ac:spMk id="5" creationId="{00000000-0000-0000-0000-000000000000}"/>
          </ac:spMkLst>
        </pc:spChg>
        <pc:spChg chg="add del mod modVis">
          <ac:chgData name="Adrian Kisliuk" userId="81f189f0-3ed9-4f29-a7b1-770f7af93676" providerId="ADAL" clId="{A635875F-BE0D-4938-9F04-46F82588313B}" dt="2021-03-01T12:33:50.411" v="663"/>
          <ac:spMkLst>
            <pc:docMk/>
            <pc:sldMasterMk cId="792883523" sldId="2147483648"/>
            <ac:spMk id="6" creationId="{034052BA-D112-45D5-A717-AA59B6B7FA80}"/>
          </ac:spMkLst>
        </pc:spChg>
        <pc:spChg chg="add del mod modVis">
          <ac:chgData name="Adrian Kisliuk" userId="81f189f0-3ed9-4f29-a7b1-770f7af93676" providerId="ADAL" clId="{A635875F-BE0D-4938-9F04-46F82588313B}" dt="2021-03-01T12:33:52.686" v="705"/>
          <ac:spMkLst>
            <pc:docMk/>
            <pc:sldMasterMk cId="792883523" sldId="2147483648"/>
            <ac:spMk id="7" creationId="{F01ABDD9-4164-4326-B993-96439CD9EF67}"/>
          </ac:spMkLst>
        </pc:spChg>
        <pc:spChg chg="add del mod modVis">
          <ac:chgData name="Adrian Kisliuk" userId="81f189f0-3ed9-4f29-a7b1-770f7af93676" providerId="ADAL" clId="{A635875F-BE0D-4938-9F04-46F82588313B}" dt="2021-03-01T12:33:55.874" v="746"/>
          <ac:spMkLst>
            <pc:docMk/>
            <pc:sldMasterMk cId="792883523" sldId="2147483648"/>
            <ac:spMk id="8" creationId="{06B06831-3413-462E-9C6F-7492534059B5}"/>
          </ac:spMkLst>
        </pc:spChg>
        <pc:spChg chg="add del mod modVis">
          <ac:chgData name="Adrian Kisliuk" userId="81f189f0-3ed9-4f29-a7b1-770f7af93676" providerId="ADAL" clId="{A635875F-BE0D-4938-9F04-46F82588313B}" dt="2021-03-01T12:34:04.845" v="790"/>
          <ac:spMkLst>
            <pc:docMk/>
            <pc:sldMasterMk cId="792883523" sldId="2147483648"/>
            <ac:spMk id="9" creationId="{67549266-63FC-440A-8EBF-DF444832EA8A}"/>
          </ac:spMkLst>
        </pc:spChg>
        <pc:spChg chg="add del mod modVis">
          <ac:chgData name="Adrian Kisliuk" userId="81f189f0-3ed9-4f29-a7b1-770f7af93676" providerId="ADAL" clId="{A635875F-BE0D-4938-9F04-46F82588313B}" dt="2021-03-01T12:34:09.289" v="839"/>
          <ac:spMkLst>
            <pc:docMk/>
            <pc:sldMasterMk cId="792883523" sldId="2147483648"/>
            <ac:spMk id="10" creationId="{9568C316-1CEF-4698-96D2-D3CE9057F5CB}"/>
          </ac:spMkLst>
        </pc:spChg>
        <pc:spChg chg="add del mod modVis">
          <ac:chgData name="Adrian Kisliuk" userId="81f189f0-3ed9-4f29-a7b1-770f7af93676" providerId="ADAL" clId="{A635875F-BE0D-4938-9F04-46F82588313B}" dt="2021-03-01T12:34:12.529" v="880"/>
          <ac:spMkLst>
            <pc:docMk/>
            <pc:sldMasterMk cId="792883523" sldId="2147483648"/>
            <ac:spMk id="11" creationId="{190E14C6-8C1F-4C4B-AACC-56F1209FD5A6}"/>
          </ac:spMkLst>
        </pc:spChg>
        <pc:spChg chg="add del mod modVis">
          <ac:chgData name="Adrian Kisliuk" userId="81f189f0-3ed9-4f29-a7b1-770f7af93676" providerId="ADAL" clId="{A635875F-BE0D-4938-9F04-46F82588313B}" dt="2021-03-01T12:34:13.145" v="921"/>
          <ac:spMkLst>
            <pc:docMk/>
            <pc:sldMasterMk cId="792883523" sldId="2147483648"/>
            <ac:spMk id="12" creationId="{CABDF5B5-9F3F-4A9D-8A0E-4D1D04B7E434}"/>
          </ac:spMkLst>
        </pc:spChg>
        <pc:spChg chg="add del mod modVis">
          <ac:chgData name="Adrian Kisliuk" userId="81f189f0-3ed9-4f29-a7b1-770f7af93676" providerId="ADAL" clId="{A635875F-BE0D-4938-9F04-46F82588313B}" dt="2021-03-01T12:34:25.650" v="966"/>
          <ac:spMkLst>
            <pc:docMk/>
            <pc:sldMasterMk cId="792883523" sldId="2147483648"/>
            <ac:spMk id="13" creationId="{1EADAE18-700E-4E3A-8C7D-76BBE2C0E310}"/>
          </ac:spMkLst>
        </pc:spChg>
        <pc:spChg chg="add del mod modVis">
          <ac:chgData name="Adrian Kisliuk" userId="81f189f0-3ed9-4f29-a7b1-770f7af93676" providerId="ADAL" clId="{A635875F-BE0D-4938-9F04-46F82588313B}" dt="2021-03-01T12:35:42.288" v="1009"/>
          <ac:spMkLst>
            <pc:docMk/>
            <pc:sldMasterMk cId="792883523" sldId="2147483648"/>
            <ac:spMk id="14" creationId="{2814E67A-0924-45A5-BAA0-D158CA474CB8}"/>
          </ac:spMkLst>
        </pc:spChg>
        <pc:spChg chg="add del mod modVis">
          <ac:chgData name="Adrian Kisliuk" userId="81f189f0-3ed9-4f29-a7b1-770f7af93676" providerId="ADAL" clId="{A635875F-BE0D-4938-9F04-46F82588313B}" dt="2021-03-01T12:35:44.080" v="1052"/>
          <ac:spMkLst>
            <pc:docMk/>
            <pc:sldMasterMk cId="792883523" sldId="2147483648"/>
            <ac:spMk id="15" creationId="{428E4972-49A7-4FF6-9A19-77118BD66CD8}"/>
          </ac:spMkLst>
        </pc:spChg>
        <pc:spChg chg="add del mod modVis">
          <ac:chgData name="Adrian Kisliuk" userId="81f189f0-3ed9-4f29-a7b1-770f7af93676" providerId="ADAL" clId="{A635875F-BE0D-4938-9F04-46F82588313B}" dt="2021-03-01T12:39:34.141" v="1170"/>
          <ac:spMkLst>
            <pc:docMk/>
            <pc:sldMasterMk cId="792883523" sldId="2147483648"/>
            <ac:spMk id="16" creationId="{29DE6A8D-8A2A-4376-B439-6919775758C8}"/>
          </ac:spMkLst>
        </pc:spChg>
        <pc:spChg chg="add del mod modVis">
          <ac:chgData name="Adrian Kisliuk" userId="81f189f0-3ed9-4f29-a7b1-770f7af93676" providerId="ADAL" clId="{A635875F-BE0D-4938-9F04-46F82588313B}" dt="2021-03-01T12:39:36.518" v="1211"/>
          <ac:spMkLst>
            <pc:docMk/>
            <pc:sldMasterMk cId="792883523" sldId="2147483648"/>
            <ac:spMk id="17" creationId="{34AC8F35-8E8F-4FD4-8FFB-3386D091A230}"/>
          </ac:spMkLst>
        </pc:spChg>
        <pc:spChg chg="add del mod modVis">
          <ac:chgData name="Adrian Kisliuk" userId="81f189f0-3ed9-4f29-a7b1-770f7af93676" providerId="ADAL" clId="{A635875F-BE0D-4938-9F04-46F82588313B}" dt="2021-03-01T12:39:38.351" v="1252"/>
          <ac:spMkLst>
            <pc:docMk/>
            <pc:sldMasterMk cId="792883523" sldId="2147483648"/>
            <ac:spMk id="18" creationId="{D7222486-733F-4DA6-98C6-FDAE8432D6F9}"/>
          </ac:spMkLst>
        </pc:spChg>
        <pc:spChg chg="add del mod modVis">
          <ac:chgData name="Adrian Kisliuk" userId="81f189f0-3ed9-4f29-a7b1-770f7af93676" providerId="ADAL" clId="{A635875F-BE0D-4938-9F04-46F82588313B}" dt="2021-03-01T12:39:39.776" v="1293"/>
          <ac:spMkLst>
            <pc:docMk/>
            <pc:sldMasterMk cId="792883523" sldId="2147483648"/>
            <ac:spMk id="19" creationId="{0FD41086-53E7-4C0E-9BFD-2DA86EEE4C4A}"/>
          </ac:spMkLst>
        </pc:spChg>
        <pc:spChg chg="add del mod modVis">
          <ac:chgData name="Adrian Kisliuk" userId="81f189f0-3ed9-4f29-a7b1-770f7af93676" providerId="ADAL" clId="{A635875F-BE0D-4938-9F04-46F82588313B}" dt="2021-03-01T12:44:32.430" v="1405"/>
          <ac:spMkLst>
            <pc:docMk/>
            <pc:sldMasterMk cId="792883523" sldId="2147483648"/>
            <ac:spMk id="20" creationId="{BD421BC8-16A7-4726-8B42-E9607CF474DE}"/>
          </ac:spMkLst>
        </pc:spChg>
        <pc:spChg chg="add del mod modVis">
          <ac:chgData name="Adrian Kisliuk" userId="81f189f0-3ed9-4f29-a7b1-770f7af93676" providerId="ADAL" clId="{A635875F-BE0D-4938-9F04-46F82588313B}" dt="2021-03-01T12:44:57.051" v="1447"/>
          <ac:spMkLst>
            <pc:docMk/>
            <pc:sldMasterMk cId="792883523" sldId="2147483648"/>
            <ac:spMk id="21" creationId="{092D96B0-C66B-494B-817C-3E7A1B0EC868}"/>
          </ac:spMkLst>
        </pc:spChg>
        <pc:spChg chg="add del mod modVis">
          <ac:chgData name="Adrian Kisliuk" userId="81f189f0-3ed9-4f29-a7b1-770f7af93676" providerId="ADAL" clId="{A635875F-BE0D-4938-9F04-46F82588313B}" dt="2021-03-01T12:45:01.059" v="1488"/>
          <ac:spMkLst>
            <pc:docMk/>
            <pc:sldMasterMk cId="792883523" sldId="2147483648"/>
            <ac:spMk id="22" creationId="{CF874B1A-283C-4EE0-9E31-269FF28D4595}"/>
          </ac:spMkLst>
        </pc:spChg>
        <pc:spChg chg="add del mod modVis">
          <ac:chgData name="Adrian Kisliuk" userId="81f189f0-3ed9-4f29-a7b1-770f7af93676" providerId="ADAL" clId="{A635875F-BE0D-4938-9F04-46F82588313B}" dt="2021-03-01T12:45:02.601" v="1530"/>
          <ac:spMkLst>
            <pc:docMk/>
            <pc:sldMasterMk cId="792883523" sldId="2147483648"/>
            <ac:spMk id="23" creationId="{3BBB24F0-A162-4E13-848E-EE46E9D8A435}"/>
          </ac:spMkLst>
        </pc:spChg>
        <pc:spChg chg="add del mod modVis">
          <ac:chgData name="Adrian Kisliuk" userId="81f189f0-3ed9-4f29-a7b1-770f7af93676" providerId="ADAL" clId="{A635875F-BE0D-4938-9F04-46F82588313B}" dt="2021-03-01T12:45:03.362" v="1572"/>
          <ac:spMkLst>
            <pc:docMk/>
            <pc:sldMasterMk cId="792883523" sldId="2147483648"/>
            <ac:spMk id="24" creationId="{EBD42DEB-96F4-499F-99B2-EB70DD62CA2F}"/>
          </ac:spMkLst>
        </pc:spChg>
        <pc:spChg chg="mod">
          <ac:chgData name="Adrian Kisliuk" userId="81f189f0-3ed9-4f29-a7b1-770f7af93676" providerId="ADAL" clId="{A635875F-BE0D-4938-9F04-46F82588313B}" dt="2021-03-01T12:33:40.093" v="624" actId="404"/>
          <ac:spMkLst>
            <pc:docMk/>
            <pc:sldMasterMk cId="792883523" sldId="2147483648"/>
            <ac:spMk id="77" creationId="{00000000-0000-0000-0000-000000000000}"/>
          </ac:spMkLst>
        </pc:spChg>
        <pc:graphicFrameChg chg="mod">
          <ac:chgData name="Adrian Kisliuk" userId="81f189f0-3ed9-4f29-a7b1-770f7af93676" providerId="ADAL" clId="{A635875F-BE0D-4938-9F04-46F82588313B}" dt="2021-03-01T12:45:03.365" v="1574"/>
          <ac:graphicFrameMkLst>
            <pc:docMk/>
            <pc:sldMasterMk cId="792883523" sldId="2147483648"/>
            <ac:graphicFrameMk id="4" creationId="{00000000-0000-0000-0000-000000000000}"/>
          </ac:graphicFrameMkLst>
        </pc:graphicFrameChg>
        <pc:sldLayoutChg chg="delSp modSp mod setBg">
          <pc:chgData name="Adrian Kisliuk" userId="81f189f0-3ed9-4f29-a7b1-770f7af93676" providerId="ADAL" clId="{A635875F-BE0D-4938-9F04-46F82588313B}" dt="2021-03-01T12:36:52.456" v="1076"/>
          <pc:sldLayoutMkLst>
            <pc:docMk/>
            <pc:sldMasterMk cId="792883523" sldId="2147483648"/>
            <pc:sldLayoutMk cId="4147159444" sldId="2147483649"/>
          </pc:sldLayoutMkLst>
          <pc:spChg chg="mod">
            <ac:chgData name="Adrian Kisliuk" userId="81f189f0-3ed9-4f29-a7b1-770f7af93676" providerId="ADAL" clId="{A635875F-BE0D-4938-9F04-46F82588313B}" dt="2021-03-01T12:36:35.232" v="1075" actId="20577"/>
            <ac:spMkLst>
              <pc:docMk/>
              <pc:sldMasterMk cId="792883523" sldId="2147483648"/>
              <pc:sldLayoutMk cId="4147159444" sldId="2147483649"/>
              <ac:spMk id="4" creationId="{00000000-0000-0000-0000-000000000000}"/>
            </ac:spMkLst>
          </pc:spChg>
          <pc:spChg chg="mod">
            <ac:chgData name="Adrian Kisliuk" userId="81f189f0-3ed9-4f29-a7b1-770f7af93676" providerId="ADAL" clId="{A635875F-BE0D-4938-9F04-46F82588313B}" dt="2021-03-01T12:36:27.474" v="1072" actId="20577"/>
            <ac:spMkLst>
              <pc:docMk/>
              <pc:sldMasterMk cId="792883523" sldId="2147483648"/>
              <pc:sldLayoutMk cId="4147159444" sldId="2147483649"/>
              <ac:spMk id="6" creationId="{00000000-0000-0000-0000-000000000000}"/>
            </ac:spMkLst>
          </pc:spChg>
          <pc:picChg chg="del">
            <ac:chgData name="Adrian Kisliuk" userId="81f189f0-3ed9-4f29-a7b1-770f7af93676" providerId="ADAL" clId="{A635875F-BE0D-4938-9F04-46F82588313B}" dt="2021-03-01T12:36:29.993" v="1073" actId="478"/>
            <ac:picMkLst>
              <pc:docMk/>
              <pc:sldMasterMk cId="792883523" sldId="2147483648"/>
              <pc:sldLayoutMk cId="4147159444" sldId="2147483649"/>
              <ac:picMk id="7" creationId="{00000000-0000-0000-0000-000000000000}"/>
            </ac:picMkLst>
          </pc:picChg>
        </pc:sldLayoutChg>
        <pc:sldLayoutChg chg="delSp modSp mod">
          <pc:chgData name="Adrian Kisliuk" userId="81f189f0-3ed9-4f29-a7b1-770f7af93676" providerId="ADAL" clId="{A635875F-BE0D-4938-9F04-46F82588313B}" dt="2021-03-01T12:39:25.408" v="1131" actId="255"/>
          <pc:sldLayoutMkLst>
            <pc:docMk/>
            <pc:sldMasterMk cId="792883523" sldId="2147483648"/>
            <pc:sldLayoutMk cId="3611655355" sldId="2147483650"/>
          </pc:sldLayoutMkLst>
          <pc:spChg chg="mod">
            <ac:chgData name="Adrian Kisliuk" userId="81f189f0-3ed9-4f29-a7b1-770f7af93676" providerId="ADAL" clId="{A635875F-BE0D-4938-9F04-46F82588313B}" dt="2021-03-01T12:39:25.408" v="1131" actId="255"/>
            <ac:spMkLst>
              <pc:docMk/>
              <pc:sldMasterMk cId="792883523" sldId="2147483648"/>
              <pc:sldLayoutMk cId="3611655355" sldId="2147483650"/>
              <ac:spMk id="6" creationId="{00000000-0000-0000-0000-000000000000}"/>
            </ac:spMkLst>
          </pc:spChg>
          <pc:spChg chg="mod">
            <ac:chgData name="Adrian Kisliuk" userId="81f189f0-3ed9-4f29-a7b1-770f7af93676" providerId="ADAL" clId="{A635875F-BE0D-4938-9F04-46F82588313B}" dt="2021-03-01T12:38:29.707" v="1109" actId="20577"/>
            <ac:spMkLst>
              <pc:docMk/>
              <pc:sldMasterMk cId="792883523" sldId="2147483648"/>
              <pc:sldLayoutMk cId="3611655355" sldId="2147483650"/>
              <ac:spMk id="7" creationId="{00000000-0000-0000-0000-000000000000}"/>
            </ac:spMkLst>
          </pc:spChg>
          <pc:picChg chg="del">
            <ac:chgData name="Adrian Kisliuk" userId="81f189f0-3ed9-4f29-a7b1-770f7af93676" providerId="ADAL" clId="{A635875F-BE0D-4938-9F04-46F82588313B}" dt="2021-03-01T11:09:22.803" v="0" actId="478"/>
            <ac:picMkLst>
              <pc:docMk/>
              <pc:sldMasterMk cId="792883523" sldId="2147483648"/>
              <pc:sldLayoutMk cId="3611655355" sldId="2147483650"/>
              <ac:picMk id="10" creationId="{00000000-0000-0000-0000-000000000000}"/>
            </ac:picMkLst>
          </pc:picChg>
        </pc:sldLayoutChg>
        <pc:sldLayoutChg chg="modSp mod setBg">
          <pc:chgData name="Adrian Kisliuk" userId="81f189f0-3ed9-4f29-a7b1-770f7af93676" providerId="ADAL" clId="{A635875F-BE0D-4938-9F04-46F82588313B}" dt="2021-03-01T13:35:28.522" v="2117" actId="20577"/>
          <pc:sldLayoutMkLst>
            <pc:docMk/>
            <pc:sldMasterMk cId="792883523" sldId="2147483648"/>
            <pc:sldLayoutMk cId="3519797754" sldId="2147483651"/>
          </pc:sldLayoutMkLst>
          <pc:spChg chg="mod">
            <ac:chgData name="Adrian Kisliuk" userId="81f189f0-3ed9-4f29-a7b1-770f7af93676" providerId="ADAL" clId="{A635875F-BE0D-4938-9F04-46F82588313B}" dt="2021-03-01T13:35:28.522" v="2117" actId="20577"/>
            <ac:spMkLst>
              <pc:docMk/>
              <pc:sldMasterMk cId="792883523" sldId="2147483648"/>
              <pc:sldLayoutMk cId="3519797754" sldId="2147483651"/>
              <ac:spMk id="4" creationId="{00000000-0000-0000-0000-000000000000}"/>
            </ac:spMkLst>
          </pc:spChg>
        </pc:sldLayoutChg>
        <pc:sldLayoutChg chg="modSp mod setBg">
          <pc:chgData name="Adrian Kisliuk" userId="81f189f0-3ed9-4f29-a7b1-770f7af93676" providerId="ADAL" clId="{A635875F-BE0D-4938-9F04-46F82588313B}" dt="2021-03-01T12:44:19.781" v="1366"/>
          <pc:sldLayoutMkLst>
            <pc:docMk/>
            <pc:sldMasterMk cId="792883523" sldId="2147483648"/>
            <pc:sldLayoutMk cId="3171617450" sldId="2147483652"/>
          </pc:sldLayoutMkLst>
          <pc:spChg chg="mod">
            <ac:chgData name="Adrian Kisliuk" userId="81f189f0-3ed9-4f29-a7b1-770f7af93676" providerId="ADAL" clId="{A635875F-BE0D-4938-9F04-46F82588313B}" dt="2021-03-01T12:44:19.781" v="1366"/>
            <ac:spMkLst>
              <pc:docMk/>
              <pc:sldMasterMk cId="792883523" sldId="2147483648"/>
              <pc:sldLayoutMk cId="3171617450" sldId="2147483652"/>
              <ac:spMk id="6" creationId="{00000000-0000-0000-0000-000000000000}"/>
            </ac:spMkLst>
          </pc:spChg>
        </pc:sldLayoutChg>
        <pc:sldLayoutChg chg="delSp mod">
          <pc:chgData name="Adrian Kisliuk" userId="81f189f0-3ed9-4f29-a7b1-770f7af93676" providerId="ADAL" clId="{A635875F-BE0D-4938-9F04-46F82588313B}" dt="2021-03-01T11:09:47.597" v="7" actId="478"/>
          <pc:sldLayoutMkLst>
            <pc:docMk/>
            <pc:sldMasterMk cId="792883523" sldId="2147483648"/>
            <pc:sldLayoutMk cId="2967300306" sldId="2147483653"/>
          </pc:sldLayoutMkLst>
          <pc:picChg chg="del">
            <ac:chgData name="Adrian Kisliuk" userId="81f189f0-3ed9-4f29-a7b1-770f7af93676" providerId="ADAL" clId="{A635875F-BE0D-4938-9F04-46F82588313B}" dt="2021-03-01T11:09:47.597" v="7" actId="478"/>
            <ac:picMkLst>
              <pc:docMk/>
              <pc:sldMasterMk cId="792883523" sldId="2147483648"/>
              <pc:sldLayoutMk cId="2967300306" sldId="2147483653"/>
              <ac:picMk id="4" creationId="{00000000-0000-0000-0000-000000000000}"/>
            </ac:picMkLst>
          </pc:picChg>
        </pc:sldLayoutChg>
        <pc:sldLayoutChg chg="addSp delSp modSp mod">
          <pc:chgData name="Adrian Kisliuk" userId="81f189f0-3ed9-4f29-a7b1-770f7af93676" providerId="ADAL" clId="{A635875F-BE0D-4938-9F04-46F82588313B}" dt="2021-03-01T13:55:21.138" v="2429"/>
          <pc:sldLayoutMkLst>
            <pc:docMk/>
            <pc:sldMasterMk cId="792883523" sldId="2147483648"/>
            <pc:sldLayoutMk cId="1590086391" sldId="2147483656"/>
          </pc:sldLayoutMkLst>
          <pc:spChg chg="add del mod">
            <ac:chgData name="Adrian Kisliuk" userId="81f189f0-3ed9-4f29-a7b1-770f7af93676" providerId="ADAL" clId="{A635875F-BE0D-4938-9F04-46F82588313B}" dt="2021-03-01T13:54:57.254" v="2406"/>
            <ac:spMkLst>
              <pc:docMk/>
              <pc:sldMasterMk cId="792883523" sldId="2147483648"/>
              <pc:sldLayoutMk cId="1590086391" sldId="2147483656"/>
              <ac:spMk id="2" creationId="{A55AF0F1-E2D2-4569-B117-3B82B6A4D9FD}"/>
            </ac:spMkLst>
          </pc:spChg>
          <pc:spChg chg="add del mod">
            <ac:chgData name="Adrian Kisliuk" userId="81f189f0-3ed9-4f29-a7b1-770f7af93676" providerId="ADAL" clId="{A635875F-BE0D-4938-9F04-46F82588313B}" dt="2021-03-01T13:55:06.693" v="2423"/>
            <ac:spMkLst>
              <pc:docMk/>
              <pc:sldMasterMk cId="792883523" sldId="2147483648"/>
              <pc:sldLayoutMk cId="1590086391" sldId="2147483656"/>
              <ac:spMk id="4" creationId="{74D9FB42-9CD9-4DF3-B531-58215287B0E8}"/>
            </ac:spMkLst>
          </pc:spChg>
          <pc:spChg chg="mod">
            <ac:chgData name="Adrian Kisliuk" userId="81f189f0-3ed9-4f29-a7b1-770f7af93676" providerId="ADAL" clId="{A635875F-BE0D-4938-9F04-46F82588313B}" dt="2021-03-01T13:53:54.742" v="2404" actId="20577"/>
            <ac:spMkLst>
              <pc:docMk/>
              <pc:sldMasterMk cId="792883523" sldId="2147483648"/>
              <pc:sldLayoutMk cId="1590086391" sldId="2147483656"/>
              <ac:spMk id="5" creationId="{00000000-0000-0000-0000-000000000000}"/>
            </ac:spMkLst>
          </pc:spChg>
          <pc:spChg chg="add del mod">
            <ac:chgData name="Adrian Kisliuk" userId="81f189f0-3ed9-4f29-a7b1-770f7af93676" providerId="ADAL" clId="{A635875F-BE0D-4938-9F04-46F82588313B}" dt="2021-03-01T13:55:12.717" v="2427"/>
            <ac:spMkLst>
              <pc:docMk/>
              <pc:sldMasterMk cId="792883523" sldId="2147483648"/>
              <pc:sldLayoutMk cId="1590086391" sldId="2147483656"/>
              <ac:spMk id="6" creationId="{4C56DA3A-A09E-46FC-8960-05467DD20411}"/>
            </ac:spMkLst>
          </pc:spChg>
          <pc:graphicFrameChg chg="add mod ord modVis">
            <ac:chgData name="Adrian Kisliuk" userId="81f189f0-3ed9-4f29-a7b1-770f7af93676" providerId="ADAL" clId="{A635875F-BE0D-4938-9F04-46F82588313B}" dt="2021-03-01T13:55:21.138" v="2429"/>
            <ac:graphicFrameMkLst>
              <pc:docMk/>
              <pc:sldMasterMk cId="792883523" sldId="2147483648"/>
              <pc:sldLayoutMk cId="1590086391" sldId="2147483656"/>
              <ac:graphicFrameMk id="3" creationId="{F3467D61-B490-46DA-813C-F1B478E01B45}"/>
            </ac:graphicFrameMkLst>
          </pc:graphicFrameChg>
          <pc:picChg chg="del">
            <ac:chgData name="Adrian Kisliuk" userId="81f189f0-3ed9-4f29-a7b1-770f7af93676" providerId="ADAL" clId="{A635875F-BE0D-4938-9F04-46F82588313B}" dt="2021-03-01T11:09:45.221" v="6" actId="478"/>
            <ac:picMkLst>
              <pc:docMk/>
              <pc:sldMasterMk cId="792883523" sldId="2147483648"/>
              <pc:sldLayoutMk cId="1590086391" sldId="2147483656"/>
              <ac:picMk id="6" creationId="{00000000-0000-0000-0000-000000000000}"/>
            </ac:picMkLst>
          </pc:picChg>
        </pc:sldLayoutChg>
        <pc:sldLayoutChg chg="delSp modSp mod">
          <pc:chgData name="Adrian Kisliuk" userId="81f189f0-3ed9-4f29-a7b1-770f7af93676" providerId="ADAL" clId="{A635875F-BE0D-4938-9F04-46F82588313B}" dt="2021-03-01T13:35:15.424" v="2115" actId="20577"/>
          <pc:sldLayoutMkLst>
            <pc:docMk/>
            <pc:sldMasterMk cId="792883523" sldId="2147483648"/>
            <pc:sldLayoutMk cId="4070037081" sldId="2147483657"/>
          </pc:sldLayoutMkLst>
          <pc:spChg chg="mod">
            <ac:chgData name="Adrian Kisliuk" userId="81f189f0-3ed9-4f29-a7b1-770f7af93676" providerId="ADAL" clId="{A635875F-BE0D-4938-9F04-46F82588313B}" dt="2021-03-01T13:35:15.424" v="2115" actId="20577"/>
            <ac:spMkLst>
              <pc:docMk/>
              <pc:sldMasterMk cId="792883523" sldId="2147483648"/>
              <pc:sldLayoutMk cId="4070037081" sldId="2147483657"/>
              <ac:spMk id="6" creationId="{00000000-0000-0000-0000-000000000000}"/>
            </ac:spMkLst>
          </pc:spChg>
          <pc:spChg chg="mod">
            <ac:chgData name="Adrian Kisliuk" userId="81f189f0-3ed9-4f29-a7b1-770f7af93676" providerId="ADAL" clId="{A635875F-BE0D-4938-9F04-46F82588313B}" dt="2021-03-01T12:42:57.633" v="1344" actId="14100"/>
            <ac:spMkLst>
              <pc:docMk/>
              <pc:sldMasterMk cId="792883523" sldId="2147483648"/>
              <pc:sldLayoutMk cId="4070037081" sldId="2147483657"/>
              <ac:spMk id="7" creationId="{00000000-0000-0000-0000-000000000000}"/>
            </ac:spMkLst>
          </pc:spChg>
          <pc:picChg chg="del">
            <ac:chgData name="Adrian Kisliuk" userId="81f189f0-3ed9-4f29-a7b1-770f7af93676" providerId="ADAL" clId="{A635875F-BE0D-4938-9F04-46F82588313B}" dt="2021-03-01T11:09:42.352" v="5" actId="478"/>
            <ac:picMkLst>
              <pc:docMk/>
              <pc:sldMasterMk cId="792883523" sldId="2147483648"/>
              <pc:sldLayoutMk cId="4070037081" sldId="2147483657"/>
              <ac:picMk id="8" creationId="{00000000-0000-0000-0000-000000000000}"/>
            </ac:picMkLst>
          </pc:picChg>
        </pc:sldLayoutChg>
        <pc:sldLayoutChg chg="addSp delSp modSp mod setBg">
          <pc:chgData name="Adrian Kisliuk" userId="81f189f0-3ed9-4f29-a7b1-770f7af93676" providerId="ADAL" clId="{A635875F-BE0D-4938-9F04-46F82588313B}" dt="2021-03-01T13:36:57.487" v="2128" actId="20577"/>
          <pc:sldLayoutMkLst>
            <pc:docMk/>
            <pc:sldMasterMk cId="792883523" sldId="2147483648"/>
            <pc:sldLayoutMk cId="3748291341" sldId="2147483658"/>
          </pc:sldLayoutMkLst>
          <pc:spChg chg="del mod">
            <ac:chgData name="Adrian Kisliuk" userId="81f189f0-3ed9-4f29-a7b1-770f7af93676" providerId="ADAL" clId="{A635875F-BE0D-4938-9F04-46F82588313B}" dt="2021-03-01T12:43:17.370" v="1352" actId="478"/>
            <ac:spMkLst>
              <pc:docMk/>
              <pc:sldMasterMk cId="792883523" sldId="2147483648"/>
              <pc:sldLayoutMk cId="3748291341" sldId="2147483658"/>
              <ac:spMk id="3" creationId="{00000000-0000-0000-0000-000000000000}"/>
            </ac:spMkLst>
          </pc:spChg>
          <pc:spChg chg="del mod">
            <ac:chgData name="Adrian Kisliuk" userId="81f189f0-3ed9-4f29-a7b1-770f7af93676" providerId="ADAL" clId="{A635875F-BE0D-4938-9F04-46F82588313B}" dt="2021-03-01T12:43:17.370" v="1352" actId="478"/>
            <ac:spMkLst>
              <pc:docMk/>
              <pc:sldMasterMk cId="792883523" sldId="2147483648"/>
              <pc:sldLayoutMk cId="3748291341" sldId="2147483658"/>
              <ac:spMk id="7" creationId="{00000000-0000-0000-0000-000000000000}"/>
            </ac:spMkLst>
          </pc:spChg>
          <pc:spChg chg="add del mod">
            <ac:chgData name="Adrian Kisliuk" userId="81f189f0-3ed9-4f29-a7b1-770f7af93676" providerId="ADAL" clId="{A635875F-BE0D-4938-9F04-46F82588313B}" dt="2021-03-01T12:43:38.674" v="1362"/>
            <ac:spMkLst>
              <pc:docMk/>
              <pc:sldMasterMk cId="792883523" sldId="2147483648"/>
              <pc:sldLayoutMk cId="3748291341" sldId="2147483658"/>
              <ac:spMk id="8" creationId="{56984D16-6DB8-4CE0-A517-B6607416A00C}"/>
            </ac:spMkLst>
          </pc:spChg>
          <pc:spChg chg="add del mod">
            <ac:chgData name="Adrian Kisliuk" userId="81f189f0-3ed9-4f29-a7b1-770f7af93676" providerId="ADAL" clId="{A635875F-BE0D-4938-9F04-46F82588313B}" dt="2021-03-01T12:43:38.674" v="1362"/>
            <ac:spMkLst>
              <pc:docMk/>
              <pc:sldMasterMk cId="792883523" sldId="2147483648"/>
              <pc:sldLayoutMk cId="3748291341" sldId="2147483658"/>
              <ac:spMk id="9" creationId="{1CBF9583-5ABD-4CD1-8AC4-95930C462A03}"/>
            </ac:spMkLst>
          </pc:spChg>
          <pc:spChg chg="add mod">
            <ac:chgData name="Adrian Kisliuk" userId="81f189f0-3ed9-4f29-a7b1-770f7af93676" providerId="ADAL" clId="{A635875F-BE0D-4938-9F04-46F82588313B}" dt="2021-03-01T13:36:57.487" v="2128" actId="20577"/>
            <ac:spMkLst>
              <pc:docMk/>
              <pc:sldMasterMk cId="792883523" sldId="2147483648"/>
              <pc:sldLayoutMk cId="3748291341" sldId="2147483658"/>
              <ac:spMk id="10" creationId="{1A078CA0-EF0B-40CD-922F-14B54D2F6298}"/>
            </ac:spMkLst>
          </pc:spChg>
          <pc:spChg chg="add mod">
            <ac:chgData name="Adrian Kisliuk" userId="81f189f0-3ed9-4f29-a7b1-770f7af93676" providerId="ADAL" clId="{A635875F-BE0D-4938-9F04-46F82588313B}" dt="2021-03-01T12:44:47.338" v="1408" actId="14100"/>
            <ac:spMkLst>
              <pc:docMk/>
              <pc:sldMasterMk cId="792883523" sldId="2147483648"/>
              <pc:sldLayoutMk cId="3748291341" sldId="2147483658"/>
              <ac:spMk id="11" creationId="{1371B518-D5FD-4749-B04A-4BFE7D5BB7BA}"/>
            </ac:spMkLst>
          </pc:spChg>
          <pc:picChg chg="del">
            <ac:chgData name="Adrian Kisliuk" userId="81f189f0-3ed9-4f29-a7b1-770f7af93676" providerId="ADAL" clId="{A635875F-BE0D-4938-9F04-46F82588313B}" dt="2021-03-01T11:09:30.517" v="1" actId="478"/>
            <ac:picMkLst>
              <pc:docMk/>
              <pc:sldMasterMk cId="792883523" sldId="2147483648"/>
              <pc:sldLayoutMk cId="3748291341" sldId="2147483658"/>
              <ac:picMk id="8" creationId="{00000000-0000-0000-0000-000000000000}"/>
            </ac:picMkLst>
          </pc:picChg>
        </pc:sldLayoutChg>
        <pc:sldLayoutChg chg="addSp delSp modSp mod setBg">
          <pc:chgData name="Adrian Kisliuk" userId="81f189f0-3ed9-4f29-a7b1-770f7af93676" providerId="ADAL" clId="{A635875F-BE0D-4938-9F04-46F82588313B}" dt="2021-03-01T13:36:48.530" v="2127" actId="20577"/>
          <pc:sldLayoutMkLst>
            <pc:docMk/>
            <pc:sldMasterMk cId="792883523" sldId="2147483648"/>
            <pc:sldLayoutMk cId="2394391421" sldId="2147483659"/>
          </pc:sldLayoutMkLst>
          <pc:spChg chg="add mod">
            <ac:chgData name="Adrian Kisliuk" userId="81f189f0-3ed9-4f29-a7b1-770f7af93676" providerId="ADAL" clId="{A635875F-BE0D-4938-9F04-46F82588313B}" dt="2021-03-01T13:36:48.530" v="2127" actId="20577"/>
            <ac:spMkLst>
              <pc:docMk/>
              <pc:sldMasterMk cId="792883523" sldId="2147483648"/>
              <pc:sldLayoutMk cId="2394391421" sldId="2147483659"/>
              <ac:spMk id="6" creationId="{893DFB5C-6657-400A-8F88-B26DD07EC438}"/>
            </ac:spMkLst>
          </pc:spChg>
          <pc:spChg chg="add mod">
            <ac:chgData name="Adrian Kisliuk" userId="81f189f0-3ed9-4f29-a7b1-770f7af93676" providerId="ADAL" clId="{A635875F-BE0D-4938-9F04-46F82588313B}" dt="2021-03-01T12:43:11.948" v="1350"/>
            <ac:spMkLst>
              <pc:docMk/>
              <pc:sldMasterMk cId="792883523" sldId="2147483648"/>
              <pc:sldLayoutMk cId="2394391421" sldId="2147483659"/>
              <ac:spMk id="7" creationId="{AEB2910B-904F-443B-98D2-5964AD3BC5B1}"/>
            </ac:spMkLst>
          </pc:spChg>
          <pc:spChg chg="del">
            <ac:chgData name="Adrian Kisliuk" userId="81f189f0-3ed9-4f29-a7b1-770f7af93676" providerId="ADAL" clId="{A635875F-BE0D-4938-9F04-46F82588313B}" dt="2021-03-01T12:43:11.512" v="1349" actId="478"/>
            <ac:spMkLst>
              <pc:docMk/>
              <pc:sldMasterMk cId="792883523" sldId="2147483648"/>
              <pc:sldLayoutMk cId="2394391421" sldId="2147483659"/>
              <ac:spMk id="9" creationId="{00000000-0000-0000-0000-000000000000}"/>
            </ac:spMkLst>
          </pc:spChg>
          <pc:spChg chg="del">
            <ac:chgData name="Adrian Kisliuk" userId="81f189f0-3ed9-4f29-a7b1-770f7af93676" providerId="ADAL" clId="{A635875F-BE0D-4938-9F04-46F82588313B}" dt="2021-03-01T12:43:11.512" v="1349" actId="478"/>
            <ac:spMkLst>
              <pc:docMk/>
              <pc:sldMasterMk cId="792883523" sldId="2147483648"/>
              <pc:sldLayoutMk cId="2394391421" sldId="2147483659"/>
              <ac:spMk id="10" creationId="{00000000-0000-0000-0000-000000000000}"/>
            </ac:spMkLst>
          </pc:spChg>
          <pc:picChg chg="del">
            <ac:chgData name="Adrian Kisliuk" userId="81f189f0-3ed9-4f29-a7b1-770f7af93676" providerId="ADAL" clId="{A635875F-BE0D-4938-9F04-46F82588313B}" dt="2021-03-01T11:09:33.225" v="2" actId="478"/>
            <ac:picMkLst>
              <pc:docMk/>
              <pc:sldMasterMk cId="792883523" sldId="2147483648"/>
              <pc:sldLayoutMk cId="2394391421" sldId="2147483659"/>
              <ac:picMk id="8" creationId="{00000000-0000-0000-0000-000000000000}"/>
            </ac:picMkLst>
          </pc:picChg>
        </pc:sldLayoutChg>
        <pc:sldLayoutChg chg="addSp delSp modSp mod">
          <pc:chgData name="Adrian Kisliuk" userId="81f189f0-3ed9-4f29-a7b1-770f7af93676" providerId="ADAL" clId="{A635875F-BE0D-4938-9F04-46F82588313B}" dt="2021-03-01T13:55:30.930" v="2430" actId="6549"/>
          <pc:sldLayoutMkLst>
            <pc:docMk/>
            <pc:sldMasterMk cId="792883523" sldId="2147483648"/>
            <pc:sldLayoutMk cId="3273949510" sldId="2147483660"/>
          </pc:sldLayoutMkLst>
          <pc:spChg chg="add mod">
            <ac:chgData name="Adrian Kisliuk" userId="81f189f0-3ed9-4f29-a7b1-770f7af93676" providerId="ADAL" clId="{A635875F-BE0D-4938-9F04-46F82588313B}" dt="2021-03-01T13:36:44.129" v="2126"/>
            <ac:spMkLst>
              <pc:docMk/>
              <pc:sldMasterMk cId="792883523" sldId="2147483648"/>
              <pc:sldLayoutMk cId="3273949510" sldId="2147483660"/>
              <ac:spMk id="7" creationId="{713BB1EE-F3CA-4136-A7E4-651327D23B27}"/>
            </ac:spMkLst>
          </pc:spChg>
          <pc:spChg chg="mod">
            <ac:chgData name="Adrian Kisliuk" userId="81f189f0-3ed9-4f29-a7b1-770f7af93676" providerId="ADAL" clId="{A635875F-BE0D-4938-9F04-46F82588313B}" dt="2021-03-01T13:55:30.930" v="2430" actId="6549"/>
            <ac:spMkLst>
              <pc:docMk/>
              <pc:sldMasterMk cId="792883523" sldId="2147483648"/>
              <pc:sldLayoutMk cId="3273949510" sldId="2147483660"/>
              <ac:spMk id="9" creationId="{00000000-0000-0000-0000-000000000000}"/>
            </ac:spMkLst>
          </pc:spChg>
          <pc:spChg chg="del mod">
            <ac:chgData name="Adrian Kisliuk" userId="81f189f0-3ed9-4f29-a7b1-770f7af93676" providerId="ADAL" clId="{A635875F-BE0D-4938-9F04-46F82588313B}" dt="2021-03-01T13:36:43.693" v="2125" actId="478"/>
            <ac:spMkLst>
              <pc:docMk/>
              <pc:sldMasterMk cId="792883523" sldId="2147483648"/>
              <pc:sldLayoutMk cId="3273949510" sldId="2147483660"/>
              <ac:spMk id="10" creationId="{00000000-0000-0000-0000-000000000000}"/>
            </ac:spMkLst>
          </pc:spChg>
          <pc:picChg chg="del">
            <ac:chgData name="Adrian Kisliuk" userId="81f189f0-3ed9-4f29-a7b1-770f7af93676" providerId="ADAL" clId="{A635875F-BE0D-4938-9F04-46F82588313B}" dt="2021-03-01T11:09:37.297" v="3" actId="478"/>
            <ac:picMkLst>
              <pc:docMk/>
              <pc:sldMasterMk cId="792883523" sldId="2147483648"/>
              <pc:sldLayoutMk cId="3273949510" sldId="2147483660"/>
              <ac:picMk id="11" creationId="{00000000-0000-0000-0000-000000000000}"/>
            </ac:picMkLst>
          </pc:picChg>
        </pc:sldLayoutChg>
        <pc:sldLayoutChg chg="addSp delSp modSp mod setBg">
          <pc:chgData name="Adrian Kisliuk" userId="81f189f0-3ed9-4f29-a7b1-770f7af93676" providerId="ADAL" clId="{A635875F-BE0D-4938-9F04-46F82588313B}" dt="2021-03-01T13:36:01.777" v="2121" actId="108"/>
          <pc:sldLayoutMkLst>
            <pc:docMk/>
            <pc:sldMasterMk cId="792883523" sldId="2147483648"/>
            <pc:sldLayoutMk cId="2923560172" sldId="2147483661"/>
          </pc:sldLayoutMkLst>
          <pc:spChg chg="add del mod">
            <ac:chgData name="Adrian Kisliuk" userId="81f189f0-3ed9-4f29-a7b1-770f7af93676" providerId="ADAL" clId="{A635875F-BE0D-4938-9F04-46F82588313B}" dt="2021-03-01T13:35:36.655" v="2118" actId="478"/>
            <ac:spMkLst>
              <pc:docMk/>
              <pc:sldMasterMk cId="792883523" sldId="2147483648"/>
              <pc:sldLayoutMk cId="2923560172" sldId="2147483661"/>
              <ac:spMk id="8" creationId="{D426392B-F66C-4F4C-833F-03F51E6ECC54}"/>
            </ac:spMkLst>
          </pc:spChg>
          <pc:spChg chg="add mod">
            <ac:chgData name="Adrian Kisliuk" userId="81f189f0-3ed9-4f29-a7b1-770f7af93676" providerId="ADAL" clId="{A635875F-BE0D-4938-9F04-46F82588313B}" dt="2021-03-01T12:43:06.994" v="1347"/>
            <ac:spMkLst>
              <pc:docMk/>
              <pc:sldMasterMk cId="792883523" sldId="2147483648"/>
              <pc:sldLayoutMk cId="2923560172" sldId="2147483661"/>
              <ac:spMk id="9" creationId="{86EB35D6-60D0-49DE-BD14-F5B0FC029591}"/>
            </ac:spMkLst>
          </pc:spChg>
          <pc:spChg chg="del">
            <ac:chgData name="Adrian Kisliuk" userId="81f189f0-3ed9-4f29-a7b1-770f7af93676" providerId="ADAL" clId="{A635875F-BE0D-4938-9F04-46F82588313B}" dt="2021-03-01T12:43:06.187" v="1346" actId="478"/>
            <ac:spMkLst>
              <pc:docMk/>
              <pc:sldMasterMk cId="792883523" sldId="2147483648"/>
              <pc:sldLayoutMk cId="2923560172" sldId="2147483661"/>
              <ac:spMk id="10" creationId="{00000000-0000-0000-0000-000000000000}"/>
            </ac:spMkLst>
          </pc:spChg>
          <pc:spChg chg="del">
            <ac:chgData name="Adrian Kisliuk" userId="81f189f0-3ed9-4f29-a7b1-770f7af93676" providerId="ADAL" clId="{A635875F-BE0D-4938-9F04-46F82588313B}" dt="2021-03-01T12:43:06.187" v="1346" actId="478"/>
            <ac:spMkLst>
              <pc:docMk/>
              <pc:sldMasterMk cId="792883523" sldId="2147483648"/>
              <pc:sldLayoutMk cId="2923560172" sldId="2147483661"/>
              <ac:spMk id="11" creationId="{00000000-0000-0000-0000-000000000000}"/>
            </ac:spMkLst>
          </pc:spChg>
          <pc:spChg chg="add mod">
            <ac:chgData name="Adrian Kisliuk" userId="81f189f0-3ed9-4f29-a7b1-770f7af93676" providerId="ADAL" clId="{A635875F-BE0D-4938-9F04-46F82588313B}" dt="2021-03-01T13:36:01.777" v="2121" actId="108"/>
            <ac:spMkLst>
              <pc:docMk/>
              <pc:sldMasterMk cId="792883523" sldId="2147483648"/>
              <pc:sldLayoutMk cId="2923560172" sldId="2147483661"/>
              <ac:spMk id="12" creationId="{BD13B020-0BB0-420E-B7B5-70F1D753D60C}"/>
            </ac:spMkLst>
          </pc:spChg>
          <pc:picChg chg="del">
            <ac:chgData name="Adrian Kisliuk" userId="81f189f0-3ed9-4f29-a7b1-770f7af93676" providerId="ADAL" clId="{A635875F-BE0D-4938-9F04-46F82588313B}" dt="2021-03-01T11:09:40.024" v="4" actId="478"/>
            <ac:picMkLst>
              <pc:docMk/>
              <pc:sldMasterMk cId="792883523" sldId="2147483648"/>
              <pc:sldLayoutMk cId="2923560172" sldId="2147483661"/>
              <ac:picMk id="12" creationId="{00000000-0000-0000-0000-000000000000}"/>
            </ac:picMkLst>
          </pc:picChg>
        </pc:sldLayoutChg>
        <pc:sldLayoutChg chg="new del mod">
          <pc:chgData name="Adrian Kisliuk" userId="81f189f0-3ed9-4f29-a7b1-770f7af93676" providerId="ADAL" clId="{A635875F-BE0D-4938-9F04-46F82588313B}" dt="2021-03-01T13:33:51.978" v="2103" actId="11236"/>
          <pc:sldLayoutMkLst>
            <pc:docMk/>
            <pc:sldMasterMk cId="792883523" sldId="2147483648"/>
            <pc:sldLayoutMk cId="1148991349" sldId="2147483663"/>
          </pc:sldLayoutMkLst>
        </pc:sldLayoutChg>
      </pc:sldMasterChg>
    </pc:docChg>
  </pc:docChgLst>
  <pc:docChgLst>
    <pc:chgData name="Rüdiger Schulze" userId="S::ruediger.schulze@detecon.com::4da61761-5289-4b31-8291-d48cdf0951bf" providerId="AD" clId="Web-{EFE7D4C0-1311-4733-9B53-817323BF6D8E}"/>
    <pc:docChg chg="modSld">
      <pc:chgData name="Rüdiger Schulze" userId="S::ruediger.schulze@detecon.com::4da61761-5289-4b31-8291-d48cdf0951bf" providerId="AD" clId="Web-{EFE7D4C0-1311-4733-9B53-817323BF6D8E}" dt="2021-02-11T16:40:14.107" v="454" actId="20577"/>
      <pc:docMkLst>
        <pc:docMk/>
      </pc:docMkLst>
      <pc:sldChg chg="modSp">
        <pc:chgData name="Rüdiger Schulze" userId="S::ruediger.schulze@detecon.com::4da61761-5289-4b31-8291-d48cdf0951bf" providerId="AD" clId="Web-{EFE7D4C0-1311-4733-9B53-817323BF6D8E}" dt="2021-02-11T16:40:14.107" v="454" actId="20577"/>
        <pc:sldMkLst>
          <pc:docMk/>
          <pc:sldMk cId="3936041182" sldId="814"/>
        </pc:sldMkLst>
        <pc:spChg chg="mod">
          <ac:chgData name="Rüdiger Schulze" userId="S::ruediger.schulze@detecon.com::4da61761-5289-4b31-8291-d48cdf0951bf" providerId="AD" clId="Web-{EFE7D4C0-1311-4733-9B53-817323BF6D8E}" dt="2021-02-11T16:40:14.107" v="454" actId="20577"/>
          <ac:spMkLst>
            <pc:docMk/>
            <pc:sldMk cId="3936041182" sldId="814"/>
            <ac:spMk id="21" creationId="{00000000-0000-0000-0000-000000000000}"/>
          </ac:spMkLst>
        </pc:spChg>
      </pc:sldChg>
    </pc:docChg>
  </pc:docChgLst>
  <pc:docChgLst>
    <pc:chgData name="Adrian Kisliuk" userId="81f189f0-3ed9-4f29-a7b1-770f7af93676" providerId="ADAL" clId="{5FB02D21-3BEB-47B8-8BB8-0FFC09049636}"/>
    <pc:docChg chg="undo redo custSel addSld modSld sldOrd">
      <pc:chgData name="Adrian Kisliuk" userId="81f189f0-3ed9-4f29-a7b1-770f7af93676" providerId="ADAL" clId="{5FB02D21-3BEB-47B8-8BB8-0FFC09049636}" dt="2021-02-10T17:59:22.518" v="5249"/>
      <pc:docMkLst>
        <pc:docMk/>
      </pc:docMkLst>
      <pc:sldChg chg="modSp mod ord modNotesTx">
        <pc:chgData name="Adrian Kisliuk" userId="81f189f0-3ed9-4f29-a7b1-770f7af93676" providerId="ADAL" clId="{5FB02D21-3BEB-47B8-8BB8-0FFC09049636}" dt="2021-02-10T17:15:51.730" v="3281"/>
        <pc:sldMkLst>
          <pc:docMk/>
          <pc:sldMk cId="1616179656" sldId="350"/>
        </pc:sldMkLst>
        <pc:spChg chg="mod">
          <ac:chgData name="Adrian Kisliuk" userId="81f189f0-3ed9-4f29-a7b1-770f7af93676" providerId="ADAL" clId="{5FB02D21-3BEB-47B8-8BB8-0FFC09049636}" dt="2021-02-10T15:38:57.784" v="2514"/>
          <ac:spMkLst>
            <pc:docMk/>
            <pc:sldMk cId="1616179656" sldId="350"/>
            <ac:spMk id="6" creationId="{00000000-0000-0000-0000-000000000000}"/>
          </ac:spMkLst>
        </pc:spChg>
        <pc:spChg chg="mod">
          <ac:chgData name="Adrian Kisliuk" userId="81f189f0-3ed9-4f29-a7b1-770f7af93676" providerId="ADAL" clId="{5FB02D21-3BEB-47B8-8BB8-0FFC09049636}" dt="2021-02-10T15:52:05.470" v="2918" actId="108"/>
          <ac:spMkLst>
            <pc:docMk/>
            <pc:sldMk cId="1616179656" sldId="350"/>
            <ac:spMk id="7" creationId="{00000000-0000-0000-0000-000000000000}"/>
          </ac:spMkLst>
        </pc:spChg>
        <pc:spChg chg="mod">
          <ac:chgData name="Adrian Kisliuk" userId="81f189f0-3ed9-4f29-a7b1-770f7af93676" providerId="ADAL" clId="{5FB02D21-3BEB-47B8-8BB8-0FFC09049636}" dt="2021-02-10T15:40:05.728" v="2524"/>
          <ac:spMkLst>
            <pc:docMk/>
            <pc:sldMk cId="1616179656" sldId="350"/>
            <ac:spMk id="13" creationId="{A42CB132-2B8B-4431-8519-9124B550642E}"/>
          </ac:spMkLst>
        </pc:spChg>
        <pc:spChg chg="mod">
          <ac:chgData name="Adrian Kisliuk" userId="81f189f0-3ed9-4f29-a7b1-770f7af93676" providerId="ADAL" clId="{5FB02D21-3BEB-47B8-8BB8-0FFC09049636}" dt="2021-02-10T15:52:01.682" v="2917" actId="108"/>
          <ac:spMkLst>
            <pc:docMk/>
            <pc:sldMk cId="1616179656" sldId="350"/>
            <ac:spMk id="22" creationId="{69C0E85C-B0C1-4540-B510-F32AAC079FE0}"/>
          </ac:spMkLst>
        </pc:spChg>
        <pc:spChg chg="mod">
          <ac:chgData name="Adrian Kisliuk" userId="81f189f0-3ed9-4f29-a7b1-770f7af93676" providerId="ADAL" clId="{5FB02D21-3BEB-47B8-8BB8-0FFC09049636}" dt="2021-02-10T15:51:55.251" v="2915" actId="108"/>
          <ac:spMkLst>
            <pc:docMk/>
            <pc:sldMk cId="1616179656" sldId="350"/>
            <ac:spMk id="26" creationId="{AA7C1736-7B5E-48F9-A847-2B654B5A7A3C}"/>
          </ac:spMkLst>
        </pc:spChg>
        <pc:spChg chg="mod">
          <ac:chgData name="Adrian Kisliuk" userId="81f189f0-3ed9-4f29-a7b1-770f7af93676" providerId="ADAL" clId="{5FB02D21-3BEB-47B8-8BB8-0FFC09049636}" dt="2021-02-10T15:51:59.770" v="2916" actId="108"/>
          <ac:spMkLst>
            <pc:docMk/>
            <pc:sldMk cId="1616179656" sldId="350"/>
            <ac:spMk id="30" creationId="{1F595901-02F8-4D5F-B764-F7E27CD95338}"/>
          </ac:spMkLst>
        </pc:spChg>
      </pc:sldChg>
      <pc:sldChg chg="modSp mod">
        <pc:chgData name="Adrian Kisliuk" userId="81f189f0-3ed9-4f29-a7b1-770f7af93676" providerId="ADAL" clId="{5FB02D21-3BEB-47B8-8BB8-0FFC09049636}" dt="2021-02-10T12:59:21.606" v="366" actId="20577"/>
        <pc:sldMkLst>
          <pc:docMk/>
          <pc:sldMk cId="2159670343" sldId="395"/>
        </pc:sldMkLst>
        <pc:spChg chg="mod">
          <ac:chgData name="Adrian Kisliuk" userId="81f189f0-3ed9-4f29-a7b1-770f7af93676" providerId="ADAL" clId="{5FB02D21-3BEB-47B8-8BB8-0FFC09049636}" dt="2021-02-10T12:59:21.606" v="366" actId="20577"/>
          <ac:spMkLst>
            <pc:docMk/>
            <pc:sldMk cId="2159670343" sldId="395"/>
            <ac:spMk id="22" creationId="{00000000-0000-0000-0000-000000000000}"/>
          </ac:spMkLst>
        </pc:spChg>
      </pc:sldChg>
      <pc:sldChg chg="modSp mod modNotesTx">
        <pc:chgData name="Adrian Kisliuk" userId="81f189f0-3ed9-4f29-a7b1-770f7af93676" providerId="ADAL" clId="{5FB02D21-3BEB-47B8-8BB8-0FFC09049636}" dt="2021-02-10T15:58:08.838" v="3070" actId="108"/>
        <pc:sldMkLst>
          <pc:docMk/>
          <pc:sldMk cId="1865496842" sldId="793"/>
        </pc:sldMkLst>
        <pc:spChg chg="mod">
          <ac:chgData name="Adrian Kisliuk" userId="81f189f0-3ed9-4f29-a7b1-770f7af93676" providerId="ADAL" clId="{5FB02D21-3BEB-47B8-8BB8-0FFC09049636}" dt="2021-02-10T15:57:56.182" v="3065" actId="108"/>
          <ac:spMkLst>
            <pc:docMk/>
            <pc:sldMk cId="1865496842" sldId="793"/>
            <ac:spMk id="6" creationId="{00000000-0000-0000-0000-000000000000}"/>
          </ac:spMkLst>
        </pc:spChg>
        <pc:spChg chg="mod">
          <ac:chgData name="Adrian Kisliuk" userId="81f189f0-3ed9-4f29-a7b1-770f7af93676" providerId="ADAL" clId="{5FB02D21-3BEB-47B8-8BB8-0FFC09049636}" dt="2021-02-10T15:57:57.814" v="3066" actId="108"/>
          <ac:spMkLst>
            <pc:docMk/>
            <pc:sldMk cId="1865496842" sldId="793"/>
            <ac:spMk id="7" creationId="{00000000-0000-0000-0000-000000000000}"/>
          </ac:spMkLst>
        </pc:spChg>
        <pc:spChg chg="mod">
          <ac:chgData name="Adrian Kisliuk" userId="81f189f0-3ed9-4f29-a7b1-770f7af93676" providerId="ADAL" clId="{5FB02D21-3BEB-47B8-8BB8-0FFC09049636}" dt="2021-02-10T15:57:59.972" v="3067" actId="108"/>
          <ac:spMkLst>
            <pc:docMk/>
            <pc:sldMk cId="1865496842" sldId="793"/>
            <ac:spMk id="13" creationId="{A42CB132-2B8B-4431-8519-9124B550642E}"/>
          </ac:spMkLst>
        </pc:spChg>
        <pc:spChg chg="mod">
          <ac:chgData name="Adrian Kisliuk" userId="81f189f0-3ed9-4f29-a7b1-770f7af93676" providerId="ADAL" clId="{5FB02D21-3BEB-47B8-8BB8-0FFC09049636}" dt="2021-02-10T15:58:06.875" v="3069" actId="108"/>
          <ac:spMkLst>
            <pc:docMk/>
            <pc:sldMk cId="1865496842" sldId="793"/>
            <ac:spMk id="22" creationId="{69C0E85C-B0C1-4540-B510-F32AAC079FE0}"/>
          </ac:spMkLst>
        </pc:spChg>
        <pc:spChg chg="mod">
          <ac:chgData name="Adrian Kisliuk" userId="81f189f0-3ed9-4f29-a7b1-770f7af93676" providerId="ADAL" clId="{5FB02D21-3BEB-47B8-8BB8-0FFC09049636}" dt="2021-02-10T15:55:30.765" v="2996" actId="14100"/>
          <ac:spMkLst>
            <pc:docMk/>
            <pc:sldMk cId="1865496842" sldId="793"/>
            <ac:spMk id="26" creationId="{AA7C1736-7B5E-48F9-A847-2B654B5A7A3C}"/>
          </ac:spMkLst>
        </pc:spChg>
        <pc:spChg chg="mod">
          <ac:chgData name="Adrian Kisliuk" userId="81f189f0-3ed9-4f29-a7b1-770f7af93676" providerId="ADAL" clId="{5FB02D21-3BEB-47B8-8BB8-0FFC09049636}" dt="2021-02-10T15:58:03.759" v="3068" actId="108"/>
          <ac:spMkLst>
            <pc:docMk/>
            <pc:sldMk cId="1865496842" sldId="793"/>
            <ac:spMk id="30" creationId="{1F595901-02F8-4D5F-B764-F7E27CD95338}"/>
          </ac:spMkLst>
        </pc:spChg>
        <pc:grpChg chg="mod">
          <ac:chgData name="Adrian Kisliuk" userId="81f189f0-3ed9-4f29-a7b1-770f7af93676" providerId="ADAL" clId="{5FB02D21-3BEB-47B8-8BB8-0FFC09049636}" dt="2021-02-10T15:54:33.733" v="2982" actId="1036"/>
          <ac:grpSpMkLst>
            <pc:docMk/>
            <pc:sldMk cId="1865496842" sldId="793"/>
            <ac:grpSpMk id="17" creationId="{00000000-0000-0000-0000-000000000000}"/>
          </ac:grpSpMkLst>
        </pc:grpChg>
        <pc:grpChg chg="mod">
          <ac:chgData name="Adrian Kisliuk" userId="81f189f0-3ed9-4f29-a7b1-770f7af93676" providerId="ADAL" clId="{5FB02D21-3BEB-47B8-8BB8-0FFC09049636}" dt="2021-02-10T15:55:34.959" v="3020" actId="1036"/>
          <ac:grpSpMkLst>
            <pc:docMk/>
            <pc:sldMk cId="1865496842" sldId="793"/>
            <ac:grpSpMk id="27" creationId="{7E882705-D33A-4E08-8844-45C9666567A2}"/>
          </ac:grpSpMkLst>
        </pc:grpChg>
        <pc:grpChg chg="mod">
          <ac:chgData name="Adrian Kisliuk" userId="81f189f0-3ed9-4f29-a7b1-770f7af93676" providerId="ADAL" clId="{5FB02D21-3BEB-47B8-8BB8-0FFC09049636}" dt="2021-02-10T15:55:56.477" v="3045" actId="1036"/>
          <ac:grpSpMkLst>
            <pc:docMk/>
            <pc:sldMk cId="1865496842" sldId="793"/>
            <ac:grpSpMk id="31" creationId="{6011A2E9-AE64-42D5-AD85-C665FF32E4B6}"/>
          </ac:grpSpMkLst>
        </pc:grpChg>
      </pc:sldChg>
      <pc:sldChg chg="ord">
        <pc:chgData name="Adrian Kisliuk" userId="81f189f0-3ed9-4f29-a7b1-770f7af93676" providerId="ADAL" clId="{5FB02D21-3BEB-47B8-8BB8-0FFC09049636}" dt="2021-02-10T17:16:57.629" v="3293"/>
        <pc:sldMkLst>
          <pc:docMk/>
          <pc:sldMk cId="2407910274" sldId="794"/>
        </pc:sldMkLst>
      </pc:sldChg>
      <pc:sldChg chg="modSp mod ord">
        <pc:chgData name="Adrian Kisliuk" userId="81f189f0-3ed9-4f29-a7b1-770f7af93676" providerId="ADAL" clId="{5FB02D21-3BEB-47B8-8BB8-0FFC09049636}" dt="2021-02-10T17:24:07.039" v="3442"/>
        <pc:sldMkLst>
          <pc:docMk/>
          <pc:sldMk cId="1956313589" sldId="799"/>
        </pc:sldMkLst>
        <pc:graphicFrameChg chg="mod modGraphic">
          <ac:chgData name="Adrian Kisliuk" userId="81f189f0-3ed9-4f29-a7b1-770f7af93676" providerId="ADAL" clId="{5FB02D21-3BEB-47B8-8BB8-0FFC09049636}" dt="2021-02-10T17:23:35.783" v="3438" actId="108"/>
          <ac:graphicFrameMkLst>
            <pc:docMk/>
            <pc:sldMk cId="1956313589" sldId="799"/>
            <ac:graphicFrameMk id="11" creationId="{FF10CA16-74F9-4260-93E9-F994C8B3E186}"/>
          </ac:graphicFrameMkLst>
        </pc:graphicFrameChg>
      </pc:sldChg>
      <pc:sldChg chg="addSp delSp modSp add mod ord">
        <pc:chgData name="Adrian Kisliuk" userId="81f189f0-3ed9-4f29-a7b1-770f7af93676" providerId="ADAL" clId="{5FB02D21-3BEB-47B8-8BB8-0FFC09049636}" dt="2021-02-10T17:59:22.518" v="5249"/>
        <pc:sldMkLst>
          <pc:docMk/>
          <pc:sldMk cId="1480693913" sldId="804"/>
        </pc:sldMkLst>
        <pc:spChg chg="mod">
          <ac:chgData name="Adrian Kisliuk" userId="81f189f0-3ed9-4f29-a7b1-770f7af93676" providerId="ADAL" clId="{5FB02D21-3BEB-47B8-8BB8-0FFC09049636}" dt="2021-02-10T12:52:54.742" v="27"/>
          <ac:spMkLst>
            <pc:docMk/>
            <pc:sldMk cId="1480693913" sldId="804"/>
            <ac:spMk id="2" creationId="{00000000-0000-0000-0000-000000000000}"/>
          </ac:spMkLst>
        </pc:spChg>
        <pc:spChg chg="del">
          <ac:chgData name="Adrian Kisliuk" userId="81f189f0-3ed9-4f29-a7b1-770f7af93676" providerId="ADAL" clId="{5FB02D21-3BEB-47B8-8BB8-0FFC09049636}" dt="2021-02-10T12:52:57.432" v="29" actId="478"/>
          <ac:spMkLst>
            <pc:docMk/>
            <pc:sldMk cId="1480693913" sldId="804"/>
            <ac:spMk id="7" creationId="{3237DF8C-BB09-4A50-B1A4-08F1F7366B57}"/>
          </ac:spMkLst>
        </pc:spChg>
        <pc:spChg chg="del">
          <ac:chgData name="Adrian Kisliuk" userId="81f189f0-3ed9-4f29-a7b1-770f7af93676" providerId="ADAL" clId="{5FB02D21-3BEB-47B8-8BB8-0FFC09049636}" dt="2021-02-10T12:53:02.038" v="30" actId="478"/>
          <ac:spMkLst>
            <pc:docMk/>
            <pc:sldMk cId="1480693913" sldId="804"/>
            <ac:spMk id="10" creationId="{7D991681-E699-4D7B-9E2B-56DD7DEDB877}"/>
          </ac:spMkLst>
        </pc:spChg>
        <pc:spChg chg="del">
          <ac:chgData name="Adrian Kisliuk" userId="81f189f0-3ed9-4f29-a7b1-770f7af93676" providerId="ADAL" clId="{5FB02D21-3BEB-47B8-8BB8-0FFC09049636}" dt="2021-02-10T12:53:02.038" v="30" actId="478"/>
          <ac:spMkLst>
            <pc:docMk/>
            <pc:sldMk cId="1480693913" sldId="804"/>
            <ac:spMk id="11" creationId="{FF4443B8-B4A7-4AD5-8952-D095E55EBB46}"/>
          </ac:spMkLst>
        </pc:spChg>
        <pc:spChg chg="del">
          <ac:chgData name="Adrian Kisliuk" userId="81f189f0-3ed9-4f29-a7b1-770f7af93676" providerId="ADAL" clId="{5FB02D21-3BEB-47B8-8BB8-0FFC09049636}" dt="2021-02-10T12:53:02.038" v="30" actId="478"/>
          <ac:spMkLst>
            <pc:docMk/>
            <pc:sldMk cId="1480693913" sldId="804"/>
            <ac:spMk id="12" creationId="{2488E354-6A8C-4234-B543-9377821D80E1}"/>
          </ac:spMkLst>
        </pc:spChg>
        <pc:spChg chg="del">
          <ac:chgData name="Adrian Kisliuk" userId="81f189f0-3ed9-4f29-a7b1-770f7af93676" providerId="ADAL" clId="{5FB02D21-3BEB-47B8-8BB8-0FFC09049636}" dt="2021-02-10T12:53:02.038" v="30" actId="478"/>
          <ac:spMkLst>
            <pc:docMk/>
            <pc:sldMk cId="1480693913" sldId="804"/>
            <ac:spMk id="13" creationId="{69313331-0C0B-49F7-A184-DAF852B31CCF}"/>
          </ac:spMkLst>
        </pc:spChg>
        <pc:picChg chg="add mod">
          <ac:chgData name="Adrian Kisliuk" userId="81f189f0-3ed9-4f29-a7b1-770f7af93676" providerId="ADAL" clId="{5FB02D21-3BEB-47B8-8BB8-0FFC09049636}" dt="2021-02-10T12:54:09.446" v="35" actId="1076"/>
          <ac:picMkLst>
            <pc:docMk/>
            <pc:sldMk cId="1480693913" sldId="804"/>
            <ac:picMk id="4" creationId="{EB7875FE-19BB-4F49-9155-9E0C2FB36C12}"/>
          </ac:picMkLst>
        </pc:picChg>
        <pc:picChg chg="del">
          <ac:chgData name="Adrian Kisliuk" userId="81f189f0-3ed9-4f29-a7b1-770f7af93676" providerId="ADAL" clId="{5FB02D21-3BEB-47B8-8BB8-0FFC09049636}" dt="2021-02-10T12:53:02.038" v="30" actId="478"/>
          <ac:picMkLst>
            <pc:docMk/>
            <pc:sldMk cId="1480693913" sldId="804"/>
            <ac:picMk id="8" creationId="{2BA9F3A9-3383-4F35-B8E9-8DC5FB31950D}"/>
          </ac:picMkLst>
        </pc:picChg>
        <pc:picChg chg="del">
          <ac:chgData name="Adrian Kisliuk" userId="81f189f0-3ed9-4f29-a7b1-770f7af93676" providerId="ADAL" clId="{5FB02D21-3BEB-47B8-8BB8-0FFC09049636}" dt="2021-02-10T12:52:56.231" v="28" actId="478"/>
          <ac:picMkLst>
            <pc:docMk/>
            <pc:sldMk cId="1480693913" sldId="804"/>
            <ac:picMk id="9" creationId="{B51EE567-981C-40E6-B77A-B8E04351C417}"/>
          </ac:picMkLst>
        </pc:picChg>
      </pc:sldChg>
      <pc:sldChg chg="addSp delSp modSp add mod">
        <pc:chgData name="Adrian Kisliuk" userId="81f189f0-3ed9-4f29-a7b1-770f7af93676" providerId="ADAL" clId="{5FB02D21-3BEB-47B8-8BB8-0FFC09049636}" dt="2021-02-10T12:55:40.087" v="40" actId="1076"/>
        <pc:sldMkLst>
          <pc:docMk/>
          <pc:sldMk cId="1748728590" sldId="805"/>
        </pc:sldMkLst>
        <pc:spChg chg="del">
          <ac:chgData name="Adrian Kisliuk" userId="81f189f0-3ed9-4f29-a7b1-770f7af93676" providerId="ADAL" clId="{5FB02D21-3BEB-47B8-8BB8-0FFC09049636}" dt="2021-02-10T12:55:14.783" v="37" actId="478"/>
          <ac:spMkLst>
            <pc:docMk/>
            <pc:sldMk cId="1748728590" sldId="805"/>
            <ac:spMk id="6" creationId="{00000000-0000-0000-0000-000000000000}"/>
          </ac:spMkLst>
        </pc:spChg>
        <pc:spChg chg="del">
          <ac:chgData name="Adrian Kisliuk" userId="81f189f0-3ed9-4f29-a7b1-770f7af93676" providerId="ADAL" clId="{5FB02D21-3BEB-47B8-8BB8-0FFC09049636}" dt="2021-02-10T12:55:14.783" v="37" actId="478"/>
          <ac:spMkLst>
            <pc:docMk/>
            <pc:sldMk cId="1748728590" sldId="805"/>
            <ac:spMk id="7" creationId="{00000000-0000-0000-0000-000000000000}"/>
          </ac:spMkLst>
        </pc:spChg>
        <pc:spChg chg="del">
          <ac:chgData name="Adrian Kisliuk" userId="81f189f0-3ed9-4f29-a7b1-770f7af93676" providerId="ADAL" clId="{5FB02D21-3BEB-47B8-8BB8-0FFC09049636}" dt="2021-02-10T12:55:14.783" v="37" actId="478"/>
          <ac:spMkLst>
            <pc:docMk/>
            <pc:sldMk cId="1748728590" sldId="805"/>
            <ac:spMk id="13" creationId="{A42CB132-2B8B-4431-8519-9124B550642E}"/>
          </ac:spMkLst>
        </pc:spChg>
        <pc:spChg chg="del">
          <ac:chgData name="Adrian Kisliuk" userId="81f189f0-3ed9-4f29-a7b1-770f7af93676" providerId="ADAL" clId="{5FB02D21-3BEB-47B8-8BB8-0FFC09049636}" dt="2021-02-10T12:55:14.783" v="37" actId="478"/>
          <ac:spMkLst>
            <pc:docMk/>
            <pc:sldMk cId="1748728590" sldId="805"/>
            <ac:spMk id="22" creationId="{69C0E85C-B0C1-4540-B510-F32AAC079FE0}"/>
          </ac:spMkLst>
        </pc:spChg>
        <pc:spChg chg="del">
          <ac:chgData name="Adrian Kisliuk" userId="81f189f0-3ed9-4f29-a7b1-770f7af93676" providerId="ADAL" clId="{5FB02D21-3BEB-47B8-8BB8-0FFC09049636}" dt="2021-02-10T12:55:14.783" v="37" actId="478"/>
          <ac:spMkLst>
            <pc:docMk/>
            <pc:sldMk cId="1748728590" sldId="805"/>
            <ac:spMk id="26" creationId="{AA7C1736-7B5E-48F9-A847-2B654B5A7A3C}"/>
          </ac:spMkLst>
        </pc:spChg>
        <pc:spChg chg="del">
          <ac:chgData name="Adrian Kisliuk" userId="81f189f0-3ed9-4f29-a7b1-770f7af93676" providerId="ADAL" clId="{5FB02D21-3BEB-47B8-8BB8-0FFC09049636}" dt="2021-02-10T12:55:14.783" v="37" actId="478"/>
          <ac:spMkLst>
            <pc:docMk/>
            <pc:sldMk cId="1748728590" sldId="805"/>
            <ac:spMk id="30" creationId="{1F595901-02F8-4D5F-B764-F7E27CD95338}"/>
          </ac:spMkLst>
        </pc:spChg>
        <pc:spChg chg="del">
          <ac:chgData name="Adrian Kisliuk" userId="81f189f0-3ed9-4f29-a7b1-770f7af93676" providerId="ADAL" clId="{5FB02D21-3BEB-47B8-8BB8-0FFC09049636}" dt="2021-02-10T12:55:14.783" v="37" actId="478"/>
          <ac:spMkLst>
            <pc:docMk/>
            <pc:sldMk cId="1748728590" sldId="805"/>
            <ac:spMk id="34" creationId="{59734FF0-13AE-49D5-918A-B1443D4466F2}"/>
          </ac:spMkLst>
        </pc:spChg>
        <pc:spChg chg="del">
          <ac:chgData name="Adrian Kisliuk" userId="81f189f0-3ed9-4f29-a7b1-770f7af93676" providerId="ADAL" clId="{5FB02D21-3BEB-47B8-8BB8-0FFC09049636}" dt="2021-02-10T12:55:14.783" v="37" actId="478"/>
          <ac:spMkLst>
            <pc:docMk/>
            <pc:sldMk cId="1748728590" sldId="805"/>
            <ac:spMk id="35" creationId="{4D1EC1F4-6EAE-4FD7-A755-CF09B470AB57}"/>
          </ac:spMkLst>
        </pc:spChg>
        <pc:spChg chg="del">
          <ac:chgData name="Adrian Kisliuk" userId="81f189f0-3ed9-4f29-a7b1-770f7af93676" providerId="ADAL" clId="{5FB02D21-3BEB-47B8-8BB8-0FFC09049636}" dt="2021-02-10T12:55:14.783" v="37" actId="478"/>
          <ac:spMkLst>
            <pc:docMk/>
            <pc:sldMk cId="1748728590" sldId="805"/>
            <ac:spMk id="36" creationId="{D184E874-2F62-4591-AFBC-4EF385F2B9AF}"/>
          </ac:spMkLst>
        </pc:spChg>
        <pc:grpChg chg="del">
          <ac:chgData name="Adrian Kisliuk" userId="81f189f0-3ed9-4f29-a7b1-770f7af93676" providerId="ADAL" clId="{5FB02D21-3BEB-47B8-8BB8-0FFC09049636}" dt="2021-02-10T12:55:14.783" v="37" actId="478"/>
          <ac:grpSpMkLst>
            <pc:docMk/>
            <pc:sldMk cId="1748728590" sldId="805"/>
            <ac:grpSpMk id="12" creationId="{00000000-0000-0000-0000-000000000000}"/>
          </ac:grpSpMkLst>
        </pc:grpChg>
        <pc:grpChg chg="del">
          <ac:chgData name="Adrian Kisliuk" userId="81f189f0-3ed9-4f29-a7b1-770f7af93676" providerId="ADAL" clId="{5FB02D21-3BEB-47B8-8BB8-0FFC09049636}" dt="2021-02-10T12:55:14.783" v="37" actId="478"/>
          <ac:grpSpMkLst>
            <pc:docMk/>
            <pc:sldMk cId="1748728590" sldId="805"/>
            <ac:grpSpMk id="16" creationId="{0BC81861-00FC-41ED-BBBF-A3469D5A311A}"/>
          </ac:grpSpMkLst>
        </pc:grpChg>
        <pc:grpChg chg="del">
          <ac:chgData name="Adrian Kisliuk" userId="81f189f0-3ed9-4f29-a7b1-770f7af93676" providerId="ADAL" clId="{5FB02D21-3BEB-47B8-8BB8-0FFC09049636}" dt="2021-02-10T12:55:14.783" v="37" actId="478"/>
          <ac:grpSpMkLst>
            <pc:docMk/>
            <pc:sldMk cId="1748728590" sldId="805"/>
            <ac:grpSpMk id="17" creationId="{00000000-0000-0000-0000-000000000000}"/>
          </ac:grpSpMkLst>
        </pc:grpChg>
        <pc:grpChg chg="del">
          <ac:chgData name="Adrian Kisliuk" userId="81f189f0-3ed9-4f29-a7b1-770f7af93676" providerId="ADAL" clId="{5FB02D21-3BEB-47B8-8BB8-0FFC09049636}" dt="2021-02-10T12:55:14.783" v="37" actId="478"/>
          <ac:grpSpMkLst>
            <pc:docMk/>
            <pc:sldMk cId="1748728590" sldId="805"/>
            <ac:grpSpMk id="23" creationId="{5C22EA0C-7F27-4D9D-8C2D-4FF86788D22A}"/>
          </ac:grpSpMkLst>
        </pc:grpChg>
        <pc:grpChg chg="del">
          <ac:chgData name="Adrian Kisliuk" userId="81f189f0-3ed9-4f29-a7b1-770f7af93676" providerId="ADAL" clId="{5FB02D21-3BEB-47B8-8BB8-0FFC09049636}" dt="2021-02-10T12:55:14.783" v="37" actId="478"/>
          <ac:grpSpMkLst>
            <pc:docMk/>
            <pc:sldMk cId="1748728590" sldId="805"/>
            <ac:grpSpMk id="27" creationId="{7E882705-D33A-4E08-8844-45C9666567A2}"/>
          </ac:grpSpMkLst>
        </pc:grpChg>
        <pc:grpChg chg="del">
          <ac:chgData name="Adrian Kisliuk" userId="81f189f0-3ed9-4f29-a7b1-770f7af93676" providerId="ADAL" clId="{5FB02D21-3BEB-47B8-8BB8-0FFC09049636}" dt="2021-02-10T12:55:14.783" v="37" actId="478"/>
          <ac:grpSpMkLst>
            <pc:docMk/>
            <pc:sldMk cId="1748728590" sldId="805"/>
            <ac:grpSpMk id="31" creationId="{6011A2E9-AE64-42D5-AD85-C665FF32E4B6}"/>
          </ac:grpSpMkLst>
        </pc:grpChg>
        <pc:picChg chg="add mod">
          <ac:chgData name="Adrian Kisliuk" userId="81f189f0-3ed9-4f29-a7b1-770f7af93676" providerId="ADAL" clId="{5FB02D21-3BEB-47B8-8BB8-0FFC09049636}" dt="2021-02-10T12:55:40.087" v="40" actId="1076"/>
          <ac:picMkLst>
            <pc:docMk/>
            <pc:sldMk cId="1748728590" sldId="805"/>
            <ac:picMk id="5" creationId="{28C1ADF7-2496-441E-A567-6067B32B9FC2}"/>
          </ac:picMkLst>
        </pc:picChg>
      </pc:sldChg>
      <pc:sldChg chg="addSp delSp add mod">
        <pc:chgData name="Adrian Kisliuk" userId="81f189f0-3ed9-4f29-a7b1-770f7af93676" providerId="ADAL" clId="{5FB02D21-3BEB-47B8-8BB8-0FFC09049636}" dt="2021-02-10T12:56:14.046" v="44"/>
        <pc:sldMkLst>
          <pc:docMk/>
          <pc:sldMk cId="2995988070" sldId="806"/>
        </pc:sldMkLst>
        <pc:spChg chg="del">
          <ac:chgData name="Adrian Kisliuk" userId="81f189f0-3ed9-4f29-a7b1-770f7af93676" providerId="ADAL" clId="{5FB02D21-3BEB-47B8-8BB8-0FFC09049636}" dt="2021-02-10T12:55:55.660" v="42" actId="478"/>
          <ac:spMkLst>
            <pc:docMk/>
            <pc:sldMk cId="2995988070" sldId="806"/>
            <ac:spMk id="6" creationId="{00000000-0000-0000-0000-000000000000}"/>
          </ac:spMkLst>
        </pc:spChg>
        <pc:spChg chg="del">
          <ac:chgData name="Adrian Kisliuk" userId="81f189f0-3ed9-4f29-a7b1-770f7af93676" providerId="ADAL" clId="{5FB02D21-3BEB-47B8-8BB8-0FFC09049636}" dt="2021-02-10T12:55:55.660" v="42" actId="478"/>
          <ac:spMkLst>
            <pc:docMk/>
            <pc:sldMk cId="2995988070" sldId="806"/>
            <ac:spMk id="7" creationId="{00000000-0000-0000-0000-000000000000}"/>
          </ac:spMkLst>
        </pc:spChg>
        <pc:spChg chg="del">
          <ac:chgData name="Adrian Kisliuk" userId="81f189f0-3ed9-4f29-a7b1-770f7af93676" providerId="ADAL" clId="{5FB02D21-3BEB-47B8-8BB8-0FFC09049636}" dt="2021-02-10T12:55:55.660" v="42" actId="478"/>
          <ac:spMkLst>
            <pc:docMk/>
            <pc:sldMk cId="2995988070" sldId="806"/>
            <ac:spMk id="13" creationId="{A42CB132-2B8B-4431-8519-9124B550642E}"/>
          </ac:spMkLst>
        </pc:spChg>
        <pc:spChg chg="del">
          <ac:chgData name="Adrian Kisliuk" userId="81f189f0-3ed9-4f29-a7b1-770f7af93676" providerId="ADAL" clId="{5FB02D21-3BEB-47B8-8BB8-0FFC09049636}" dt="2021-02-10T12:55:55.660" v="42" actId="478"/>
          <ac:spMkLst>
            <pc:docMk/>
            <pc:sldMk cId="2995988070" sldId="806"/>
            <ac:spMk id="22" creationId="{69C0E85C-B0C1-4540-B510-F32AAC079FE0}"/>
          </ac:spMkLst>
        </pc:spChg>
        <pc:spChg chg="del">
          <ac:chgData name="Adrian Kisliuk" userId="81f189f0-3ed9-4f29-a7b1-770f7af93676" providerId="ADAL" clId="{5FB02D21-3BEB-47B8-8BB8-0FFC09049636}" dt="2021-02-10T12:55:55.660" v="42" actId="478"/>
          <ac:spMkLst>
            <pc:docMk/>
            <pc:sldMk cId="2995988070" sldId="806"/>
            <ac:spMk id="26" creationId="{AA7C1736-7B5E-48F9-A847-2B654B5A7A3C}"/>
          </ac:spMkLst>
        </pc:spChg>
        <pc:spChg chg="del">
          <ac:chgData name="Adrian Kisliuk" userId="81f189f0-3ed9-4f29-a7b1-770f7af93676" providerId="ADAL" clId="{5FB02D21-3BEB-47B8-8BB8-0FFC09049636}" dt="2021-02-10T12:55:55.660" v="42" actId="478"/>
          <ac:spMkLst>
            <pc:docMk/>
            <pc:sldMk cId="2995988070" sldId="806"/>
            <ac:spMk id="30" creationId="{1F595901-02F8-4D5F-B764-F7E27CD95338}"/>
          </ac:spMkLst>
        </pc:spChg>
        <pc:spChg chg="del">
          <ac:chgData name="Adrian Kisliuk" userId="81f189f0-3ed9-4f29-a7b1-770f7af93676" providerId="ADAL" clId="{5FB02D21-3BEB-47B8-8BB8-0FFC09049636}" dt="2021-02-10T12:55:55.660" v="42" actId="478"/>
          <ac:spMkLst>
            <pc:docMk/>
            <pc:sldMk cId="2995988070" sldId="806"/>
            <ac:spMk id="34" creationId="{59734FF0-13AE-49D5-918A-B1443D4466F2}"/>
          </ac:spMkLst>
        </pc:spChg>
        <pc:spChg chg="del">
          <ac:chgData name="Adrian Kisliuk" userId="81f189f0-3ed9-4f29-a7b1-770f7af93676" providerId="ADAL" clId="{5FB02D21-3BEB-47B8-8BB8-0FFC09049636}" dt="2021-02-10T12:55:55.660" v="42" actId="478"/>
          <ac:spMkLst>
            <pc:docMk/>
            <pc:sldMk cId="2995988070" sldId="806"/>
            <ac:spMk id="35" creationId="{4D1EC1F4-6EAE-4FD7-A755-CF09B470AB57}"/>
          </ac:spMkLst>
        </pc:spChg>
        <pc:spChg chg="del">
          <ac:chgData name="Adrian Kisliuk" userId="81f189f0-3ed9-4f29-a7b1-770f7af93676" providerId="ADAL" clId="{5FB02D21-3BEB-47B8-8BB8-0FFC09049636}" dt="2021-02-10T12:55:55.660" v="42" actId="478"/>
          <ac:spMkLst>
            <pc:docMk/>
            <pc:sldMk cId="2995988070" sldId="806"/>
            <ac:spMk id="36" creationId="{D184E874-2F62-4591-AFBC-4EF385F2B9AF}"/>
          </ac:spMkLst>
        </pc:spChg>
        <pc:grpChg chg="del">
          <ac:chgData name="Adrian Kisliuk" userId="81f189f0-3ed9-4f29-a7b1-770f7af93676" providerId="ADAL" clId="{5FB02D21-3BEB-47B8-8BB8-0FFC09049636}" dt="2021-02-10T12:55:55.660" v="42" actId="478"/>
          <ac:grpSpMkLst>
            <pc:docMk/>
            <pc:sldMk cId="2995988070" sldId="806"/>
            <ac:grpSpMk id="12" creationId="{00000000-0000-0000-0000-000000000000}"/>
          </ac:grpSpMkLst>
        </pc:grpChg>
        <pc:grpChg chg="del">
          <ac:chgData name="Adrian Kisliuk" userId="81f189f0-3ed9-4f29-a7b1-770f7af93676" providerId="ADAL" clId="{5FB02D21-3BEB-47B8-8BB8-0FFC09049636}" dt="2021-02-10T12:55:55.660" v="42" actId="478"/>
          <ac:grpSpMkLst>
            <pc:docMk/>
            <pc:sldMk cId="2995988070" sldId="806"/>
            <ac:grpSpMk id="16" creationId="{0BC81861-00FC-41ED-BBBF-A3469D5A311A}"/>
          </ac:grpSpMkLst>
        </pc:grpChg>
        <pc:grpChg chg="del">
          <ac:chgData name="Adrian Kisliuk" userId="81f189f0-3ed9-4f29-a7b1-770f7af93676" providerId="ADAL" clId="{5FB02D21-3BEB-47B8-8BB8-0FFC09049636}" dt="2021-02-10T12:55:55.660" v="42" actId="478"/>
          <ac:grpSpMkLst>
            <pc:docMk/>
            <pc:sldMk cId="2995988070" sldId="806"/>
            <ac:grpSpMk id="17" creationId="{00000000-0000-0000-0000-000000000000}"/>
          </ac:grpSpMkLst>
        </pc:grpChg>
        <pc:grpChg chg="del">
          <ac:chgData name="Adrian Kisliuk" userId="81f189f0-3ed9-4f29-a7b1-770f7af93676" providerId="ADAL" clId="{5FB02D21-3BEB-47B8-8BB8-0FFC09049636}" dt="2021-02-10T12:55:55.660" v="42" actId="478"/>
          <ac:grpSpMkLst>
            <pc:docMk/>
            <pc:sldMk cId="2995988070" sldId="806"/>
            <ac:grpSpMk id="23" creationId="{5C22EA0C-7F27-4D9D-8C2D-4FF86788D22A}"/>
          </ac:grpSpMkLst>
        </pc:grpChg>
        <pc:grpChg chg="del">
          <ac:chgData name="Adrian Kisliuk" userId="81f189f0-3ed9-4f29-a7b1-770f7af93676" providerId="ADAL" clId="{5FB02D21-3BEB-47B8-8BB8-0FFC09049636}" dt="2021-02-10T12:55:55.660" v="42" actId="478"/>
          <ac:grpSpMkLst>
            <pc:docMk/>
            <pc:sldMk cId="2995988070" sldId="806"/>
            <ac:grpSpMk id="27" creationId="{7E882705-D33A-4E08-8844-45C9666567A2}"/>
          </ac:grpSpMkLst>
        </pc:grpChg>
        <pc:grpChg chg="del">
          <ac:chgData name="Adrian Kisliuk" userId="81f189f0-3ed9-4f29-a7b1-770f7af93676" providerId="ADAL" clId="{5FB02D21-3BEB-47B8-8BB8-0FFC09049636}" dt="2021-02-10T12:55:55.660" v="42" actId="478"/>
          <ac:grpSpMkLst>
            <pc:docMk/>
            <pc:sldMk cId="2995988070" sldId="806"/>
            <ac:grpSpMk id="31" creationId="{6011A2E9-AE64-42D5-AD85-C665FF32E4B6}"/>
          </ac:grpSpMkLst>
        </pc:grpChg>
        <pc:picChg chg="add">
          <ac:chgData name="Adrian Kisliuk" userId="81f189f0-3ed9-4f29-a7b1-770f7af93676" providerId="ADAL" clId="{5FB02D21-3BEB-47B8-8BB8-0FFC09049636}" dt="2021-02-10T12:56:14.046" v="44"/>
          <ac:picMkLst>
            <pc:docMk/>
            <pc:sldMk cId="2995988070" sldId="806"/>
            <ac:picMk id="5" creationId="{4EDBB24D-DE9C-4C5A-A608-B802914EE045}"/>
          </ac:picMkLst>
        </pc:picChg>
      </pc:sldChg>
      <pc:sldChg chg="addSp delSp modSp add mod ord">
        <pc:chgData name="Adrian Kisliuk" userId="81f189f0-3ed9-4f29-a7b1-770f7af93676" providerId="ADAL" clId="{5FB02D21-3BEB-47B8-8BB8-0FFC09049636}" dt="2021-02-10T17:44:28.359" v="4571" actId="20577"/>
        <pc:sldMkLst>
          <pc:docMk/>
          <pc:sldMk cId="2438877215" sldId="807"/>
        </pc:sldMkLst>
        <pc:spChg chg="mod">
          <ac:chgData name="Adrian Kisliuk" userId="81f189f0-3ed9-4f29-a7b1-770f7af93676" providerId="ADAL" clId="{5FB02D21-3BEB-47B8-8BB8-0FFC09049636}" dt="2021-02-10T16:01:25.446" v="3131" actId="20577"/>
          <ac:spMkLst>
            <pc:docMk/>
            <pc:sldMk cId="2438877215" sldId="807"/>
            <ac:spMk id="3" creationId="{00000000-0000-0000-0000-000000000000}"/>
          </ac:spMkLst>
        </pc:spChg>
        <pc:spChg chg="mod">
          <ac:chgData name="Adrian Kisliuk" userId="81f189f0-3ed9-4f29-a7b1-770f7af93676" providerId="ADAL" clId="{5FB02D21-3BEB-47B8-8BB8-0FFC09049636}" dt="2021-02-10T15:10:29.585" v="395" actId="164"/>
          <ac:spMkLst>
            <pc:docMk/>
            <pc:sldMk cId="2438877215" sldId="807"/>
            <ac:spMk id="16" creationId="{00000000-0000-0000-0000-000000000000}"/>
          </ac:spMkLst>
        </pc:spChg>
        <pc:spChg chg="mod">
          <ac:chgData name="Adrian Kisliuk" userId="81f189f0-3ed9-4f29-a7b1-770f7af93676" providerId="ADAL" clId="{5FB02D21-3BEB-47B8-8BB8-0FFC09049636}" dt="2021-02-10T15:10:29.585" v="395" actId="164"/>
          <ac:spMkLst>
            <pc:docMk/>
            <pc:sldMk cId="2438877215" sldId="807"/>
            <ac:spMk id="17" creationId="{00000000-0000-0000-0000-000000000000}"/>
          </ac:spMkLst>
        </pc:spChg>
        <pc:spChg chg="mod">
          <ac:chgData name="Adrian Kisliuk" userId="81f189f0-3ed9-4f29-a7b1-770f7af93676" providerId="ADAL" clId="{5FB02D21-3BEB-47B8-8BB8-0FFC09049636}" dt="2021-02-10T17:44:28.359" v="4571" actId="20577"/>
          <ac:spMkLst>
            <pc:docMk/>
            <pc:sldMk cId="2438877215" sldId="807"/>
            <ac:spMk id="21" creationId="{00000000-0000-0000-0000-000000000000}"/>
          </ac:spMkLst>
        </pc:spChg>
        <pc:spChg chg="mod">
          <ac:chgData name="Adrian Kisliuk" userId="81f189f0-3ed9-4f29-a7b1-770f7af93676" providerId="ADAL" clId="{5FB02D21-3BEB-47B8-8BB8-0FFC09049636}" dt="2021-02-10T17:28:58.296" v="3514" actId="20577"/>
          <ac:spMkLst>
            <pc:docMk/>
            <pc:sldMk cId="2438877215" sldId="807"/>
            <ac:spMk id="22" creationId="{00000000-0000-0000-0000-000000000000}"/>
          </ac:spMkLst>
        </pc:spChg>
        <pc:spChg chg="mod">
          <ac:chgData name="Adrian Kisliuk" userId="81f189f0-3ed9-4f29-a7b1-770f7af93676" providerId="ADAL" clId="{5FB02D21-3BEB-47B8-8BB8-0FFC09049636}" dt="2021-02-10T17:24:29.577" v="3458" actId="404"/>
          <ac:spMkLst>
            <pc:docMk/>
            <pc:sldMk cId="2438877215" sldId="807"/>
            <ac:spMk id="23" creationId="{00000000-0000-0000-0000-000000000000}"/>
          </ac:spMkLst>
        </pc:spChg>
        <pc:spChg chg="mod">
          <ac:chgData name="Adrian Kisliuk" userId="81f189f0-3ed9-4f29-a7b1-770f7af93676" providerId="ADAL" clId="{5FB02D21-3BEB-47B8-8BB8-0FFC09049636}" dt="2021-02-10T17:24:50.136" v="3465" actId="404"/>
          <ac:spMkLst>
            <pc:docMk/>
            <pc:sldMk cId="2438877215" sldId="807"/>
            <ac:spMk id="24" creationId="{00000000-0000-0000-0000-000000000000}"/>
          </ac:spMkLst>
        </pc:spChg>
        <pc:spChg chg="del mod">
          <ac:chgData name="Adrian Kisliuk" userId="81f189f0-3ed9-4f29-a7b1-770f7af93676" providerId="ADAL" clId="{5FB02D21-3BEB-47B8-8BB8-0FFC09049636}" dt="2021-02-10T15:09:54.562" v="385" actId="478"/>
          <ac:spMkLst>
            <pc:docMk/>
            <pc:sldMk cId="2438877215" sldId="807"/>
            <ac:spMk id="27" creationId="{78BE359D-C419-45AC-B539-0DB0B00E18B4}"/>
          </ac:spMkLst>
        </pc:spChg>
        <pc:grpChg chg="add mod">
          <ac:chgData name="Adrian Kisliuk" userId="81f189f0-3ed9-4f29-a7b1-770f7af93676" providerId="ADAL" clId="{5FB02D21-3BEB-47B8-8BB8-0FFC09049636}" dt="2021-02-10T15:37:18.281" v="2498" actId="14100"/>
          <ac:grpSpMkLst>
            <pc:docMk/>
            <pc:sldMk cId="2438877215" sldId="807"/>
            <ac:grpSpMk id="2" creationId="{0C6AFC31-69CF-4D6C-8510-333B63404280}"/>
          </ac:grpSpMkLst>
        </pc:grpChg>
        <pc:grpChg chg="add mod">
          <ac:chgData name="Adrian Kisliuk" userId="81f189f0-3ed9-4f29-a7b1-770f7af93676" providerId="ADAL" clId="{5FB02D21-3BEB-47B8-8BB8-0FFC09049636}" dt="2021-02-10T15:37:27.823" v="2502" actId="164"/>
          <ac:grpSpMkLst>
            <pc:docMk/>
            <pc:sldMk cId="2438877215" sldId="807"/>
            <ac:grpSpMk id="5" creationId="{86952852-6D72-476F-B6E9-36B9E09B5B2A}"/>
          </ac:grpSpMkLst>
        </pc:grpChg>
        <pc:grpChg chg="add mod">
          <ac:chgData name="Adrian Kisliuk" userId="81f189f0-3ed9-4f29-a7b1-770f7af93676" providerId="ADAL" clId="{5FB02D21-3BEB-47B8-8BB8-0FFC09049636}" dt="2021-02-10T16:00:52.179" v="3119" actId="1035"/>
          <ac:grpSpMkLst>
            <pc:docMk/>
            <pc:sldMk cId="2438877215" sldId="807"/>
            <ac:grpSpMk id="6" creationId="{EBDE8C97-741C-4621-ACE3-5DE89E6BF1B5}"/>
          </ac:grpSpMkLst>
        </pc:grpChg>
      </pc:sldChg>
      <pc:sldChg chg="delSp modSp add mod ord">
        <pc:chgData name="Adrian Kisliuk" userId="81f189f0-3ed9-4f29-a7b1-770f7af93676" providerId="ADAL" clId="{5FB02D21-3BEB-47B8-8BB8-0FFC09049636}" dt="2021-02-10T17:59:06.702" v="5247"/>
        <pc:sldMkLst>
          <pc:docMk/>
          <pc:sldMk cId="1716990745" sldId="808"/>
        </pc:sldMkLst>
        <pc:spChg chg="del">
          <ac:chgData name="Adrian Kisliuk" userId="81f189f0-3ed9-4f29-a7b1-770f7af93676" providerId="ADAL" clId="{5FB02D21-3BEB-47B8-8BB8-0FFC09049636}" dt="2021-02-10T17:12:57.204" v="3133" actId="478"/>
          <ac:spMkLst>
            <pc:docMk/>
            <pc:sldMk cId="1716990745" sldId="808"/>
            <ac:spMk id="6" creationId="{00000000-0000-0000-0000-000000000000}"/>
          </ac:spMkLst>
        </pc:spChg>
        <pc:spChg chg="mod">
          <ac:chgData name="Adrian Kisliuk" userId="81f189f0-3ed9-4f29-a7b1-770f7af93676" providerId="ADAL" clId="{5FB02D21-3BEB-47B8-8BB8-0FFC09049636}" dt="2021-02-10T17:13:27.411" v="3187"/>
          <ac:spMkLst>
            <pc:docMk/>
            <pc:sldMk cId="1716990745" sldId="808"/>
            <ac:spMk id="7" creationId="{00000000-0000-0000-0000-000000000000}"/>
          </ac:spMkLst>
        </pc:spChg>
        <pc:spChg chg="del">
          <ac:chgData name="Adrian Kisliuk" userId="81f189f0-3ed9-4f29-a7b1-770f7af93676" providerId="ADAL" clId="{5FB02D21-3BEB-47B8-8BB8-0FFC09049636}" dt="2021-02-10T17:13:35.439" v="3188" actId="478"/>
          <ac:spMkLst>
            <pc:docMk/>
            <pc:sldMk cId="1716990745" sldId="808"/>
            <ac:spMk id="13" creationId="{A42CB132-2B8B-4431-8519-9124B550642E}"/>
          </ac:spMkLst>
        </pc:spChg>
        <pc:spChg chg="del">
          <ac:chgData name="Adrian Kisliuk" userId="81f189f0-3ed9-4f29-a7b1-770f7af93676" providerId="ADAL" clId="{5FB02D21-3BEB-47B8-8BB8-0FFC09049636}" dt="2021-02-10T17:13:35.439" v="3188" actId="478"/>
          <ac:spMkLst>
            <pc:docMk/>
            <pc:sldMk cId="1716990745" sldId="808"/>
            <ac:spMk id="22" creationId="{69C0E85C-B0C1-4540-B510-F32AAC079FE0}"/>
          </ac:spMkLst>
        </pc:spChg>
        <pc:spChg chg="mod">
          <ac:chgData name="Adrian Kisliuk" userId="81f189f0-3ed9-4f29-a7b1-770f7af93676" providerId="ADAL" clId="{5FB02D21-3BEB-47B8-8BB8-0FFC09049636}" dt="2021-02-10T17:14:16.377" v="3257" actId="14100"/>
          <ac:spMkLst>
            <pc:docMk/>
            <pc:sldMk cId="1716990745" sldId="808"/>
            <ac:spMk id="26" creationId="{AA7C1736-7B5E-48F9-A847-2B654B5A7A3C}"/>
          </ac:spMkLst>
        </pc:spChg>
        <pc:spChg chg="mod">
          <ac:chgData name="Adrian Kisliuk" userId="81f189f0-3ed9-4f29-a7b1-770f7af93676" providerId="ADAL" clId="{5FB02D21-3BEB-47B8-8BB8-0FFC09049636}" dt="2021-02-10T17:14:18.479" v="3258" actId="14100"/>
          <ac:spMkLst>
            <pc:docMk/>
            <pc:sldMk cId="1716990745" sldId="808"/>
            <ac:spMk id="30" creationId="{1F595901-02F8-4D5F-B764-F7E27CD95338}"/>
          </ac:spMkLst>
        </pc:spChg>
        <pc:grpChg chg="del">
          <ac:chgData name="Adrian Kisliuk" userId="81f189f0-3ed9-4f29-a7b1-770f7af93676" providerId="ADAL" clId="{5FB02D21-3BEB-47B8-8BB8-0FFC09049636}" dt="2021-02-10T17:12:58.911" v="3134" actId="478"/>
          <ac:grpSpMkLst>
            <pc:docMk/>
            <pc:sldMk cId="1716990745" sldId="808"/>
            <ac:grpSpMk id="12" creationId="{00000000-0000-0000-0000-000000000000}"/>
          </ac:grpSpMkLst>
        </pc:grpChg>
        <pc:grpChg chg="del">
          <ac:chgData name="Adrian Kisliuk" userId="81f189f0-3ed9-4f29-a7b1-770f7af93676" providerId="ADAL" clId="{5FB02D21-3BEB-47B8-8BB8-0FFC09049636}" dt="2021-02-10T17:13:35.439" v="3188" actId="478"/>
          <ac:grpSpMkLst>
            <pc:docMk/>
            <pc:sldMk cId="1716990745" sldId="808"/>
            <ac:grpSpMk id="16" creationId="{0BC81861-00FC-41ED-BBBF-A3469D5A311A}"/>
          </ac:grpSpMkLst>
        </pc:grpChg>
        <pc:grpChg chg="mod">
          <ac:chgData name="Adrian Kisliuk" userId="81f189f0-3ed9-4f29-a7b1-770f7af93676" providerId="ADAL" clId="{5FB02D21-3BEB-47B8-8BB8-0FFC09049636}" dt="2021-02-10T17:13:13.823" v="3181" actId="1036"/>
          <ac:grpSpMkLst>
            <pc:docMk/>
            <pc:sldMk cId="1716990745" sldId="808"/>
            <ac:grpSpMk id="17" creationId="{00000000-0000-0000-0000-000000000000}"/>
          </ac:grpSpMkLst>
        </pc:grpChg>
        <pc:grpChg chg="del">
          <ac:chgData name="Adrian Kisliuk" userId="81f189f0-3ed9-4f29-a7b1-770f7af93676" providerId="ADAL" clId="{5FB02D21-3BEB-47B8-8BB8-0FFC09049636}" dt="2021-02-10T17:13:35.439" v="3188" actId="478"/>
          <ac:grpSpMkLst>
            <pc:docMk/>
            <pc:sldMk cId="1716990745" sldId="808"/>
            <ac:grpSpMk id="23" creationId="{5C22EA0C-7F27-4D9D-8C2D-4FF86788D22A}"/>
          </ac:grpSpMkLst>
        </pc:grpChg>
        <pc:grpChg chg="mod">
          <ac:chgData name="Adrian Kisliuk" userId="81f189f0-3ed9-4f29-a7b1-770f7af93676" providerId="ADAL" clId="{5FB02D21-3BEB-47B8-8BB8-0FFC09049636}" dt="2021-02-10T17:13:51.630" v="3250" actId="1036"/>
          <ac:grpSpMkLst>
            <pc:docMk/>
            <pc:sldMk cId="1716990745" sldId="808"/>
            <ac:grpSpMk id="27" creationId="{7E882705-D33A-4E08-8844-45C9666567A2}"/>
          </ac:grpSpMkLst>
        </pc:grpChg>
        <pc:grpChg chg="mod">
          <ac:chgData name="Adrian Kisliuk" userId="81f189f0-3ed9-4f29-a7b1-770f7af93676" providerId="ADAL" clId="{5FB02D21-3BEB-47B8-8BB8-0FFC09049636}" dt="2021-02-10T17:13:51.630" v="3250" actId="1036"/>
          <ac:grpSpMkLst>
            <pc:docMk/>
            <pc:sldMk cId="1716990745" sldId="808"/>
            <ac:grpSpMk id="31" creationId="{6011A2E9-AE64-42D5-AD85-C665FF32E4B6}"/>
          </ac:grpSpMkLst>
        </pc:grpChg>
      </pc:sldChg>
      <pc:sldChg chg="delSp modSp add mod ord">
        <pc:chgData name="Adrian Kisliuk" userId="81f189f0-3ed9-4f29-a7b1-770f7af93676" providerId="ADAL" clId="{5FB02D21-3BEB-47B8-8BB8-0FFC09049636}" dt="2021-02-10T17:59:06.702" v="5247"/>
        <pc:sldMkLst>
          <pc:docMk/>
          <pc:sldMk cId="3497669596" sldId="809"/>
        </pc:sldMkLst>
        <pc:spChg chg="mod">
          <ac:chgData name="Adrian Kisliuk" userId="81f189f0-3ed9-4f29-a7b1-770f7af93676" providerId="ADAL" clId="{5FB02D21-3BEB-47B8-8BB8-0FFC09049636}" dt="2021-02-10T17:29:03.352" v="3530" actId="20577"/>
          <ac:spMkLst>
            <pc:docMk/>
            <pc:sldMk cId="3497669596" sldId="809"/>
            <ac:spMk id="6" creationId="{00000000-0000-0000-0000-000000000000}"/>
          </ac:spMkLst>
        </pc:spChg>
        <pc:spChg chg="del">
          <ac:chgData name="Adrian Kisliuk" userId="81f189f0-3ed9-4f29-a7b1-770f7af93676" providerId="ADAL" clId="{5FB02D21-3BEB-47B8-8BB8-0FFC09049636}" dt="2021-02-10T17:14:30.137" v="3260" actId="478"/>
          <ac:spMkLst>
            <pc:docMk/>
            <pc:sldMk cId="3497669596" sldId="809"/>
            <ac:spMk id="7" creationId="{00000000-0000-0000-0000-000000000000}"/>
          </ac:spMkLst>
        </pc:spChg>
        <pc:spChg chg="mod">
          <ac:chgData name="Adrian Kisliuk" userId="81f189f0-3ed9-4f29-a7b1-770f7af93676" providerId="ADAL" clId="{5FB02D21-3BEB-47B8-8BB8-0FFC09049636}" dt="2021-02-10T17:15:27.463" v="3279" actId="404"/>
          <ac:spMkLst>
            <pc:docMk/>
            <pc:sldMk cId="3497669596" sldId="809"/>
            <ac:spMk id="13" creationId="{A42CB132-2B8B-4431-8519-9124B550642E}"/>
          </ac:spMkLst>
        </pc:spChg>
        <pc:spChg chg="mod">
          <ac:chgData name="Adrian Kisliuk" userId="81f189f0-3ed9-4f29-a7b1-770f7af93676" providerId="ADAL" clId="{5FB02D21-3BEB-47B8-8BB8-0FFC09049636}" dt="2021-02-10T17:15:27.463" v="3279" actId="404"/>
          <ac:spMkLst>
            <pc:docMk/>
            <pc:sldMk cId="3497669596" sldId="809"/>
            <ac:spMk id="22" creationId="{69C0E85C-B0C1-4540-B510-F32AAC079FE0}"/>
          </ac:spMkLst>
        </pc:spChg>
        <pc:spChg chg="del">
          <ac:chgData name="Adrian Kisliuk" userId="81f189f0-3ed9-4f29-a7b1-770f7af93676" providerId="ADAL" clId="{5FB02D21-3BEB-47B8-8BB8-0FFC09049636}" dt="2021-02-10T17:14:30.137" v="3260" actId="478"/>
          <ac:spMkLst>
            <pc:docMk/>
            <pc:sldMk cId="3497669596" sldId="809"/>
            <ac:spMk id="26" creationId="{AA7C1736-7B5E-48F9-A847-2B654B5A7A3C}"/>
          </ac:spMkLst>
        </pc:spChg>
        <pc:spChg chg="del">
          <ac:chgData name="Adrian Kisliuk" userId="81f189f0-3ed9-4f29-a7b1-770f7af93676" providerId="ADAL" clId="{5FB02D21-3BEB-47B8-8BB8-0FFC09049636}" dt="2021-02-10T17:14:30.137" v="3260" actId="478"/>
          <ac:spMkLst>
            <pc:docMk/>
            <pc:sldMk cId="3497669596" sldId="809"/>
            <ac:spMk id="30" creationId="{1F595901-02F8-4D5F-B764-F7E27CD95338}"/>
          </ac:spMkLst>
        </pc:spChg>
        <pc:grpChg chg="del">
          <ac:chgData name="Adrian Kisliuk" userId="81f189f0-3ed9-4f29-a7b1-770f7af93676" providerId="ADAL" clId="{5FB02D21-3BEB-47B8-8BB8-0FFC09049636}" dt="2021-02-10T17:14:30.137" v="3260" actId="478"/>
          <ac:grpSpMkLst>
            <pc:docMk/>
            <pc:sldMk cId="3497669596" sldId="809"/>
            <ac:grpSpMk id="17" creationId="{00000000-0000-0000-0000-000000000000}"/>
          </ac:grpSpMkLst>
        </pc:grpChg>
        <pc:grpChg chg="del">
          <ac:chgData name="Adrian Kisliuk" userId="81f189f0-3ed9-4f29-a7b1-770f7af93676" providerId="ADAL" clId="{5FB02D21-3BEB-47B8-8BB8-0FFC09049636}" dt="2021-02-10T17:14:30.137" v="3260" actId="478"/>
          <ac:grpSpMkLst>
            <pc:docMk/>
            <pc:sldMk cId="3497669596" sldId="809"/>
            <ac:grpSpMk id="27" creationId="{7E882705-D33A-4E08-8844-45C9666567A2}"/>
          </ac:grpSpMkLst>
        </pc:grpChg>
        <pc:grpChg chg="del">
          <ac:chgData name="Adrian Kisliuk" userId="81f189f0-3ed9-4f29-a7b1-770f7af93676" providerId="ADAL" clId="{5FB02D21-3BEB-47B8-8BB8-0FFC09049636}" dt="2021-02-10T17:14:30.137" v="3260" actId="478"/>
          <ac:grpSpMkLst>
            <pc:docMk/>
            <pc:sldMk cId="3497669596" sldId="809"/>
            <ac:grpSpMk id="31" creationId="{6011A2E9-AE64-42D5-AD85-C665FF32E4B6}"/>
          </ac:grpSpMkLst>
        </pc:grpChg>
      </pc:sldChg>
      <pc:sldChg chg="modSp add mod">
        <pc:chgData name="Adrian Kisliuk" userId="81f189f0-3ed9-4f29-a7b1-770f7af93676" providerId="ADAL" clId="{5FB02D21-3BEB-47B8-8BB8-0FFC09049636}" dt="2021-02-10T17:58:11.854" v="5240" actId="20577"/>
        <pc:sldMkLst>
          <pc:docMk/>
          <pc:sldMk cId="1183502899" sldId="810"/>
        </pc:sldMkLst>
        <pc:spChg chg="mod">
          <ac:chgData name="Adrian Kisliuk" userId="81f189f0-3ed9-4f29-a7b1-770f7af93676" providerId="ADAL" clId="{5FB02D21-3BEB-47B8-8BB8-0FFC09049636}" dt="2021-02-10T17:58:11.854" v="5240" actId="20577"/>
          <ac:spMkLst>
            <pc:docMk/>
            <pc:sldMk cId="1183502899" sldId="810"/>
            <ac:spMk id="3" creationId="{00000000-0000-0000-0000-000000000000}"/>
          </ac:spMkLst>
        </pc:spChg>
        <pc:spChg chg="mod">
          <ac:chgData name="Adrian Kisliuk" userId="81f189f0-3ed9-4f29-a7b1-770f7af93676" providerId="ADAL" clId="{5FB02D21-3BEB-47B8-8BB8-0FFC09049636}" dt="2021-02-10T17:39:24.034" v="4277" actId="20577"/>
          <ac:spMkLst>
            <pc:docMk/>
            <pc:sldMk cId="1183502899" sldId="810"/>
            <ac:spMk id="6" creationId="{00000000-0000-0000-0000-000000000000}"/>
          </ac:spMkLst>
        </pc:spChg>
        <pc:spChg chg="mod">
          <ac:chgData name="Adrian Kisliuk" userId="81f189f0-3ed9-4f29-a7b1-770f7af93676" providerId="ADAL" clId="{5FB02D21-3BEB-47B8-8BB8-0FFC09049636}" dt="2021-02-10T17:57:21.969" v="5236" actId="20577"/>
          <ac:spMkLst>
            <pc:docMk/>
            <pc:sldMk cId="1183502899" sldId="810"/>
            <ac:spMk id="13" creationId="{A42CB132-2B8B-4431-8519-9124B550642E}"/>
          </ac:spMkLst>
        </pc:spChg>
        <pc:spChg chg="mod">
          <ac:chgData name="Adrian Kisliuk" userId="81f189f0-3ed9-4f29-a7b1-770f7af93676" providerId="ADAL" clId="{5FB02D21-3BEB-47B8-8BB8-0FFC09049636}" dt="2021-02-10T17:39:29.073" v="4279"/>
          <ac:spMkLst>
            <pc:docMk/>
            <pc:sldMk cId="1183502899" sldId="810"/>
            <ac:spMk id="22" creationId="{69C0E85C-B0C1-4540-B510-F32AAC079FE0}"/>
          </ac:spMkLst>
        </pc:spChg>
        <pc:spChg chg="mod">
          <ac:chgData name="Adrian Kisliuk" userId="81f189f0-3ed9-4f29-a7b1-770f7af93676" providerId="ADAL" clId="{5FB02D21-3BEB-47B8-8BB8-0FFC09049636}" dt="2021-02-10T17:57:43.670" v="5237" actId="20577"/>
          <ac:spMkLst>
            <pc:docMk/>
            <pc:sldMk cId="1183502899" sldId="810"/>
            <ac:spMk id="34" creationId="{59734FF0-13AE-49D5-918A-B1443D4466F2}"/>
          </ac:spMkLst>
        </pc:spChg>
      </pc:sldChg>
      <pc:sldChg chg="add">
        <pc:chgData name="Adrian Kisliuk" userId="81f189f0-3ed9-4f29-a7b1-770f7af93676" providerId="ADAL" clId="{5FB02D21-3BEB-47B8-8BB8-0FFC09049636}" dt="2021-02-10T17:58:42.055" v="5241"/>
        <pc:sldMkLst>
          <pc:docMk/>
          <pc:sldMk cId="381622030" sldId="811"/>
        </pc:sldMkLst>
      </pc:sldChg>
    </pc:docChg>
  </pc:docChgLst>
  <pc:docChgLst>
    <pc:chgData name="Adrian Kisliuk" userId="81f189f0-3ed9-4f29-a7b1-770f7af93676" providerId="ADAL" clId="{A92B8E05-5F9E-449C-87A1-C3BF8E9D46AD}"/>
    <pc:docChg chg="custSel addSld modSld">
      <pc:chgData name="Adrian Kisliuk" userId="81f189f0-3ed9-4f29-a7b1-770f7af93676" providerId="ADAL" clId="{A92B8E05-5F9E-449C-87A1-C3BF8E9D46AD}" dt="2021-03-24T19:42:35.234" v="1075"/>
      <pc:docMkLst>
        <pc:docMk/>
      </pc:docMkLst>
      <pc:sldChg chg="add">
        <pc:chgData name="Adrian Kisliuk" userId="81f189f0-3ed9-4f29-a7b1-770f7af93676" providerId="ADAL" clId="{A92B8E05-5F9E-449C-87A1-C3BF8E9D46AD}" dt="2021-03-24T19:28:45.142" v="0"/>
        <pc:sldMkLst>
          <pc:docMk/>
          <pc:sldMk cId="3131407806" sldId="845"/>
        </pc:sldMkLst>
      </pc:sldChg>
      <pc:sldChg chg="addSp delSp modSp add mod">
        <pc:chgData name="Adrian Kisliuk" userId="81f189f0-3ed9-4f29-a7b1-770f7af93676" providerId="ADAL" clId="{A92B8E05-5F9E-449C-87A1-C3BF8E9D46AD}" dt="2021-03-24T19:30:23.174" v="597"/>
        <pc:sldMkLst>
          <pc:docMk/>
          <pc:sldMk cId="851236108" sldId="846"/>
        </pc:sldMkLst>
        <pc:spChg chg="mod">
          <ac:chgData name="Adrian Kisliuk" userId="81f189f0-3ed9-4f29-a7b1-770f7af93676" providerId="ADAL" clId="{A92B8E05-5F9E-449C-87A1-C3BF8E9D46AD}" dt="2021-03-24T19:30:23.136" v="558" actId="948"/>
          <ac:spMkLst>
            <pc:docMk/>
            <pc:sldMk cId="851236108" sldId="846"/>
            <ac:spMk id="2" creationId="{9F7B6424-8ABE-4501-9938-BBDF5E5441F2}"/>
          </ac:spMkLst>
        </pc:spChg>
        <pc:spChg chg="add del mod modVis">
          <ac:chgData name="Adrian Kisliuk" userId="81f189f0-3ed9-4f29-a7b1-770f7af93676" providerId="ADAL" clId="{A92B8E05-5F9E-449C-87A1-C3BF8E9D46AD}" dt="2021-03-24T19:30:01.768" v="53"/>
          <ac:spMkLst>
            <pc:docMk/>
            <pc:sldMk cId="851236108" sldId="846"/>
            <ac:spMk id="4" creationId="{DE55D184-3E74-4696-96FD-E12522E49526}"/>
          </ac:spMkLst>
        </pc:spChg>
        <pc:spChg chg="add del mod modVis">
          <ac:chgData name="Adrian Kisliuk" userId="81f189f0-3ed9-4f29-a7b1-770f7af93676" providerId="ADAL" clId="{A92B8E05-5F9E-449C-87A1-C3BF8E9D46AD}" dt="2021-03-24T19:30:05.639" v="109"/>
          <ac:spMkLst>
            <pc:docMk/>
            <pc:sldMk cId="851236108" sldId="846"/>
            <ac:spMk id="7" creationId="{646F5BBC-B720-4392-9F32-D2344F0C191D}"/>
          </ac:spMkLst>
        </pc:spChg>
        <pc:spChg chg="add del mod modVis">
          <ac:chgData name="Adrian Kisliuk" userId="81f189f0-3ed9-4f29-a7b1-770f7af93676" providerId="ADAL" clId="{A92B8E05-5F9E-449C-87A1-C3BF8E9D46AD}" dt="2021-03-24T19:30:06.474" v="152"/>
          <ac:spMkLst>
            <pc:docMk/>
            <pc:sldMk cId="851236108" sldId="846"/>
            <ac:spMk id="8" creationId="{B44D9823-478F-4333-A234-08E7CA0815A5}"/>
          </ac:spMkLst>
        </pc:spChg>
        <pc:spChg chg="add del mod modVis">
          <ac:chgData name="Adrian Kisliuk" userId="81f189f0-3ed9-4f29-a7b1-770f7af93676" providerId="ADAL" clId="{A92B8E05-5F9E-449C-87A1-C3BF8E9D46AD}" dt="2021-03-24T19:30:08.269" v="193"/>
          <ac:spMkLst>
            <pc:docMk/>
            <pc:sldMk cId="851236108" sldId="846"/>
            <ac:spMk id="9" creationId="{1C832F04-6C86-4CA5-8EFF-B98D725BD147}"/>
          </ac:spMkLst>
        </pc:spChg>
        <pc:spChg chg="add del mod modVis">
          <ac:chgData name="Adrian Kisliuk" userId="81f189f0-3ed9-4f29-a7b1-770f7af93676" providerId="ADAL" clId="{A92B8E05-5F9E-449C-87A1-C3BF8E9D46AD}" dt="2021-03-24T19:30:11.579" v="235"/>
          <ac:spMkLst>
            <pc:docMk/>
            <pc:sldMk cId="851236108" sldId="846"/>
            <ac:spMk id="10" creationId="{569A526E-5CBB-42C2-8E92-8D94B81E4B44}"/>
          </ac:spMkLst>
        </pc:spChg>
        <pc:spChg chg="add del mod modVis">
          <ac:chgData name="Adrian Kisliuk" userId="81f189f0-3ed9-4f29-a7b1-770f7af93676" providerId="ADAL" clId="{A92B8E05-5F9E-449C-87A1-C3BF8E9D46AD}" dt="2021-03-24T19:30:12.943" v="279"/>
          <ac:spMkLst>
            <pc:docMk/>
            <pc:sldMk cId="851236108" sldId="846"/>
            <ac:spMk id="11" creationId="{0152BA00-97F8-4D0A-9F04-0DEFA076211E}"/>
          </ac:spMkLst>
        </pc:spChg>
        <pc:spChg chg="add del mod modVis">
          <ac:chgData name="Adrian Kisliuk" userId="81f189f0-3ed9-4f29-a7b1-770f7af93676" providerId="ADAL" clId="{A92B8E05-5F9E-449C-87A1-C3BF8E9D46AD}" dt="2021-03-24T19:30:14.877" v="326"/>
          <ac:spMkLst>
            <pc:docMk/>
            <pc:sldMk cId="851236108" sldId="846"/>
            <ac:spMk id="12" creationId="{A13CD73A-D7C1-4EB7-835C-8C1D493F1CC9}"/>
          </ac:spMkLst>
        </pc:spChg>
        <pc:spChg chg="add del mod modVis">
          <ac:chgData name="Adrian Kisliuk" userId="81f189f0-3ed9-4f29-a7b1-770f7af93676" providerId="ADAL" clId="{A92B8E05-5F9E-449C-87A1-C3BF8E9D46AD}" dt="2021-03-24T19:30:16.221" v="372"/>
          <ac:spMkLst>
            <pc:docMk/>
            <pc:sldMk cId="851236108" sldId="846"/>
            <ac:spMk id="13" creationId="{D7D7C7E7-857F-456C-B81D-68A954B7F20F}"/>
          </ac:spMkLst>
        </pc:spChg>
        <pc:spChg chg="add del mod modVis">
          <ac:chgData name="Adrian Kisliuk" userId="81f189f0-3ed9-4f29-a7b1-770f7af93676" providerId="ADAL" clId="{A92B8E05-5F9E-449C-87A1-C3BF8E9D46AD}" dt="2021-03-24T19:30:17.796" v="415"/>
          <ac:spMkLst>
            <pc:docMk/>
            <pc:sldMk cId="851236108" sldId="846"/>
            <ac:spMk id="14" creationId="{9A3B71E2-8310-4FA8-B68A-D6EE44A10146}"/>
          </ac:spMkLst>
        </pc:spChg>
        <pc:spChg chg="add del mod modVis">
          <ac:chgData name="Adrian Kisliuk" userId="81f189f0-3ed9-4f29-a7b1-770f7af93676" providerId="ADAL" clId="{A92B8E05-5F9E-449C-87A1-C3BF8E9D46AD}" dt="2021-03-24T19:30:20.465" v="467"/>
          <ac:spMkLst>
            <pc:docMk/>
            <pc:sldMk cId="851236108" sldId="846"/>
            <ac:spMk id="15" creationId="{8B24FEB5-087B-4D57-98F5-A8C80040D34D}"/>
          </ac:spMkLst>
        </pc:spChg>
        <pc:spChg chg="add del mod modVis">
          <ac:chgData name="Adrian Kisliuk" userId="81f189f0-3ed9-4f29-a7b1-770f7af93676" providerId="ADAL" clId="{A92B8E05-5F9E-449C-87A1-C3BF8E9D46AD}" dt="2021-03-24T19:30:20.760" v="508"/>
          <ac:spMkLst>
            <pc:docMk/>
            <pc:sldMk cId="851236108" sldId="846"/>
            <ac:spMk id="16" creationId="{16DE1EA6-1DA9-495B-9A9C-C84A1D73AA73}"/>
          </ac:spMkLst>
        </pc:spChg>
        <pc:spChg chg="add del mod modVis">
          <ac:chgData name="Adrian Kisliuk" userId="81f189f0-3ed9-4f29-a7b1-770f7af93676" providerId="ADAL" clId="{A92B8E05-5F9E-449C-87A1-C3BF8E9D46AD}" dt="2021-03-24T19:30:21.659" v="551"/>
          <ac:spMkLst>
            <pc:docMk/>
            <pc:sldMk cId="851236108" sldId="846"/>
            <ac:spMk id="17" creationId="{AB21039D-B4E8-454D-B479-9D2ED2CD076E}"/>
          </ac:spMkLst>
        </pc:spChg>
        <pc:spChg chg="add del mod modVis">
          <ac:chgData name="Adrian Kisliuk" userId="81f189f0-3ed9-4f29-a7b1-770f7af93676" providerId="ADAL" clId="{A92B8E05-5F9E-449C-87A1-C3BF8E9D46AD}" dt="2021-03-24T19:30:23.172" v="595"/>
          <ac:spMkLst>
            <pc:docMk/>
            <pc:sldMk cId="851236108" sldId="846"/>
            <ac:spMk id="18" creationId="{A4B6B92A-C99D-4D93-9E51-B7BBE4424A03}"/>
          </ac:spMkLst>
        </pc:spChg>
        <pc:graphicFrameChg chg="add mod ord modVis">
          <ac:chgData name="Adrian Kisliuk" userId="81f189f0-3ed9-4f29-a7b1-770f7af93676" providerId="ADAL" clId="{A92B8E05-5F9E-449C-87A1-C3BF8E9D46AD}" dt="2021-03-24T19:30:23.174" v="597"/>
          <ac:graphicFrameMkLst>
            <pc:docMk/>
            <pc:sldMk cId="851236108" sldId="846"/>
            <ac:graphicFrameMk id="6" creationId="{394AD9F5-0D6A-4B58-8889-DAA605EE4ABA}"/>
          </ac:graphicFrameMkLst>
        </pc:graphicFrameChg>
      </pc:sldChg>
      <pc:sldChg chg="add">
        <pc:chgData name="Adrian Kisliuk" userId="81f189f0-3ed9-4f29-a7b1-770f7af93676" providerId="ADAL" clId="{A92B8E05-5F9E-449C-87A1-C3BF8E9D46AD}" dt="2021-03-24T19:28:45.142" v="0"/>
        <pc:sldMkLst>
          <pc:docMk/>
          <pc:sldMk cId="1067639731" sldId="847"/>
        </pc:sldMkLst>
      </pc:sldChg>
      <pc:sldChg chg="add">
        <pc:chgData name="Adrian Kisliuk" userId="81f189f0-3ed9-4f29-a7b1-770f7af93676" providerId="ADAL" clId="{A92B8E05-5F9E-449C-87A1-C3BF8E9D46AD}" dt="2021-03-24T19:28:45.142" v="0"/>
        <pc:sldMkLst>
          <pc:docMk/>
          <pc:sldMk cId="1129299907" sldId="848"/>
        </pc:sldMkLst>
      </pc:sldChg>
      <pc:sldChg chg="addSp delSp modSp new add mod">
        <pc:chgData name="Adrian Kisliuk" userId="81f189f0-3ed9-4f29-a7b1-770f7af93676" providerId="ADAL" clId="{A92B8E05-5F9E-449C-87A1-C3BF8E9D46AD}" dt="2021-03-24T19:42:35.234" v="1075"/>
        <pc:sldMkLst>
          <pc:docMk/>
          <pc:sldMk cId="1854473173" sldId="849"/>
        </pc:sldMkLst>
        <pc:spChg chg="mod">
          <ac:chgData name="Adrian Kisliuk" userId="81f189f0-3ed9-4f29-a7b1-770f7af93676" providerId="ADAL" clId="{A92B8E05-5F9E-449C-87A1-C3BF8E9D46AD}" dt="2021-03-24T19:42:35.198" v="1036" actId="948"/>
          <ac:spMkLst>
            <pc:docMk/>
            <pc:sldMk cId="1854473173" sldId="849"/>
            <ac:spMk id="2" creationId="{7ACF9911-88A4-4A19-B81E-4BC22A7AA631}"/>
          </ac:spMkLst>
        </pc:spChg>
        <pc:spChg chg="add del mod">
          <ac:chgData name="Adrian Kisliuk" userId="81f189f0-3ed9-4f29-a7b1-770f7af93676" providerId="ADAL" clId="{A92B8E05-5F9E-449C-87A1-C3BF8E9D46AD}" dt="2021-03-24T19:31:32.515" v="606" actId="478"/>
          <ac:spMkLst>
            <pc:docMk/>
            <pc:sldMk cId="1854473173" sldId="849"/>
            <ac:spMk id="5" creationId="{F2789555-D685-421F-BB5B-C29BE406AF08}"/>
          </ac:spMkLst>
        </pc:spChg>
        <pc:spChg chg="add mod">
          <ac:chgData name="Adrian Kisliuk" userId="81f189f0-3ed9-4f29-a7b1-770f7af93676" providerId="ADAL" clId="{A92B8E05-5F9E-449C-87A1-C3BF8E9D46AD}" dt="2021-03-24T19:34:59.647" v="992" actId="113"/>
          <ac:spMkLst>
            <pc:docMk/>
            <pc:sldMk cId="1854473173" sldId="849"/>
            <ac:spMk id="6" creationId="{B4C46E7E-B43D-49CA-93B0-D28D6A3B951B}"/>
          </ac:spMkLst>
        </pc:spChg>
        <pc:spChg chg="add del mod modVis">
          <ac:chgData name="Adrian Kisliuk" userId="81f189f0-3ed9-4f29-a7b1-770f7af93676" providerId="ADAL" clId="{A92B8E05-5F9E-449C-87A1-C3BF8E9D46AD}" dt="2021-03-24T19:31:49.966" v="678"/>
          <ac:spMkLst>
            <pc:docMk/>
            <pc:sldMk cId="1854473173" sldId="849"/>
            <ac:spMk id="8" creationId="{2158BC26-9943-4191-A74B-ADADEE8A5FE6}"/>
          </ac:spMkLst>
        </pc:spChg>
        <pc:spChg chg="add del mod modVis">
          <ac:chgData name="Adrian Kisliuk" userId="81f189f0-3ed9-4f29-a7b1-770f7af93676" providerId="ADAL" clId="{A92B8E05-5F9E-449C-87A1-C3BF8E9D46AD}" dt="2021-03-24T19:31:51.609" v="719"/>
          <ac:spMkLst>
            <pc:docMk/>
            <pc:sldMk cId="1854473173" sldId="849"/>
            <ac:spMk id="9" creationId="{3346DEEC-CA42-4006-8ADA-55C6DD2018B6}"/>
          </ac:spMkLst>
        </pc:spChg>
        <pc:spChg chg="add del mod modVis">
          <ac:chgData name="Adrian Kisliuk" userId="81f189f0-3ed9-4f29-a7b1-770f7af93676" providerId="ADAL" clId="{A92B8E05-5F9E-449C-87A1-C3BF8E9D46AD}" dt="2021-03-24T19:31:52.639" v="762"/>
          <ac:spMkLst>
            <pc:docMk/>
            <pc:sldMk cId="1854473173" sldId="849"/>
            <ac:spMk id="10" creationId="{E8E2DB44-47AA-44B9-BDF9-AFC30B2D7FBA}"/>
          </ac:spMkLst>
        </pc:spChg>
        <pc:spChg chg="add del mod modVis">
          <ac:chgData name="Adrian Kisliuk" userId="81f189f0-3ed9-4f29-a7b1-770f7af93676" providerId="ADAL" clId="{A92B8E05-5F9E-449C-87A1-C3BF8E9D46AD}" dt="2021-03-24T19:31:54.249" v="810"/>
          <ac:spMkLst>
            <pc:docMk/>
            <pc:sldMk cId="1854473173" sldId="849"/>
            <ac:spMk id="11" creationId="{A49DB0B4-0BA0-41A8-B89A-BC37B165C785}"/>
          </ac:spMkLst>
        </pc:spChg>
        <pc:spChg chg="add del mod modVis">
          <ac:chgData name="Adrian Kisliuk" userId="81f189f0-3ed9-4f29-a7b1-770f7af93676" providerId="ADAL" clId="{A92B8E05-5F9E-449C-87A1-C3BF8E9D46AD}" dt="2021-03-24T19:42:32.673" v="1031"/>
          <ac:spMkLst>
            <pc:docMk/>
            <pc:sldMk cId="1854473173" sldId="849"/>
            <ac:spMk id="12" creationId="{5A0CEF49-59FF-4578-84A8-82AA6E53CA49}"/>
          </ac:spMkLst>
        </pc:spChg>
        <pc:spChg chg="add del mod modVis">
          <ac:chgData name="Adrian Kisliuk" userId="81f189f0-3ed9-4f29-a7b1-770f7af93676" providerId="ADAL" clId="{A92B8E05-5F9E-449C-87A1-C3BF8E9D46AD}" dt="2021-03-24T19:42:35.233" v="1073"/>
          <ac:spMkLst>
            <pc:docMk/>
            <pc:sldMk cId="1854473173" sldId="849"/>
            <ac:spMk id="13" creationId="{9276BAA4-0B74-433A-983E-E76D04718D1B}"/>
          </ac:spMkLst>
        </pc:spChg>
        <pc:graphicFrameChg chg="add mod ord modVis">
          <ac:chgData name="Adrian Kisliuk" userId="81f189f0-3ed9-4f29-a7b1-770f7af93676" providerId="ADAL" clId="{A92B8E05-5F9E-449C-87A1-C3BF8E9D46AD}" dt="2021-03-24T19:42:35.234" v="1075"/>
          <ac:graphicFrameMkLst>
            <pc:docMk/>
            <pc:sldMk cId="1854473173" sldId="849"/>
            <ac:graphicFrameMk id="7" creationId="{3EE99E17-6245-4A76-A870-49AA2F4214EF}"/>
          </ac:graphicFrameMkLst>
        </pc:graphicFrameChg>
      </pc:sldChg>
    </pc:docChg>
  </pc:docChgLst>
  <pc:docChgLst>
    <pc:chgData name="Kümmerle, Markus" userId="edb588ad-b118-44cb-93b6-335b967c9009" providerId="ADAL" clId="{34F8F230-9FD2-4072-A43E-878891742AFB}"/>
    <pc:docChg chg="undo custSel addSld delSld modSld">
      <pc:chgData name="Kümmerle, Markus" userId="edb588ad-b118-44cb-93b6-335b967c9009" providerId="ADAL" clId="{34F8F230-9FD2-4072-A43E-878891742AFB}" dt="2021-06-02T08:44:23.971" v="2050" actId="20577"/>
      <pc:docMkLst>
        <pc:docMk/>
      </pc:docMkLst>
      <pc:sldChg chg="modSp mod">
        <pc:chgData name="Kümmerle, Markus" userId="edb588ad-b118-44cb-93b6-335b967c9009" providerId="ADAL" clId="{34F8F230-9FD2-4072-A43E-878891742AFB}" dt="2021-04-28T07:59:47.252" v="1852" actId="20577"/>
        <pc:sldMkLst>
          <pc:docMk/>
          <pc:sldMk cId="3888384040" sldId="474"/>
        </pc:sldMkLst>
        <pc:spChg chg="mod">
          <ac:chgData name="Kümmerle, Markus" userId="edb588ad-b118-44cb-93b6-335b967c9009" providerId="ADAL" clId="{34F8F230-9FD2-4072-A43E-878891742AFB}" dt="2021-04-28T07:59:47.252" v="1852" actId="20577"/>
          <ac:spMkLst>
            <pc:docMk/>
            <pc:sldMk cId="3888384040" sldId="474"/>
            <ac:spMk id="10" creationId="{00000000-0000-0000-0000-000000000000}"/>
          </ac:spMkLst>
        </pc:spChg>
      </pc:sldChg>
      <pc:sldChg chg="addSp modSp mod">
        <pc:chgData name="Kümmerle, Markus" userId="edb588ad-b118-44cb-93b6-335b967c9009" providerId="ADAL" clId="{34F8F230-9FD2-4072-A43E-878891742AFB}" dt="2021-04-15T06:27:51.766" v="387" actId="1076"/>
        <pc:sldMkLst>
          <pc:docMk/>
          <pc:sldMk cId="3217164513" sldId="833"/>
        </pc:sldMkLst>
        <pc:spChg chg="add mod">
          <ac:chgData name="Kümmerle, Markus" userId="edb588ad-b118-44cb-93b6-335b967c9009" providerId="ADAL" clId="{34F8F230-9FD2-4072-A43E-878891742AFB}" dt="2021-04-15T06:27:51.766" v="387" actId="1076"/>
          <ac:spMkLst>
            <pc:docMk/>
            <pc:sldMk cId="3217164513" sldId="833"/>
            <ac:spMk id="68" creationId="{7674B0DD-BBB7-4A0E-8EE6-DC95C81BD1AF}"/>
          </ac:spMkLst>
        </pc:spChg>
      </pc:sldChg>
      <pc:sldChg chg="addSp modSp mod addCm">
        <pc:chgData name="Kümmerle, Markus" userId="edb588ad-b118-44cb-93b6-335b967c9009" providerId="ADAL" clId="{34F8F230-9FD2-4072-A43E-878891742AFB}" dt="2021-04-19T06:12:51.258" v="1506" actId="1589"/>
        <pc:sldMkLst>
          <pc:docMk/>
          <pc:sldMk cId="2759709542" sldId="834"/>
        </pc:sldMkLst>
        <pc:spChg chg="add mod">
          <ac:chgData name="Kümmerle, Markus" userId="edb588ad-b118-44cb-93b6-335b967c9009" providerId="ADAL" clId="{34F8F230-9FD2-4072-A43E-878891742AFB}" dt="2021-04-15T06:21:01.427" v="229" actId="1076"/>
          <ac:spMkLst>
            <pc:docMk/>
            <pc:sldMk cId="2759709542" sldId="834"/>
            <ac:spMk id="3" creationId="{BB5CAE44-300B-4DB1-8AD9-1B640EC727C8}"/>
          </ac:spMkLst>
        </pc:spChg>
        <pc:spChg chg="mod">
          <ac:chgData name="Kümmerle, Markus" userId="edb588ad-b118-44cb-93b6-335b967c9009" providerId="ADAL" clId="{34F8F230-9FD2-4072-A43E-878891742AFB}" dt="2021-04-19T06:12:32.492" v="1505" actId="13926"/>
          <ac:spMkLst>
            <pc:docMk/>
            <pc:sldMk cId="2759709542" sldId="834"/>
            <ac:spMk id="5" creationId="{FC298125-D680-4F92-8081-A588B2F8C85A}"/>
          </ac:spMkLst>
        </pc:spChg>
      </pc:sldChg>
      <pc:sldChg chg="addSp modSp mod">
        <pc:chgData name="Kümmerle, Markus" userId="edb588ad-b118-44cb-93b6-335b967c9009" providerId="ADAL" clId="{34F8F230-9FD2-4072-A43E-878891742AFB}" dt="2021-04-16T09:38:38.132" v="1470" actId="1076"/>
        <pc:sldMkLst>
          <pc:docMk/>
          <pc:sldMk cId="692313280" sldId="839"/>
        </pc:sldMkLst>
        <pc:spChg chg="add mod">
          <ac:chgData name="Kümmerle, Markus" userId="edb588ad-b118-44cb-93b6-335b967c9009" providerId="ADAL" clId="{34F8F230-9FD2-4072-A43E-878891742AFB}" dt="2021-04-16T09:38:38.132" v="1470" actId="1076"/>
          <ac:spMkLst>
            <pc:docMk/>
            <pc:sldMk cId="692313280" sldId="839"/>
            <ac:spMk id="39" creationId="{E2FCCC2F-279A-4FB2-877B-40A73BD6C985}"/>
          </ac:spMkLst>
        </pc:spChg>
      </pc:sldChg>
      <pc:sldChg chg="modSp mod">
        <pc:chgData name="Kümmerle, Markus" userId="edb588ad-b118-44cb-93b6-335b967c9009" providerId="ADAL" clId="{34F8F230-9FD2-4072-A43E-878891742AFB}" dt="2021-04-16T09:11:07.733" v="743" actId="20577"/>
        <pc:sldMkLst>
          <pc:docMk/>
          <pc:sldMk cId="44353695" sldId="843"/>
        </pc:sldMkLst>
        <pc:spChg chg="mod">
          <ac:chgData name="Kümmerle, Markus" userId="edb588ad-b118-44cb-93b6-335b967c9009" providerId="ADAL" clId="{34F8F230-9FD2-4072-A43E-878891742AFB}" dt="2021-04-16T09:11:07.733" v="743" actId="20577"/>
          <ac:spMkLst>
            <pc:docMk/>
            <pc:sldMk cId="44353695" sldId="843"/>
            <ac:spMk id="23" creationId="{06B77003-2CB4-4D95-B146-0C1A6E5B708B}"/>
          </ac:spMkLst>
        </pc:spChg>
      </pc:sldChg>
      <pc:sldChg chg="addSp modSp mod">
        <pc:chgData name="Kümmerle, Markus" userId="edb588ad-b118-44cb-93b6-335b967c9009" providerId="ADAL" clId="{34F8F230-9FD2-4072-A43E-878891742AFB}" dt="2021-04-16T09:23:41.689" v="946" actId="947"/>
        <pc:sldMkLst>
          <pc:docMk/>
          <pc:sldMk cId="1627132099" sldId="849"/>
        </pc:sldMkLst>
        <pc:spChg chg="add mod">
          <ac:chgData name="Kümmerle, Markus" userId="edb588ad-b118-44cb-93b6-335b967c9009" providerId="ADAL" clId="{34F8F230-9FD2-4072-A43E-878891742AFB}" dt="2021-04-16T09:20:25.305" v="934" actId="20577"/>
          <ac:spMkLst>
            <pc:docMk/>
            <pc:sldMk cId="1627132099" sldId="849"/>
            <ac:spMk id="8" creationId="{CAE79D59-CD73-4ED7-A277-78F6997D187C}"/>
          </ac:spMkLst>
        </pc:spChg>
        <pc:spChg chg="add mod">
          <ac:chgData name="Kümmerle, Markus" userId="edb588ad-b118-44cb-93b6-335b967c9009" providerId="ADAL" clId="{34F8F230-9FD2-4072-A43E-878891742AFB}" dt="2021-04-16T09:23:01.823" v="945" actId="1076"/>
          <ac:spMkLst>
            <pc:docMk/>
            <pc:sldMk cId="1627132099" sldId="849"/>
            <ac:spMk id="9" creationId="{E47DD0DE-A828-4AB7-825A-737E1DF0525A}"/>
          </ac:spMkLst>
        </pc:spChg>
        <pc:spChg chg="mod">
          <ac:chgData name="Kümmerle, Markus" userId="edb588ad-b118-44cb-93b6-335b967c9009" providerId="ADAL" clId="{34F8F230-9FD2-4072-A43E-878891742AFB}" dt="2021-04-16T09:23:41.689" v="946" actId="947"/>
          <ac:spMkLst>
            <pc:docMk/>
            <pc:sldMk cId="1627132099" sldId="849"/>
            <ac:spMk id="44" creationId="{5BE3AE2B-4A0E-4204-B25A-B404EC4FDDA8}"/>
          </ac:spMkLst>
        </pc:spChg>
      </pc:sldChg>
      <pc:sldChg chg="addSp modSp mod addCm">
        <pc:chgData name="Kümmerle, Markus" userId="edb588ad-b118-44cb-93b6-335b967c9009" providerId="ADAL" clId="{34F8F230-9FD2-4072-A43E-878891742AFB}" dt="2021-04-16T13:10:15.784" v="1483" actId="1589"/>
        <pc:sldMkLst>
          <pc:docMk/>
          <pc:sldMk cId="530366835" sldId="851"/>
        </pc:sldMkLst>
        <pc:spChg chg="add mod">
          <ac:chgData name="Kümmerle, Markus" userId="edb588ad-b118-44cb-93b6-335b967c9009" providerId="ADAL" clId="{34F8F230-9FD2-4072-A43E-878891742AFB}" dt="2021-04-16T08:56:01.347" v="477" actId="20577"/>
          <ac:spMkLst>
            <pc:docMk/>
            <pc:sldMk cId="530366835" sldId="851"/>
            <ac:spMk id="9" creationId="{CA25D94E-4815-497C-B33B-5DF76250EE0D}"/>
          </ac:spMkLst>
        </pc:spChg>
        <pc:spChg chg="add mod">
          <ac:chgData name="Kümmerle, Markus" userId="edb588ad-b118-44cb-93b6-335b967c9009" providerId="ADAL" clId="{34F8F230-9FD2-4072-A43E-878891742AFB}" dt="2021-04-16T08:58:18.071" v="689" actId="1076"/>
          <ac:spMkLst>
            <pc:docMk/>
            <pc:sldMk cId="530366835" sldId="851"/>
            <ac:spMk id="10" creationId="{D5B6F30A-C27B-4CD6-A9A9-AA3DB2C017FE}"/>
          </ac:spMkLst>
        </pc:spChg>
        <pc:spChg chg="mod">
          <ac:chgData name="Kümmerle, Markus" userId="edb588ad-b118-44cb-93b6-335b967c9009" providerId="ADAL" clId="{34F8F230-9FD2-4072-A43E-878891742AFB}" dt="2021-04-16T08:58:53.277" v="691" actId="20577"/>
          <ac:spMkLst>
            <pc:docMk/>
            <pc:sldMk cId="530366835" sldId="851"/>
            <ac:spMk id="26" creationId="{CE1C3E13-AF8F-4301-B411-986CE84A3DD5}"/>
          </ac:spMkLst>
        </pc:spChg>
      </pc:sldChg>
      <pc:sldChg chg="addSp modSp mod">
        <pc:chgData name="Kümmerle, Markus" userId="edb588ad-b118-44cb-93b6-335b967c9009" providerId="ADAL" clId="{34F8F230-9FD2-4072-A43E-878891742AFB}" dt="2021-04-16T09:10:24.776" v="726" actId="947"/>
        <pc:sldMkLst>
          <pc:docMk/>
          <pc:sldMk cId="408860177" sldId="852"/>
        </pc:sldMkLst>
        <pc:spChg chg="add mod">
          <ac:chgData name="Kümmerle, Markus" userId="edb588ad-b118-44cb-93b6-335b967c9009" providerId="ADAL" clId="{34F8F230-9FD2-4072-A43E-878891742AFB}" dt="2021-04-16T09:09:49.711" v="725" actId="1076"/>
          <ac:spMkLst>
            <pc:docMk/>
            <pc:sldMk cId="408860177" sldId="852"/>
            <ac:spMk id="9" creationId="{C30918C6-5A6C-4EC7-80B6-87CD5B60CF3B}"/>
          </ac:spMkLst>
        </pc:spChg>
        <pc:spChg chg="mod">
          <ac:chgData name="Kümmerle, Markus" userId="edb588ad-b118-44cb-93b6-335b967c9009" providerId="ADAL" clId="{34F8F230-9FD2-4072-A43E-878891742AFB}" dt="2021-04-16T09:10:24.776" v="726" actId="947"/>
          <ac:spMkLst>
            <pc:docMk/>
            <pc:sldMk cId="408860177" sldId="852"/>
            <ac:spMk id="13" creationId="{73821551-7EF5-4C59-9DF7-6839525ACB76}"/>
          </ac:spMkLst>
        </pc:spChg>
      </pc:sldChg>
      <pc:sldChg chg="addSp modSp mod">
        <pc:chgData name="Kümmerle, Markus" userId="edb588ad-b118-44cb-93b6-335b967c9009" providerId="ADAL" clId="{34F8F230-9FD2-4072-A43E-878891742AFB}" dt="2021-04-16T09:40:42.330" v="1482" actId="20577"/>
        <pc:sldMkLst>
          <pc:docMk/>
          <pc:sldMk cId="2552030312" sldId="854"/>
        </pc:sldMkLst>
        <pc:spChg chg="add mod">
          <ac:chgData name="Kümmerle, Markus" userId="edb588ad-b118-44cb-93b6-335b967c9009" providerId="ADAL" clId="{34F8F230-9FD2-4072-A43E-878891742AFB}" dt="2021-04-16T09:40:42.330" v="1482" actId="20577"/>
          <ac:spMkLst>
            <pc:docMk/>
            <pc:sldMk cId="2552030312" sldId="854"/>
            <ac:spMk id="15" creationId="{20E2CAEF-EE94-423D-AC17-B5E911DC5D58}"/>
          </ac:spMkLst>
        </pc:spChg>
      </pc:sldChg>
      <pc:sldChg chg="addSp modSp mod">
        <pc:chgData name="Kümmerle, Markus" userId="edb588ad-b118-44cb-93b6-335b967c9009" providerId="ADAL" clId="{34F8F230-9FD2-4072-A43E-878891742AFB}" dt="2021-04-16T09:27:30.833" v="1167" actId="20577"/>
        <pc:sldMkLst>
          <pc:docMk/>
          <pc:sldMk cId="1758910654" sldId="872"/>
        </pc:sldMkLst>
        <pc:spChg chg="add mod">
          <ac:chgData name="Kümmerle, Markus" userId="edb588ad-b118-44cb-93b6-335b967c9009" providerId="ADAL" clId="{34F8F230-9FD2-4072-A43E-878891742AFB}" dt="2021-04-16T09:25:47.978" v="1006" actId="20577"/>
          <ac:spMkLst>
            <pc:docMk/>
            <pc:sldMk cId="1758910654" sldId="872"/>
            <ac:spMk id="84" creationId="{F43CBE5B-F691-4C1A-9731-A09A13540238}"/>
          </ac:spMkLst>
        </pc:spChg>
        <pc:spChg chg="add mod">
          <ac:chgData name="Kümmerle, Markus" userId="edb588ad-b118-44cb-93b6-335b967c9009" providerId="ADAL" clId="{34F8F230-9FD2-4072-A43E-878891742AFB}" dt="2021-04-16T09:27:30.833" v="1167" actId="20577"/>
          <ac:spMkLst>
            <pc:docMk/>
            <pc:sldMk cId="1758910654" sldId="872"/>
            <ac:spMk id="85" creationId="{C087C93A-ECE6-4C49-8489-AC16FC101F49}"/>
          </ac:spMkLst>
        </pc:spChg>
      </pc:sldChg>
      <pc:sldChg chg="addSp modSp mod addCm">
        <pc:chgData name="Kümmerle, Markus" userId="edb588ad-b118-44cb-93b6-335b967c9009" providerId="ADAL" clId="{34F8F230-9FD2-4072-A43E-878891742AFB}" dt="2021-04-16T13:16:41.150" v="1488" actId="1589"/>
        <pc:sldMkLst>
          <pc:docMk/>
          <pc:sldMk cId="3017263479" sldId="884"/>
        </pc:sldMkLst>
        <pc:spChg chg="add mod">
          <ac:chgData name="Kümmerle, Markus" userId="edb588ad-b118-44cb-93b6-335b967c9009" providerId="ADAL" clId="{34F8F230-9FD2-4072-A43E-878891742AFB}" dt="2021-04-16T09:29:11.563" v="1197" actId="1076"/>
          <ac:spMkLst>
            <pc:docMk/>
            <pc:sldMk cId="3017263479" sldId="884"/>
            <ac:spMk id="20" creationId="{8D489902-A8F1-4755-A22E-4A716B1B2DF9}"/>
          </ac:spMkLst>
        </pc:spChg>
        <pc:spChg chg="add mod">
          <ac:chgData name="Kümmerle, Markus" userId="edb588ad-b118-44cb-93b6-335b967c9009" providerId="ADAL" clId="{34F8F230-9FD2-4072-A43E-878891742AFB}" dt="2021-04-16T09:30:38.281" v="1213" actId="1076"/>
          <ac:spMkLst>
            <pc:docMk/>
            <pc:sldMk cId="3017263479" sldId="884"/>
            <ac:spMk id="21" creationId="{4E843418-47AB-4196-AC29-3FEEC8B16FCB}"/>
          </ac:spMkLst>
        </pc:spChg>
        <pc:spChg chg="add mod">
          <ac:chgData name="Kümmerle, Markus" userId="edb588ad-b118-44cb-93b6-335b967c9009" providerId="ADAL" clId="{34F8F230-9FD2-4072-A43E-878891742AFB}" dt="2021-04-16T09:31:11.354" v="1276" actId="1076"/>
          <ac:spMkLst>
            <pc:docMk/>
            <pc:sldMk cId="3017263479" sldId="884"/>
            <ac:spMk id="22" creationId="{96692CBC-CB2D-4D62-80F0-0010A89CD6A4}"/>
          </ac:spMkLst>
        </pc:spChg>
        <pc:spChg chg="add mod">
          <ac:chgData name="Kümmerle, Markus" userId="edb588ad-b118-44cb-93b6-335b967c9009" providerId="ADAL" clId="{34F8F230-9FD2-4072-A43E-878891742AFB}" dt="2021-04-16T09:34:44.802" v="1443" actId="1076"/>
          <ac:spMkLst>
            <pc:docMk/>
            <pc:sldMk cId="3017263479" sldId="884"/>
            <ac:spMk id="23" creationId="{B014D2A7-57A0-46E8-B967-1B4B3A1AB59C}"/>
          </ac:spMkLst>
        </pc:spChg>
      </pc:sldChg>
      <pc:sldChg chg="addCm modCm">
        <pc:chgData name="Kümmerle, Markus" userId="edb588ad-b118-44cb-93b6-335b967c9009" providerId="ADAL" clId="{34F8F230-9FD2-4072-A43E-878891742AFB}" dt="2021-04-16T13:18:11.406" v="1489"/>
        <pc:sldMkLst>
          <pc:docMk/>
          <pc:sldMk cId="3195984845" sldId="885"/>
        </pc:sldMkLst>
      </pc:sldChg>
      <pc:sldChg chg="modSp mod addCm modCm">
        <pc:chgData name="Kümmerle, Markus" userId="edb588ad-b118-44cb-93b6-335b967c9009" providerId="ADAL" clId="{34F8F230-9FD2-4072-A43E-878891742AFB}" dt="2021-04-19T06:15:50.063" v="1510"/>
        <pc:sldMkLst>
          <pc:docMk/>
          <pc:sldMk cId="3931138914" sldId="887"/>
        </pc:sldMkLst>
        <pc:spChg chg="mod">
          <ac:chgData name="Kümmerle, Markus" userId="edb588ad-b118-44cb-93b6-335b967c9009" providerId="ADAL" clId="{34F8F230-9FD2-4072-A43E-878891742AFB}" dt="2021-04-19T06:14:47.928" v="1507" actId="1076"/>
          <ac:spMkLst>
            <pc:docMk/>
            <pc:sldMk cId="3931138914" sldId="887"/>
            <ac:spMk id="17" creationId="{80C85612-3195-43C6-84FD-E4F97C4E2FAF}"/>
          </ac:spMkLst>
        </pc:spChg>
      </pc:sldChg>
      <pc:sldChg chg="addSp modSp mod addCm">
        <pc:chgData name="Kümmerle, Markus" userId="edb588ad-b118-44cb-93b6-335b967c9009" providerId="ADAL" clId="{34F8F230-9FD2-4072-A43E-878891742AFB}" dt="2021-04-23T15:03:44.826" v="1843" actId="1589"/>
        <pc:sldMkLst>
          <pc:docMk/>
          <pc:sldMk cId="1076232009" sldId="913"/>
        </pc:sldMkLst>
        <pc:spChg chg="add mod">
          <ac:chgData name="Kümmerle, Markus" userId="edb588ad-b118-44cb-93b6-335b967c9009" providerId="ADAL" clId="{34F8F230-9FD2-4072-A43E-878891742AFB}" dt="2021-04-23T15:03:04.525" v="1842" actId="1076"/>
          <ac:spMkLst>
            <pc:docMk/>
            <pc:sldMk cId="1076232009" sldId="913"/>
            <ac:spMk id="59" creationId="{3AA90A09-86AF-4C36-94A7-BF45987A6FE9}"/>
          </ac:spMkLst>
        </pc:spChg>
      </pc:sldChg>
      <pc:sldChg chg="addSp delSp modSp mod delCm">
        <pc:chgData name="Kümmerle, Markus" userId="edb588ad-b118-44cb-93b6-335b967c9009" providerId="ADAL" clId="{34F8F230-9FD2-4072-A43E-878891742AFB}" dt="2021-04-26T07:09:11.344" v="1850" actId="1592"/>
        <pc:sldMkLst>
          <pc:docMk/>
          <pc:sldMk cId="3055426121" sldId="916"/>
        </pc:sldMkLst>
        <pc:spChg chg="add del mod">
          <ac:chgData name="Kümmerle, Markus" userId="edb588ad-b118-44cb-93b6-335b967c9009" providerId="ADAL" clId="{34F8F230-9FD2-4072-A43E-878891742AFB}" dt="2021-04-26T07:09:07.780" v="1849" actId="478"/>
          <ac:spMkLst>
            <pc:docMk/>
            <pc:sldMk cId="3055426121" sldId="916"/>
            <ac:spMk id="38" creationId="{679E43BB-0D17-4897-A14B-33EA38C0E461}"/>
          </ac:spMkLst>
        </pc:spChg>
      </pc:sldChg>
      <pc:sldChg chg="addSp modSp mod addCm modCm">
        <pc:chgData name="Kümmerle, Markus" userId="edb588ad-b118-44cb-93b6-335b967c9009" providerId="ADAL" clId="{34F8F230-9FD2-4072-A43E-878891742AFB}" dt="2021-04-23T15:02:54.817" v="1841" actId="1589"/>
        <pc:sldMkLst>
          <pc:docMk/>
          <pc:sldMk cId="2545986200" sldId="919"/>
        </pc:sldMkLst>
        <pc:spChg chg="add mod">
          <ac:chgData name="Kümmerle, Markus" userId="edb588ad-b118-44cb-93b6-335b967c9009" providerId="ADAL" clId="{34F8F230-9FD2-4072-A43E-878891742AFB}" dt="2021-04-23T06:38:43.273" v="1648" actId="14100"/>
          <ac:spMkLst>
            <pc:docMk/>
            <pc:sldMk cId="2545986200" sldId="919"/>
            <ac:spMk id="3" creationId="{1EE9539B-EC67-43B0-A350-9DCF1A53E928}"/>
          </ac:spMkLst>
        </pc:spChg>
      </pc:sldChg>
      <pc:sldChg chg="addSp modSp mod">
        <pc:chgData name="Kümmerle, Markus" userId="edb588ad-b118-44cb-93b6-335b967c9009" providerId="ADAL" clId="{34F8F230-9FD2-4072-A43E-878891742AFB}" dt="2021-06-02T08:44:23.971" v="2050" actId="20577"/>
        <pc:sldMkLst>
          <pc:docMk/>
          <pc:sldMk cId="3100841740" sldId="920"/>
        </pc:sldMkLst>
        <pc:spChg chg="add mod">
          <ac:chgData name="Kümmerle, Markus" userId="edb588ad-b118-44cb-93b6-335b967c9009" providerId="ADAL" clId="{34F8F230-9FD2-4072-A43E-878891742AFB}" dt="2021-06-02T08:44:23.971" v="2050" actId="20577"/>
          <ac:spMkLst>
            <pc:docMk/>
            <pc:sldMk cId="3100841740" sldId="920"/>
            <ac:spMk id="6" creationId="{1CF74FA8-66EF-4087-90C5-E91A4C58EBAD}"/>
          </ac:spMkLst>
        </pc:spChg>
      </pc:sldChg>
      <pc:sldChg chg="addSp delSp modSp mod addCm delCm">
        <pc:chgData name="Kümmerle, Markus" userId="edb588ad-b118-44cb-93b6-335b967c9009" providerId="ADAL" clId="{34F8F230-9FD2-4072-A43E-878891742AFB}" dt="2021-04-26T07:08:48.758" v="1848" actId="1592"/>
        <pc:sldMkLst>
          <pc:docMk/>
          <pc:sldMk cId="611033580" sldId="922"/>
        </pc:sldMkLst>
        <pc:spChg chg="mod">
          <ac:chgData name="Kümmerle, Markus" userId="edb588ad-b118-44cb-93b6-335b967c9009" providerId="ADAL" clId="{34F8F230-9FD2-4072-A43E-878891742AFB}" dt="2021-04-26T07:08:01.530" v="1846" actId="947"/>
          <ac:spMkLst>
            <pc:docMk/>
            <pc:sldMk cId="611033580" sldId="922"/>
            <ac:spMk id="13" creationId="{E6D7FBB7-27B6-449E-A378-8A388907AE59}"/>
          </ac:spMkLst>
        </pc:spChg>
        <pc:spChg chg="add mod">
          <ac:chgData name="Kümmerle, Markus" userId="edb588ad-b118-44cb-93b6-335b967c9009" providerId="ADAL" clId="{34F8F230-9FD2-4072-A43E-878891742AFB}" dt="2021-04-23T06:46:16.670" v="1759" actId="1076"/>
          <ac:spMkLst>
            <pc:docMk/>
            <pc:sldMk cId="611033580" sldId="922"/>
            <ac:spMk id="39" creationId="{FDBFB850-09A5-4F94-A571-A147B0C47073}"/>
          </ac:spMkLst>
        </pc:spChg>
        <pc:spChg chg="add del mod">
          <ac:chgData name="Kümmerle, Markus" userId="edb588ad-b118-44cb-93b6-335b967c9009" providerId="ADAL" clId="{34F8F230-9FD2-4072-A43E-878891742AFB}" dt="2021-04-26T07:08:29.526" v="1847" actId="478"/>
          <ac:spMkLst>
            <pc:docMk/>
            <pc:sldMk cId="611033580" sldId="922"/>
            <ac:spMk id="40" creationId="{B78982A0-2DAB-4099-8DAA-EF94B2CF0A93}"/>
          </ac:spMkLst>
        </pc:spChg>
      </pc:sldChg>
      <pc:sldChg chg="addSp delSp modSp mod">
        <pc:chgData name="Kümmerle, Markus" userId="edb588ad-b118-44cb-93b6-335b967c9009" providerId="ADAL" clId="{34F8F230-9FD2-4072-A43E-878891742AFB}" dt="2021-06-02T08:26:15.323" v="1967" actId="21"/>
        <pc:sldMkLst>
          <pc:docMk/>
          <pc:sldMk cId="2399935048" sldId="924"/>
        </pc:sldMkLst>
        <pc:spChg chg="add del mod">
          <ac:chgData name="Kümmerle, Markus" userId="edb588ad-b118-44cb-93b6-335b967c9009" providerId="ADAL" clId="{34F8F230-9FD2-4072-A43E-878891742AFB}" dt="2021-06-02T08:26:15.323" v="1967" actId="21"/>
          <ac:spMkLst>
            <pc:docMk/>
            <pc:sldMk cId="2399935048" sldId="924"/>
            <ac:spMk id="39" creationId="{0190601D-BDED-4769-881A-D5585C05CD01}"/>
          </ac:spMkLst>
        </pc:spChg>
      </pc:sldChg>
      <pc:sldChg chg="addSp modSp mod">
        <pc:chgData name="Kümmerle, Markus" userId="edb588ad-b118-44cb-93b6-335b967c9009" providerId="ADAL" clId="{34F8F230-9FD2-4072-A43E-878891742AFB}" dt="2021-06-02T08:21:33.790" v="1908" actId="20577"/>
        <pc:sldMkLst>
          <pc:docMk/>
          <pc:sldMk cId="142025012" sldId="928"/>
        </pc:sldMkLst>
        <pc:spChg chg="add mod">
          <ac:chgData name="Kümmerle, Markus" userId="edb588ad-b118-44cb-93b6-335b967c9009" providerId="ADAL" clId="{34F8F230-9FD2-4072-A43E-878891742AFB}" dt="2021-06-02T08:20:08.162" v="1876" actId="1076"/>
          <ac:spMkLst>
            <pc:docMk/>
            <pc:sldMk cId="142025012" sldId="928"/>
            <ac:spMk id="3" creationId="{A45EBD70-9606-4487-A902-5AB5569A1EF6}"/>
          </ac:spMkLst>
        </pc:spChg>
        <pc:spChg chg="add mod">
          <ac:chgData name="Kümmerle, Markus" userId="edb588ad-b118-44cb-93b6-335b967c9009" providerId="ADAL" clId="{34F8F230-9FD2-4072-A43E-878891742AFB}" dt="2021-06-02T08:21:33.790" v="1908" actId="20577"/>
          <ac:spMkLst>
            <pc:docMk/>
            <pc:sldMk cId="142025012" sldId="928"/>
            <ac:spMk id="29" creationId="{A8BFD069-AE08-4489-9B61-46B548AF30FD}"/>
          </ac:spMkLst>
        </pc:spChg>
      </pc:sldChg>
      <pc:sldChg chg="add del">
        <pc:chgData name="Kümmerle, Markus" userId="edb588ad-b118-44cb-93b6-335b967c9009" providerId="ADAL" clId="{34F8F230-9FD2-4072-A43E-878891742AFB}" dt="2021-06-02T08:26:11.825" v="1965"/>
        <pc:sldMkLst>
          <pc:docMk/>
          <pc:sldMk cId="1927641302" sldId="930"/>
        </pc:sldMkLst>
      </pc:sldChg>
      <pc:sldChg chg="add del">
        <pc:chgData name="Kümmerle, Markus" userId="edb588ad-b118-44cb-93b6-335b967c9009" providerId="ADAL" clId="{34F8F230-9FD2-4072-A43E-878891742AFB}" dt="2021-06-02T08:26:07.951" v="1963"/>
        <pc:sldMkLst>
          <pc:docMk/>
          <pc:sldMk cId="2004801055" sldId="93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2933276" cy="495300"/>
          </a:xfrm>
          <a:prstGeom prst="rect">
            <a:avLst/>
          </a:prstGeom>
        </p:spPr>
        <p:txBody>
          <a:bodyPr vert="horz" lIns="91230" tIns="45615" rIns="91230" bIns="45615" rtlCol="0"/>
          <a:lstStyle>
            <a:lvl1pPr algn="l">
              <a:defRPr sz="1200"/>
            </a:lvl1pPr>
          </a:lstStyle>
          <a:p>
            <a:endParaRPr lang="de-DE"/>
          </a:p>
        </p:txBody>
      </p:sp>
      <p:sp>
        <p:nvSpPr>
          <p:cNvPr id="3" name="Datumsplatzhalter 2"/>
          <p:cNvSpPr>
            <a:spLocks noGrp="1"/>
          </p:cNvSpPr>
          <p:nvPr>
            <p:ph type="dt" idx="1"/>
          </p:nvPr>
        </p:nvSpPr>
        <p:spPr>
          <a:xfrm>
            <a:off x="3834258" y="0"/>
            <a:ext cx="2933276" cy="495300"/>
          </a:xfrm>
          <a:prstGeom prst="rect">
            <a:avLst/>
          </a:prstGeom>
        </p:spPr>
        <p:txBody>
          <a:bodyPr vert="horz" lIns="91230" tIns="45615" rIns="91230" bIns="45615" rtlCol="0"/>
          <a:lstStyle>
            <a:lvl1pPr algn="r">
              <a:defRPr sz="1200"/>
            </a:lvl1pPr>
          </a:lstStyle>
          <a:p>
            <a:fld id="{9847C1C0-7CF7-4E43-8415-72BC7E37BCB3}" type="datetimeFigureOut">
              <a:rPr lang="de-DE" smtClean="0"/>
              <a:pPr/>
              <a:t>21.06.2021</a:t>
            </a:fld>
            <a:endParaRPr lang="de-DE"/>
          </a:p>
        </p:txBody>
      </p:sp>
      <p:sp>
        <p:nvSpPr>
          <p:cNvPr id="4" name="Folienbildplatzhalter 3"/>
          <p:cNvSpPr>
            <a:spLocks noGrp="1" noRot="1" noChangeAspect="1"/>
          </p:cNvSpPr>
          <p:nvPr>
            <p:ph type="sldImg" idx="2"/>
          </p:nvPr>
        </p:nvSpPr>
        <p:spPr>
          <a:xfrm>
            <a:off x="85725" y="742950"/>
            <a:ext cx="6597650" cy="3714750"/>
          </a:xfrm>
          <a:prstGeom prst="rect">
            <a:avLst/>
          </a:prstGeom>
          <a:noFill/>
          <a:ln w="12700">
            <a:solidFill>
              <a:prstClr val="black"/>
            </a:solidFill>
          </a:ln>
        </p:spPr>
        <p:txBody>
          <a:bodyPr vert="horz" lIns="91230" tIns="45615" rIns="91230" bIns="45615" rtlCol="0" anchor="ctr"/>
          <a:lstStyle/>
          <a:p>
            <a:endParaRPr lang="de-DE"/>
          </a:p>
        </p:txBody>
      </p:sp>
      <p:sp>
        <p:nvSpPr>
          <p:cNvPr id="5" name="Notizenplatzhalter 4"/>
          <p:cNvSpPr>
            <a:spLocks noGrp="1"/>
          </p:cNvSpPr>
          <p:nvPr>
            <p:ph type="body" sz="quarter" idx="3"/>
          </p:nvPr>
        </p:nvSpPr>
        <p:spPr>
          <a:xfrm>
            <a:off x="676910" y="4705351"/>
            <a:ext cx="5415280" cy="4457700"/>
          </a:xfrm>
          <a:prstGeom prst="rect">
            <a:avLst/>
          </a:prstGeom>
        </p:spPr>
        <p:txBody>
          <a:bodyPr vert="horz" lIns="91230" tIns="45615" rIns="91230" bIns="4561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1" y="9408982"/>
            <a:ext cx="2933276" cy="495300"/>
          </a:xfrm>
          <a:prstGeom prst="rect">
            <a:avLst/>
          </a:prstGeom>
        </p:spPr>
        <p:txBody>
          <a:bodyPr vert="horz" lIns="91230" tIns="45615" rIns="91230" bIns="45615" rtlCol="0" anchor="b"/>
          <a:lstStyle>
            <a:lvl1pPr algn="l">
              <a:defRPr sz="1200"/>
            </a:lvl1pPr>
          </a:lstStyle>
          <a:p>
            <a:endParaRPr lang="de-DE"/>
          </a:p>
        </p:txBody>
      </p:sp>
      <p:sp>
        <p:nvSpPr>
          <p:cNvPr id="7" name="Foliennummernplatzhalter 6"/>
          <p:cNvSpPr>
            <a:spLocks noGrp="1"/>
          </p:cNvSpPr>
          <p:nvPr>
            <p:ph type="sldNum" sz="quarter" idx="5"/>
          </p:nvPr>
        </p:nvSpPr>
        <p:spPr>
          <a:xfrm>
            <a:off x="3834258" y="9408982"/>
            <a:ext cx="2933276" cy="495300"/>
          </a:xfrm>
          <a:prstGeom prst="rect">
            <a:avLst/>
          </a:prstGeom>
        </p:spPr>
        <p:txBody>
          <a:bodyPr vert="horz" lIns="91230" tIns="45615" rIns="91230" bIns="45615" rtlCol="0" anchor="b"/>
          <a:lstStyle>
            <a:lvl1pPr algn="r">
              <a:defRPr sz="12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2255115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hemeOverride" Target="../theme/themeOverride2.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3.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288000" y="4258802"/>
            <a:ext cx="10945150" cy="299441"/>
          </a:xfrm>
          <a:prstGeom prst="rect">
            <a:avLst/>
          </a:prstGeom>
        </p:spPr>
        <p:txBody>
          <a:bodyPr wrap="square">
            <a:spAutoFit/>
          </a:bodyPr>
          <a:lstStyle>
            <a:lvl1pPr>
              <a:spcBef>
                <a:spcPts val="0"/>
              </a:spcBef>
              <a:defRPr sz="2000"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Flexo Soft Medium, 20 </a:t>
            </a:r>
            <a:r>
              <a:rPr lang="de-DE" err="1"/>
              <a:t>pt</a:t>
            </a:r>
            <a:endParaRPr lang="de-DE"/>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Empty Slide">
    <p:bg>
      <p:bgPr>
        <a:solidFill>
          <a:srgbClr val="004750"/>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345DF9B-DA61-46A1-8C97-EE90D13733FC}"/>
              </a:ext>
            </a:extLst>
          </p:cNvPr>
          <p:cNvGraphicFramePr>
            <a:graphicFrameLocks noChangeAspect="1"/>
          </p:cNvGraphicFramePr>
          <p:nvPr userDrawn="1">
            <p:custDataLst>
              <p:tags r:id="rId1"/>
            </p:custDataLst>
            <p:extLst>
              <p:ext uri="{D42A27DB-BD31-4B8C-83A1-F6EECF244321}">
                <p14:modId xmlns:p14="http://schemas.microsoft.com/office/powerpoint/2010/main" val="195041279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5" name="Objekt 4" hidden="1">
                        <a:extLst>
                          <a:ext uri="{FF2B5EF4-FFF2-40B4-BE49-F238E27FC236}">
                            <a16:creationId xmlns:a16="http://schemas.microsoft.com/office/drawing/2014/main" id="{E345DF9B-DA61-46A1-8C97-EE90D13733FC}"/>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6" name="Bildplatzhalter 16">
            <a:extLst>
              <a:ext uri="{FF2B5EF4-FFF2-40B4-BE49-F238E27FC236}">
                <a16:creationId xmlns:a16="http://schemas.microsoft.com/office/drawing/2014/main" id="{DC19F058-5598-4FEC-A9DC-EB3DA72B1960}"/>
              </a:ext>
            </a:extLst>
          </p:cNvPr>
          <p:cNvSpPr>
            <a:spLocks noGrp="1"/>
          </p:cNvSpPr>
          <p:nvPr>
            <p:ph type="pic" sz="quarter" idx="10" hasCustomPrompt="1"/>
          </p:nvPr>
        </p:nvSpPr>
        <p:spPr bwMode="ltGray">
          <a:xfrm>
            <a:off x="0" y="-373062"/>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7434300 w 12192000"/>
              <a:gd name="connsiteY3" fmla="*/ 6858000 h 6858000"/>
              <a:gd name="connsiteX4" fmla="*/ 7434300 w 12192000"/>
              <a:gd name="connsiteY4" fmla="*/ 3606644 h 6858000"/>
              <a:gd name="connsiteX5" fmla="*/ 6773352 w 12192000"/>
              <a:gd name="connsiteY5" fmla="*/ 2944524 h 6858000"/>
              <a:gd name="connsiteX6" fmla="*/ 3978934 w 12192000"/>
              <a:gd name="connsiteY6" fmla="*/ 2944524 h 6858000"/>
              <a:gd name="connsiteX7" fmla="*/ 3317987 w 12192000"/>
              <a:gd name="connsiteY7" fmla="*/ 2282405 h 6858000"/>
              <a:gd name="connsiteX8" fmla="*/ 3317987 w 12192000"/>
              <a:gd name="connsiteY8" fmla="*/ 2147119 h 6858000"/>
              <a:gd name="connsiteX9" fmla="*/ 2657041 w 12192000"/>
              <a:gd name="connsiteY9" fmla="*/ 1485000 h 6858000"/>
              <a:gd name="connsiteX10" fmla="*/ 1289697 w 12192000"/>
              <a:gd name="connsiteY10" fmla="*/ 1485000 h 6858000"/>
              <a:gd name="connsiteX11" fmla="*/ 628750 w 12192000"/>
              <a:gd name="connsiteY11" fmla="*/ 2147119 h 6858000"/>
              <a:gd name="connsiteX12" fmla="*/ 628750 w 12192000"/>
              <a:gd name="connsiteY12" fmla="*/ 5399178 h 6858000"/>
              <a:gd name="connsiteX13" fmla="*/ 100965 w 12192000"/>
              <a:gd name="connsiteY13" fmla="*/ 6047839 h 6858000"/>
              <a:gd name="connsiteX14" fmla="*/ 0 w 12192000"/>
              <a:gd name="connsiteY14" fmla="*/ 605804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0">
                <a:moveTo>
                  <a:pt x="0" y="0"/>
                </a:moveTo>
                <a:lnTo>
                  <a:pt x="12192000" y="0"/>
                </a:lnTo>
                <a:lnTo>
                  <a:pt x="12192000" y="6858000"/>
                </a:lnTo>
                <a:lnTo>
                  <a:pt x="7434300" y="6858000"/>
                </a:lnTo>
                <a:lnTo>
                  <a:pt x="7434300" y="3606644"/>
                </a:lnTo>
                <a:cubicBezTo>
                  <a:pt x="7434300" y="3241112"/>
                  <a:pt x="7138236" y="2944524"/>
                  <a:pt x="6773352" y="2944524"/>
                </a:cubicBezTo>
                <a:lnTo>
                  <a:pt x="3978934" y="2944524"/>
                </a:lnTo>
                <a:cubicBezTo>
                  <a:pt x="3614051" y="2944524"/>
                  <a:pt x="3317987" y="2647936"/>
                  <a:pt x="3317987" y="2282405"/>
                </a:cubicBezTo>
                <a:lnTo>
                  <a:pt x="3317987" y="2147119"/>
                </a:lnTo>
                <a:cubicBezTo>
                  <a:pt x="3317987" y="1781588"/>
                  <a:pt x="3021925" y="1485000"/>
                  <a:pt x="2657041" y="1485000"/>
                </a:cubicBezTo>
                <a:lnTo>
                  <a:pt x="1289697" y="1485000"/>
                </a:lnTo>
                <a:cubicBezTo>
                  <a:pt x="924814" y="1485000"/>
                  <a:pt x="628750" y="1781588"/>
                  <a:pt x="628750" y="2147119"/>
                </a:cubicBezTo>
                <a:lnTo>
                  <a:pt x="628750" y="5399178"/>
                </a:lnTo>
                <a:cubicBezTo>
                  <a:pt x="628750" y="5719018"/>
                  <a:pt x="402077" y="5986073"/>
                  <a:pt x="100965" y="6047839"/>
                </a:cubicBezTo>
                <a:lnTo>
                  <a:pt x="0" y="6058043"/>
                </a:lnTo>
                <a:close/>
              </a:path>
            </a:pathLst>
          </a:custGeom>
          <a:solidFill>
            <a:schemeClr val="bg1"/>
          </a:solidFill>
        </p:spPr>
        <p:txBody>
          <a:bodyPr wrap="square" bIns="576000" anchor="ctr">
            <a:noAutofit/>
          </a:bodyPr>
          <a:lstStyle>
            <a:lvl1pPr marL="0" indent="0" algn="ctr">
              <a:spcAft>
                <a:spcPts val="0"/>
              </a:spcAft>
              <a:buFont typeface="+mn-lt" panose="020B0604020202020204" pitchFamily="34" charset="0"/>
              <a:buNone/>
              <a:tabLst/>
              <a:defRPr sz="1000" baseline="0">
                <a:solidFill>
                  <a:schemeClr val="bg1"/>
                </a:solidFill>
                <a:latin typeface="+mn-lt"/>
              </a:defRPr>
            </a:lvl1pPr>
            <a:lvl2pPr marL="0" indent="0" algn="ctr">
              <a:spcAft>
                <a:spcPts val="0"/>
              </a:spcAft>
              <a:buFont typeface="+mn-lt" panose="020B0604020202020204" pitchFamily="34" charset="0"/>
              <a:buNone/>
              <a:defRPr sz="1000">
                <a:solidFill>
                  <a:schemeClr val="bg1"/>
                </a:solidFill>
                <a:latin typeface="+mn-lt"/>
              </a:defRPr>
            </a:lvl2pPr>
            <a:lvl3pPr marL="0" indent="0" algn="ctr">
              <a:spcAft>
                <a:spcPts val="0"/>
              </a:spcAft>
              <a:buNone/>
              <a:defRPr sz="1000">
                <a:solidFill>
                  <a:schemeClr val="bg1"/>
                </a:solidFill>
                <a:latin typeface="+mn-lt"/>
              </a:defRPr>
            </a:lvl3pPr>
            <a:lvl4pPr marL="0" indent="0" algn="ctr">
              <a:spcAft>
                <a:spcPts val="0"/>
              </a:spcAft>
              <a:buNone/>
              <a:defRPr sz="1000">
                <a:solidFill>
                  <a:schemeClr val="bg1"/>
                </a:solidFill>
                <a:latin typeface="+mn-lt"/>
              </a:defRPr>
            </a:lvl4pPr>
            <a:lvl5pPr marL="0" indent="0" algn="ctr">
              <a:spcAft>
                <a:spcPts val="0"/>
              </a:spcAft>
              <a:buNone/>
              <a:defRPr sz="1000">
                <a:solidFill>
                  <a:schemeClr val="bg1"/>
                </a:solidFill>
                <a:latin typeface="+mn-lt"/>
              </a:defRPr>
            </a:lvl5pPr>
            <a:lvl6pPr marL="0" indent="0" algn="ctr">
              <a:spcAft>
                <a:spcPts val="0"/>
              </a:spcAft>
              <a:buNone/>
              <a:defRPr sz="1000">
                <a:solidFill>
                  <a:schemeClr val="bg1"/>
                </a:solidFill>
                <a:latin typeface="+mn-lt"/>
              </a:defRPr>
            </a:lvl6pPr>
            <a:lvl7pPr marL="0" indent="0" algn="ctr">
              <a:spcAft>
                <a:spcPts val="0"/>
              </a:spcAft>
              <a:buNone/>
              <a:defRPr sz="1000">
                <a:solidFill>
                  <a:schemeClr val="bg1"/>
                </a:solidFill>
                <a:latin typeface="+mn-lt"/>
              </a:defRPr>
            </a:lvl7pPr>
            <a:lvl8pPr marL="0" indent="0" algn="ctr">
              <a:spcAft>
                <a:spcPts val="0"/>
              </a:spcAft>
              <a:buNone/>
              <a:defRPr sz="1000">
                <a:solidFill>
                  <a:schemeClr val="bg1"/>
                </a:solidFill>
                <a:latin typeface="+mn-lt"/>
              </a:defRPr>
            </a:lvl8pPr>
            <a:lvl9pPr marL="0" indent="0" algn="ctr">
              <a:spcAft>
                <a:spcPts val="0"/>
              </a:spcAft>
              <a:buNone/>
              <a:defRPr sz="1000">
                <a:solidFill>
                  <a:schemeClr val="bg1"/>
                </a:solidFill>
                <a:latin typeface="+mn-lt"/>
              </a:defRPr>
            </a:lvl9pPr>
          </a:lstStyle>
          <a:p>
            <a:r>
              <a:rPr lang="en-US"/>
              <a:t>Add picture</a:t>
            </a:r>
          </a:p>
        </p:txBody>
      </p:sp>
      <p:sp>
        <p:nvSpPr>
          <p:cNvPr id="4" name="Textplatzhalter 3">
            <a:extLst>
              <a:ext uri="{FF2B5EF4-FFF2-40B4-BE49-F238E27FC236}">
                <a16:creationId xmlns:a16="http://schemas.microsoft.com/office/drawing/2014/main" id="{1DB116F4-2093-45F9-BC1F-9D4924DC1598}"/>
              </a:ext>
            </a:extLst>
          </p:cNvPr>
          <p:cNvSpPr>
            <a:spLocks noGrp="1"/>
          </p:cNvSpPr>
          <p:nvPr>
            <p:ph type="body" sz="quarter" idx="12" hasCustomPrompt="1"/>
          </p:nvPr>
        </p:nvSpPr>
        <p:spPr>
          <a:xfrm>
            <a:off x="942518" y="3055938"/>
            <a:ext cx="6170551" cy="2217600"/>
          </a:xfrm>
          <a:prstGeom prst="rect">
            <a:avLst/>
          </a:prstGeom>
        </p:spPr>
        <p:txBody>
          <a:bodyPr>
            <a:noAutofit/>
          </a:bodyPr>
          <a:lstStyle>
            <a:lvl1pPr>
              <a:lnSpc>
                <a:spcPct val="104000"/>
              </a:lnSpc>
              <a:spcBef>
                <a:spcPts val="0"/>
              </a:spcBef>
              <a:defRPr sz="4400" b="0">
                <a:solidFill>
                  <a:schemeClr val="bg1"/>
                </a:solidFill>
                <a:latin typeface="FlexoSoft Medium" panose="02000000000000000000" pitchFamily="2" charset="0"/>
                <a:ea typeface="Typold Book" panose="020B0004030204060B03" pitchFamily="34" charset="0"/>
              </a:defRPr>
            </a:lvl1pPr>
          </a:lstStyle>
          <a:p>
            <a:pPr lvl="0"/>
            <a:r>
              <a:rPr lang="de-DE"/>
              <a:t>Slide </a:t>
            </a:r>
            <a:r>
              <a:rPr lang="de-DE" err="1"/>
              <a:t>Divider</a:t>
            </a:r>
            <a:br>
              <a:rPr lang="de-DE"/>
            </a:br>
            <a:r>
              <a:rPr lang="de-DE"/>
              <a:t>Flexo Soft Medium</a:t>
            </a:r>
            <a:br>
              <a:rPr lang="de-DE"/>
            </a:br>
            <a:r>
              <a:rPr lang="de-DE"/>
              <a:t>44/50/60 </a:t>
            </a:r>
            <a:r>
              <a:rPr lang="de-DE" err="1"/>
              <a:t>pt</a:t>
            </a:r>
            <a:endParaRPr lang="de-DE"/>
          </a:p>
        </p:txBody>
      </p:sp>
    </p:spTree>
    <p:extLst>
      <p:ext uri="{BB962C8B-B14F-4D97-AF65-F5344CB8AC3E}">
        <p14:creationId xmlns:p14="http://schemas.microsoft.com/office/powerpoint/2010/main" val="476898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mpty Slide With Full Size Im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73003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Full Size Im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6"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7" name="Textplatzhalter 5"/>
          <p:cNvSpPr>
            <a:spLocks noGrp="1"/>
          </p:cNvSpPr>
          <p:nvPr>
            <p:ph type="body" sz="quarter" idx="13" hasCustomPrompt="1"/>
          </p:nvPr>
        </p:nvSpPr>
        <p:spPr>
          <a:xfrm>
            <a:off x="288000" y="4258802"/>
            <a:ext cx="10945150" cy="307777"/>
          </a:xfrm>
          <a:prstGeom prst="rect">
            <a:avLst/>
          </a:prstGeom>
        </p:spPr>
        <p:txBody>
          <a:bodyPr wrap="square">
            <a:spAutoFit/>
          </a:bodyPr>
          <a:lstStyle>
            <a:lvl1pPr>
              <a:spcBef>
                <a:spcPts val="0"/>
              </a:spcBef>
              <a:defRPr sz="200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a:t>
            </a:r>
            <a:r>
              <a:rPr lang="de-DE" err="1"/>
              <a:t>Heading</a:t>
            </a:r>
            <a:r>
              <a:rPr lang="de-DE"/>
              <a:t> Flexo Soft Medium, 20 </a:t>
            </a:r>
            <a:r>
              <a:rPr lang="de-DE" err="1"/>
              <a:t>pt</a:t>
            </a:r>
            <a:endParaRPr lang="de-DE"/>
          </a:p>
        </p:txBody>
      </p:sp>
      <p:grpSp>
        <p:nvGrpSpPr>
          <p:cNvPr id="146" name="Gruppieren 145"/>
          <p:cNvGrpSpPr/>
          <p:nvPr userDrawn="1"/>
        </p:nvGrpSpPr>
        <p:grpSpPr>
          <a:xfrm>
            <a:off x="-348582" y="-308570"/>
            <a:ext cx="12206900" cy="7126900"/>
            <a:chOff x="-348582" y="-308570"/>
            <a:chExt cx="12206900" cy="7126900"/>
          </a:xfrm>
        </p:grpSpPr>
        <p:grpSp>
          <p:nvGrpSpPr>
            <p:cNvPr id="147" name="Gruppieren 146"/>
            <p:cNvGrpSpPr/>
            <p:nvPr userDrawn="1"/>
          </p:nvGrpSpPr>
          <p:grpSpPr>
            <a:xfrm>
              <a:off x="-348582" y="362069"/>
              <a:ext cx="180000" cy="5931473"/>
              <a:chOff x="-348582" y="362069"/>
              <a:chExt cx="180000" cy="5931473"/>
            </a:xfrm>
          </p:grpSpPr>
          <p:cxnSp>
            <p:nvCxnSpPr>
              <p:cNvPr id="174"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8" name="Gruppieren 147"/>
            <p:cNvGrpSpPr/>
            <p:nvPr userDrawn="1"/>
          </p:nvGrpSpPr>
          <p:grpSpPr>
            <a:xfrm>
              <a:off x="11678318" y="362069"/>
              <a:ext cx="180000" cy="5931473"/>
              <a:chOff x="11678318" y="362069"/>
              <a:chExt cx="180000" cy="5931473"/>
            </a:xfrm>
          </p:grpSpPr>
          <p:cxnSp>
            <p:nvCxnSpPr>
              <p:cNvPr id="167"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288925" y="6638330"/>
              <a:ext cx="10944224" cy="180000"/>
              <a:chOff x="288925" y="6638330"/>
              <a:chExt cx="10944224" cy="180000"/>
            </a:xfrm>
          </p:grpSpPr>
          <p:cxnSp>
            <p:nvCxnSpPr>
              <p:cNvPr id="159"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308570"/>
              <a:ext cx="10944224" cy="180000"/>
              <a:chOff x="288925" y="-308570"/>
              <a:chExt cx="10944224" cy="180000"/>
            </a:xfrm>
          </p:grpSpPr>
          <p:cxnSp>
            <p:nvCxnSpPr>
              <p:cNvPr id="151"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6116553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lide Divider Blue">
    <p:bg>
      <p:bgPr>
        <a:solidFill>
          <a:srgbClr val="12276E"/>
        </a:solidFill>
        <a:effectLst/>
      </p:bgPr>
    </p:bg>
    <p:spTree>
      <p:nvGrpSpPr>
        <p:cNvPr id="1" name=""/>
        <p:cNvGrpSpPr/>
        <p:nvPr/>
      </p:nvGrpSpPr>
      <p:grpSpPr>
        <a:xfrm>
          <a:off x="0" y="0"/>
          <a:ext cx="0" cy="0"/>
          <a:chOff x="0" y="0"/>
          <a:chExt cx="0" cy="0"/>
        </a:xfrm>
      </p:grpSpPr>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a:solidFill>
                  <a:schemeClr val="bg1"/>
                </a:solidFill>
                <a:latin typeface="FlexoSoft Medium" panose="02000000000000000000" pitchFamily="2" charset="0"/>
                <a:ea typeface="Typold Book" panose="020B0004030204060B03" pitchFamily="34" charset="0"/>
              </a:defRPr>
            </a:lvl1pPr>
          </a:lstStyle>
          <a:p>
            <a:pPr lvl="0"/>
            <a:r>
              <a:rPr lang="de-DE"/>
              <a:t>Slide </a:t>
            </a:r>
            <a:r>
              <a:rPr lang="de-DE" err="1"/>
              <a:t>Divider</a:t>
            </a:r>
            <a:br>
              <a:rPr lang="de-DE"/>
            </a:br>
            <a:r>
              <a:rPr lang="de-DE"/>
              <a:t>Flexo Soft Medium</a:t>
            </a:r>
            <a:br>
              <a:rPr lang="de-DE"/>
            </a:br>
            <a:r>
              <a:rPr lang="de-DE"/>
              <a:t>44/50/60 </a:t>
            </a:r>
            <a:r>
              <a:rPr lang="de-DE" err="1"/>
              <a:t>pt</a:t>
            </a:r>
            <a:endParaRPr lang="de-DE"/>
          </a:p>
        </p:txBody>
      </p:sp>
      <p:grpSp>
        <p:nvGrpSpPr>
          <p:cNvPr id="144" name="Gruppieren 143"/>
          <p:cNvGrpSpPr/>
          <p:nvPr userDrawn="1"/>
        </p:nvGrpSpPr>
        <p:grpSpPr>
          <a:xfrm>
            <a:off x="-348582" y="-308570"/>
            <a:ext cx="12206900" cy="7126900"/>
            <a:chOff x="-348582" y="-308570"/>
            <a:chExt cx="12206900" cy="7126900"/>
          </a:xfrm>
        </p:grpSpPr>
        <p:grpSp>
          <p:nvGrpSpPr>
            <p:cNvPr id="145" name="Gruppieren 144"/>
            <p:cNvGrpSpPr/>
            <p:nvPr userDrawn="1"/>
          </p:nvGrpSpPr>
          <p:grpSpPr>
            <a:xfrm>
              <a:off x="-348582" y="362069"/>
              <a:ext cx="180000" cy="5931473"/>
              <a:chOff x="-348582" y="362069"/>
              <a:chExt cx="180000" cy="5931473"/>
            </a:xfrm>
          </p:grpSpPr>
          <p:cxnSp>
            <p:nvCxnSpPr>
              <p:cNvPr id="172"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6" name="Gruppieren 145"/>
            <p:cNvGrpSpPr/>
            <p:nvPr userDrawn="1"/>
          </p:nvGrpSpPr>
          <p:grpSpPr>
            <a:xfrm>
              <a:off x="11678318" y="362069"/>
              <a:ext cx="180000" cy="5931473"/>
              <a:chOff x="11678318" y="362069"/>
              <a:chExt cx="180000" cy="5931473"/>
            </a:xfrm>
          </p:grpSpPr>
          <p:cxnSp>
            <p:nvCxnSpPr>
              <p:cNvPr id="165"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7" name="Gruppieren 146"/>
            <p:cNvGrpSpPr/>
            <p:nvPr userDrawn="1"/>
          </p:nvGrpSpPr>
          <p:grpSpPr>
            <a:xfrm>
              <a:off x="288925" y="6638330"/>
              <a:ext cx="10944224" cy="180000"/>
              <a:chOff x="288925" y="6638330"/>
              <a:chExt cx="10944224" cy="180000"/>
            </a:xfrm>
          </p:grpSpPr>
          <p:cxnSp>
            <p:nvCxnSpPr>
              <p:cNvPr id="157"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8" name="Gruppieren 147"/>
            <p:cNvGrpSpPr/>
            <p:nvPr userDrawn="1"/>
          </p:nvGrpSpPr>
          <p:grpSpPr>
            <a:xfrm>
              <a:off x="288925" y="-308570"/>
              <a:ext cx="10944224" cy="180000"/>
              <a:chOff x="288925" y="-308570"/>
              <a:chExt cx="10944224" cy="180000"/>
            </a:xfrm>
          </p:grpSpPr>
          <p:cxnSp>
            <p:nvCxnSpPr>
              <p:cNvPr id="149"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5197977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lide Divider Full Size Im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6" name="Textplatzhalter 3"/>
          <p:cNvSpPr>
            <a:spLocks noGrp="1"/>
          </p:cNvSpPr>
          <p:nvPr>
            <p:ph type="body" sz="quarter" idx="12" hasCustomPrompt="1"/>
          </p:nvPr>
        </p:nvSpPr>
        <p:spPr>
          <a:xfrm>
            <a:off x="288000" y="1609200"/>
            <a:ext cx="10945150" cy="2217600"/>
          </a:xfrm>
          <a:prstGeom prst="rect">
            <a:avLst/>
          </a:prstGeom>
        </p:spPr>
        <p:txBody>
          <a:bodyPr vert="horz" lIns="0" tIns="0" rIns="0" bIns="0" rtlCol="0">
            <a:noAutofit/>
          </a:bodyPr>
          <a:lstStyle>
            <a:lvl1pPr>
              <a:defRPr lang="de-DE" sz="4400" b="0" dirty="0">
                <a:solidFill>
                  <a:schemeClr val="bg1"/>
                </a:solidFill>
                <a:latin typeface="FlexoSoft Medium" panose="02000000000000000000" pitchFamily="2" charset="0"/>
                <a:ea typeface="Typold Book" panose="020B0004030204060B03" pitchFamily="34" charset="0"/>
              </a:defRPr>
            </a:lvl1pPr>
          </a:lstStyle>
          <a:p>
            <a:pPr lvl="0"/>
            <a:r>
              <a:rPr lang="de-DE"/>
              <a:t>Slide </a:t>
            </a:r>
            <a:r>
              <a:rPr lang="de-DE" err="1"/>
              <a:t>Divider</a:t>
            </a:r>
            <a:br>
              <a:rPr lang="de-DE"/>
            </a:br>
            <a:r>
              <a:rPr lang="de-DE" err="1"/>
              <a:t>Felxo</a:t>
            </a:r>
            <a:r>
              <a:rPr lang="de-DE"/>
              <a:t> Soft Medium</a:t>
            </a:r>
            <a:br>
              <a:rPr lang="de-DE"/>
            </a:br>
            <a:r>
              <a:rPr lang="de-DE"/>
              <a:t>44/50/60 </a:t>
            </a:r>
            <a:r>
              <a:rPr lang="de-DE" err="1"/>
              <a:t>pt</a:t>
            </a:r>
            <a:endParaRPr lang="de-DE"/>
          </a:p>
        </p:txBody>
      </p:sp>
      <p:grpSp>
        <p:nvGrpSpPr>
          <p:cNvPr id="144" name="Gruppieren 143"/>
          <p:cNvGrpSpPr/>
          <p:nvPr userDrawn="1"/>
        </p:nvGrpSpPr>
        <p:grpSpPr>
          <a:xfrm>
            <a:off x="-348582" y="-308570"/>
            <a:ext cx="12206900" cy="7126900"/>
            <a:chOff x="-348582" y="-308570"/>
            <a:chExt cx="12206900" cy="7126900"/>
          </a:xfrm>
        </p:grpSpPr>
        <p:grpSp>
          <p:nvGrpSpPr>
            <p:cNvPr id="145" name="Gruppieren 144"/>
            <p:cNvGrpSpPr/>
            <p:nvPr userDrawn="1"/>
          </p:nvGrpSpPr>
          <p:grpSpPr>
            <a:xfrm>
              <a:off x="-348582" y="362069"/>
              <a:ext cx="180000" cy="5931473"/>
              <a:chOff x="-348582" y="362069"/>
              <a:chExt cx="180000" cy="5931473"/>
            </a:xfrm>
          </p:grpSpPr>
          <p:cxnSp>
            <p:nvCxnSpPr>
              <p:cNvPr id="172"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6" name="Gruppieren 145"/>
            <p:cNvGrpSpPr/>
            <p:nvPr userDrawn="1"/>
          </p:nvGrpSpPr>
          <p:grpSpPr>
            <a:xfrm>
              <a:off x="11678318" y="362069"/>
              <a:ext cx="180000" cy="5931473"/>
              <a:chOff x="11678318" y="362069"/>
              <a:chExt cx="180000" cy="5931473"/>
            </a:xfrm>
          </p:grpSpPr>
          <p:cxnSp>
            <p:nvCxnSpPr>
              <p:cNvPr id="165"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7" name="Gruppieren 146"/>
            <p:cNvGrpSpPr/>
            <p:nvPr userDrawn="1"/>
          </p:nvGrpSpPr>
          <p:grpSpPr>
            <a:xfrm>
              <a:off x="288925" y="6638330"/>
              <a:ext cx="10944224" cy="180000"/>
              <a:chOff x="288925" y="6638330"/>
              <a:chExt cx="10944224" cy="180000"/>
            </a:xfrm>
          </p:grpSpPr>
          <p:cxnSp>
            <p:nvCxnSpPr>
              <p:cNvPr id="157"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8" name="Gruppieren 147"/>
            <p:cNvGrpSpPr/>
            <p:nvPr userDrawn="1"/>
          </p:nvGrpSpPr>
          <p:grpSpPr>
            <a:xfrm>
              <a:off x="288925" y="-308570"/>
              <a:ext cx="10944224" cy="180000"/>
              <a:chOff x="288925" y="-308570"/>
              <a:chExt cx="10944224" cy="180000"/>
            </a:xfrm>
          </p:grpSpPr>
          <p:cxnSp>
            <p:nvCxnSpPr>
              <p:cNvPr id="149"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1716174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288924" y="257029"/>
            <a:ext cx="10944225" cy="784516"/>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288926" y="1353790"/>
            <a:ext cx="10945149" cy="4481861"/>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2 Columns">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EAE4796-7066-42A0-AB5A-8471CD61CABE}"/>
              </a:ext>
            </a:extLst>
          </p:cNvPr>
          <p:cNvGraphicFramePr>
            <a:graphicFrameLocks noChangeAspect="1"/>
          </p:cNvGraphicFramePr>
          <p:nvPr userDrawn="1">
            <p:custDataLst>
              <p:tags r:id="rId2"/>
            </p:custDataLst>
            <p:extLst>
              <p:ext uri="{D42A27DB-BD31-4B8C-83A1-F6EECF244321}">
                <p14:modId xmlns:p14="http://schemas.microsoft.com/office/powerpoint/2010/main" val="1752115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2" name="Objekt 1" hidden="1">
                        <a:extLst>
                          <a:ext uri="{FF2B5EF4-FFF2-40B4-BE49-F238E27FC236}">
                            <a16:creationId xmlns:a16="http://schemas.microsoft.com/office/drawing/2014/main" id="{7EAE4796-7066-42A0-AB5A-8471CD61CA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Inhaltsplatzhalter 19"/>
          <p:cNvSpPr>
            <a:spLocks noGrp="1"/>
          </p:cNvSpPr>
          <p:nvPr>
            <p:ph sz="quarter" idx="13" hasCustomPrompt="1"/>
          </p:nvPr>
        </p:nvSpPr>
        <p:spPr>
          <a:xfrm>
            <a:off x="287999" y="1353789"/>
            <a:ext cx="5401601" cy="4481863"/>
          </a:xfrm>
          <a:prstGeom prst="rect">
            <a:avLst/>
          </a:prstGeom>
        </p:spPr>
        <p:txBody>
          <a:bodyPr/>
          <a:lstStyle>
            <a:lvl1pPr>
              <a:defRPr>
                <a:latin typeface="FlexoSoft" panose="02000000000000000000" pitchFamily="2" charset="0"/>
              </a:defRPr>
            </a:lvl1pPr>
            <a:lvl2pPr>
              <a:defRPr>
                <a:latin typeface="FlexoSoft" panose="02000000000000000000" pitchFamily="2" charset="0"/>
              </a:defRPr>
            </a:lvl2pPr>
            <a:lvl3pPr>
              <a:defRPr>
                <a:latin typeface="FlexoSoft" panose="02000000000000000000" pitchFamily="2" charset="0"/>
              </a:defRPr>
            </a:lvl3pPr>
            <a:lvl4pPr>
              <a:defRPr>
                <a:latin typeface="FlexoSoft" panose="02000000000000000000" pitchFamily="2" charset="0"/>
              </a:defRPr>
            </a:lvl4pPr>
            <a:lvl5pPr>
              <a:defRPr>
                <a:latin typeface="FlexoSoft" panose="02000000000000000000" pitchFamily="2" charset="0"/>
              </a:defRPr>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4" name="Inhaltsplatzhalter 19"/>
          <p:cNvSpPr>
            <a:spLocks noGrp="1"/>
          </p:cNvSpPr>
          <p:nvPr>
            <p:ph sz="quarter" idx="14" hasCustomPrompt="1"/>
          </p:nvPr>
        </p:nvSpPr>
        <p:spPr>
          <a:xfrm>
            <a:off x="5832476" y="1353789"/>
            <a:ext cx="5401601" cy="4481863"/>
          </a:xfrm>
          <a:prstGeom prst="rect">
            <a:avLst/>
          </a:prstGeom>
        </p:spPr>
        <p:txBody>
          <a:bodyPr/>
          <a:lstStyle>
            <a:lvl1pPr>
              <a:defRPr>
                <a:latin typeface="FlexoSoft" panose="02000000000000000000" pitchFamily="2" charset="0"/>
              </a:defRPr>
            </a:lvl1pPr>
            <a:lvl2pPr>
              <a:defRPr>
                <a:latin typeface="FlexoSoft" panose="02000000000000000000" pitchFamily="2" charset="0"/>
              </a:defRPr>
            </a:lvl2pPr>
            <a:lvl3pPr>
              <a:defRPr>
                <a:latin typeface="FlexoSoft" panose="02000000000000000000" pitchFamily="2" charset="0"/>
              </a:defRPr>
            </a:lvl3pPr>
            <a:lvl4pPr>
              <a:defRPr>
                <a:latin typeface="FlexoSoft" panose="02000000000000000000" pitchFamily="2" charset="0"/>
              </a:defRPr>
            </a:lvl4pPr>
            <a:lvl5pPr>
              <a:defRPr>
                <a:latin typeface="FlexoSoft" panose="02000000000000000000" pitchFamily="2" charset="0"/>
              </a:defRPr>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7" name="Titelplatzhalter 1">
            <a:extLst>
              <a:ext uri="{FF2B5EF4-FFF2-40B4-BE49-F238E27FC236}">
                <a16:creationId xmlns:a16="http://schemas.microsoft.com/office/drawing/2014/main" id="{A88AF1C7-4A37-4EB5-9A34-595164DD37F7}"/>
              </a:ext>
            </a:extLst>
          </p:cNvPr>
          <p:cNvSpPr>
            <a:spLocks noGrp="1"/>
          </p:cNvSpPr>
          <p:nvPr>
            <p:ph type="title"/>
          </p:nvPr>
        </p:nvSpPr>
        <p:spPr>
          <a:xfrm>
            <a:off x="288924" y="257029"/>
            <a:ext cx="10944225" cy="784516"/>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Tree>
    <p:extLst>
      <p:ext uri="{BB962C8B-B14F-4D97-AF65-F5344CB8AC3E}">
        <p14:creationId xmlns:p14="http://schemas.microsoft.com/office/powerpoint/2010/main" val="239439142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CDE28AD-D9D6-4752-A5E9-27C22DEC1D4C}"/>
              </a:ext>
            </a:extLst>
          </p:cNvPr>
          <p:cNvGraphicFramePr>
            <a:graphicFrameLocks noChangeAspect="1"/>
          </p:cNvGraphicFramePr>
          <p:nvPr userDrawn="1">
            <p:custDataLst>
              <p:tags r:id="rId1"/>
            </p:custDataLst>
            <p:extLst>
              <p:ext uri="{D42A27DB-BD31-4B8C-83A1-F6EECF244321}">
                <p14:modId xmlns:p14="http://schemas.microsoft.com/office/powerpoint/2010/main" val="3332662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2" name="Objekt 1" hidden="1">
                        <a:extLst>
                          <a:ext uri="{FF2B5EF4-FFF2-40B4-BE49-F238E27FC236}">
                            <a16:creationId xmlns:a16="http://schemas.microsoft.com/office/drawing/2014/main" id="{8CDE28AD-D9D6-4752-A5E9-27C22DEC1D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Inhaltsplatzhalter 19"/>
          <p:cNvSpPr>
            <a:spLocks noGrp="1"/>
          </p:cNvSpPr>
          <p:nvPr>
            <p:ph sz="quarter" idx="13" hasCustomPrompt="1"/>
          </p:nvPr>
        </p:nvSpPr>
        <p:spPr>
          <a:xfrm>
            <a:off x="287999" y="1353789"/>
            <a:ext cx="3549600" cy="4481863"/>
          </a:xfrm>
          <a:prstGeom prst="rect">
            <a:avLst/>
          </a:prstGeo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6" name="Inhaltsplatzhalter 19"/>
          <p:cNvSpPr>
            <a:spLocks noGrp="1"/>
          </p:cNvSpPr>
          <p:nvPr>
            <p:ph sz="quarter" idx="14" hasCustomPrompt="1"/>
          </p:nvPr>
        </p:nvSpPr>
        <p:spPr>
          <a:xfrm>
            <a:off x="3981600" y="1353789"/>
            <a:ext cx="3549600" cy="4481863"/>
          </a:xfrm>
          <a:prstGeom prst="rect">
            <a:avLst/>
          </a:prstGeo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7" name="Inhaltsplatzhalter 19"/>
          <p:cNvSpPr>
            <a:spLocks noGrp="1"/>
          </p:cNvSpPr>
          <p:nvPr>
            <p:ph sz="quarter" idx="15" hasCustomPrompt="1"/>
          </p:nvPr>
        </p:nvSpPr>
        <p:spPr>
          <a:xfrm>
            <a:off x="7675200" y="1353789"/>
            <a:ext cx="3549600" cy="4481863"/>
          </a:xfrm>
          <a:prstGeom prst="rect">
            <a:avLst/>
          </a:prstGeo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8" name="Titelplatzhalter 1">
            <a:extLst>
              <a:ext uri="{FF2B5EF4-FFF2-40B4-BE49-F238E27FC236}">
                <a16:creationId xmlns:a16="http://schemas.microsoft.com/office/drawing/2014/main" id="{76BDFE9D-C1F2-4D12-B59C-1EA672C18844}"/>
              </a:ext>
            </a:extLst>
          </p:cNvPr>
          <p:cNvSpPr>
            <a:spLocks noGrp="1"/>
          </p:cNvSpPr>
          <p:nvPr>
            <p:ph type="title"/>
          </p:nvPr>
        </p:nvSpPr>
        <p:spPr>
          <a:xfrm>
            <a:off x="288924" y="257029"/>
            <a:ext cx="10944225" cy="784516"/>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Tree>
    <p:extLst>
      <p:ext uri="{BB962C8B-B14F-4D97-AF65-F5344CB8AC3E}">
        <p14:creationId xmlns:p14="http://schemas.microsoft.com/office/powerpoint/2010/main" val="32739495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4 Columns">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01EB412B-030A-43F3-9226-348B92380E33}"/>
              </a:ext>
            </a:extLst>
          </p:cNvPr>
          <p:cNvGraphicFramePr>
            <a:graphicFrameLocks noChangeAspect="1"/>
          </p:cNvGraphicFramePr>
          <p:nvPr userDrawn="1">
            <p:custDataLst>
              <p:tags r:id="rId2"/>
            </p:custDataLst>
            <p:extLst>
              <p:ext uri="{D42A27DB-BD31-4B8C-83A1-F6EECF244321}">
                <p14:modId xmlns:p14="http://schemas.microsoft.com/office/powerpoint/2010/main" val="1321106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2" name="Objekt 1" hidden="1">
                        <a:extLst>
                          <a:ext uri="{FF2B5EF4-FFF2-40B4-BE49-F238E27FC236}">
                            <a16:creationId xmlns:a16="http://schemas.microsoft.com/office/drawing/2014/main" id="{01EB412B-030A-43F3-9226-348B92380E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Inhaltsplatzhalter 19"/>
          <p:cNvSpPr>
            <a:spLocks noGrp="1"/>
          </p:cNvSpPr>
          <p:nvPr>
            <p:ph sz="quarter" idx="13" hasCustomPrompt="1"/>
          </p:nvPr>
        </p:nvSpPr>
        <p:spPr>
          <a:xfrm>
            <a:off x="287999" y="1353789"/>
            <a:ext cx="2628000" cy="4481863"/>
          </a:xfrm>
          <a:prstGeom prst="rect">
            <a:avLst/>
          </a:prstGeom>
        </p:spPr>
        <p:txBody>
          <a:body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2" name="Inhaltsplatzhalter 19"/>
          <p:cNvSpPr>
            <a:spLocks noGrp="1"/>
          </p:cNvSpPr>
          <p:nvPr>
            <p:ph sz="quarter" idx="14" hasCustomPrompt="1"/>
          </p:nvPr>
        </p:nvSpPr>
        <p:spPr>
          <a:xfrm>
            <a:off x="3060700" y="1353789"/>
            <a:ext cx="2628000" cy="4481863"/>
          </a:xfrm>
          <a:prstGeom prst="rect">
            <a:avLst/>
          </a:prstGeom>
        </p:spPr>
        <p:txBody>
          <a:body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3" name="Inhaltsplatzhalter 19"/>
          <p:cNvSpPr>
            <a:spLocks noGrp="1"/>
          </p:cNvSpPr>
          <p:nvPr>
            <p:ph sz="quarter" idx="15" hasCustomPrompt="1"/>
          </p:nvPr>
        </p:nvSpPr>
        <p:spPr>
          <a:xfrm>
            <a:off x="5832475" y="1353789"/>
            <a:ext cx="2628000" cy="4481863"/>
          </a:xfrm>
          <a:prstGeom prst="rect">
            <a:avLst/>
          </a:prstGeom>
        </p:spPr>
        <p:txBody>
          <a:body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4" name="Inhaltsplatzhalter 19"/>
          <p:cNvSpPr>
            <a:spLocks noGrp="1"/>
          </p:cNvSpPr>
          <p:nvPr>
            <p:ph sz="quarter" idx="16" hasCustomPrompt="1"/>
          </p:nvPr>
        </p:nvSpPr>
        <p:spPr>
          <a:xfrm>
            <a:off x="8604250" y="1353789"/>
            <a:ext cx="2628000" cy="4481863"/>
          </a:xfrm>
          <a:prstGeom prst="rect">
            <a:avLst/>
          </a:prstGeom>
        </p:spPr>
        <p:txBody>
          <a:body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9" name="Titelplatzhalter 1">
            <a:extLst>
              <a:ext uri="{FF2B5EF4-FFF2-40B4-BE49-F238E27FC236}">
                <a16:creationId xmlns:a16="http://schemas.microsoft.com/office/drawing/2014/main" id="{C4876CF8-EA60-4FEB-845E-E62D40B69715}"/>
              </a:ext>
            </a:extLst>
          </p:cNvPr>
          <p:cNvSpPr>
            <a:spLocks noGrp="1"/>
          </p:cNvSpPr>
          <p:nvPr>
            <p:ph type="title" hasCustomPrompt="1"/>
          </p:nvPr>
        </p:nvSpPr>
        <p:spPr>
          <a:xfrm>
            <a:off x="288924" y="257029"/>
            <a:ext cx="10944225" cy="784516"/>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Tree>
    <p:extLst>
      <p:ext uri="{BB962C8B-B14F-4D97-AF65-F5344CB8AC3E}">
        <p14:creationId xmlns:p14="http://schemas.microsoft.com/office/powerpoint/2010/main" val="292356017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4"/>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15" imgW="270" imgH="270" progId="TCLayout.ActiveDocument.1">
                  <p:embed/>
                </p:oleObj>
              </mc:Choice>
              <mc:Fallback>
                <p:oleObj name="think-cell Folie" r:id="rId15" imgW="270" imgH="270" progId="TCLayout.ActiveDocument.1">
                  <p:embed/>
                  <p:pic>
                    <p:nvPicPr>
                      <p:cNvPr id="4" name="Objekt 3" hidden="1"/>
                      <p:cNvPicPr/>
                      <p:nvPr/>
                    </p:nvPicPr>
                    <p:blipFill>
                      <a:blip r:embed="rId16"/>
                      <a:stretch>
                        <a:fillRect/>
                      </a:stretch>
                    </p:blipFill>
                    <p:spPr>
                      <a:xfrm>
                        <a:off x="1588" y="1590"/>
                        <a:ext cx="1587" cy="1587"/>
                      </a:xfrm>
                      <a:prstGeom prst="rect">
                        <a:avLst/>
                      </a:prstGeom>
                    </p:spPr>
                  </p:pic>
                </p:oleObj>
              </mc:Fallback>
            </mc:AlternateContent>
          </a:graphicData>
        </a:graphic>
      </p:graphicFrame>
      <p:sp>
        <p:nvSpPr>
          <p:cNvPr id="2" name="Titelplatzhalter 1"/>
          <p:cNvSpPr>
            <a:spLocks noGrp="1"/>
          </p:cNvSpPr>
          <p:nvPr>
            <p:ph type="title"/>
          </p:nvPr>
        </p:nvSpPr>
        <p:spPr>
          <a:xfrm>
            <a:off x="288924" y="257029"/>
            <a:ext cx="10944225" cy="784516"/>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3" name="Textplatzhalter 2"/>
          <p:cNvSpPr>
            <a:spLocks noGrp="1"/>
          </p:cNvSpPr>
          <p:nvPr>
            <p:ph type="body" idx="1"/>
          </p:nvPr>
        </p:nvSpPr>
        <p:spPr>
          <a:xfrm>
            <a:off x="288926" y="1353790"/>
            <a:ext cx="10945149" cy="4481861"/>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5351251" y="6149685"/>
            <a:ext cx="820800" cy="176400"/>
          </a:xfrm>
          <a:prstGeom prst="rect">
            <a:avLst/>
          </a:prstGeom>
          <a:noFill/>
        </p:spPr>
        <p:txBody>
          <a:bodyPr wrap="square" lIns="0" tIns="0" rIns="0" bIns="0" rtlCol="0" anchor="b">
            <a:noAutofit/>
          </a:bodyPr>
          <a:lstStyle/>
          <a:p>
            <a:pPr algn="ctr"/>
            <a:fld id="{FAAB48A4-D341-4AE9-8566-EA7878570C6A}" type="slidenum">
              <a:rPr lang="de-DE" sz="900" smtClean="0">
                <a:solidFill>
                  <a:srgbClr val="4B4B4B"/>
                </a:solidFill>
                <a:latin typeface="FlexoSoft" panose="02000000000000000000" pitchFamily="2" charset="0"/>
                <a:ea typeface="Typold Book" panose="020B0004030204060B03" pitchFamily="34" charset="0"/>
              </a:rPr>
              <a:t>‹Nr.›</a:t>
            </a:fld>
            <a:endParaRPr lang="en-US" sz="900">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ustDataLst>
      <p:tags r:id="rId13"/>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8" r:id="rId5"/>
    <p:sldLayoutId id="2147483659" r:id="rId6"/>
    <p:sldLayoutId id="2147483660" r:id="rId7"/>
    <p:sldLayoutId id="2147483661" r:id="rId8"/>
    <p:sldLayoutId id="2147483662" r:id="rId9"/>
    <p:sldLayoutId id="2147483663" r:id="rId10"/>
    <p:sldLayoutId id="2147483653" r:id="rId11"/>
  </p:sldLayoutIdLst>
  <p:hf hdr="0" dt="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image" Target="../media/image5.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5.xml"/><Relationship Id="rId1" Type="http://schemas.openxmlformats.org/officeDocument/2006/relationships/tags" Target="../tags/tag11.xml"/><Relationship Id="rId5" Type="http://schemas.openxmlformats.org/officeDocument/2006/relationships/image" Target="../media/image6.png"/><Relationship Id="rId4" Type="http://schemas.openxmlformats.org/officeDocument/2006/relationships/image" Target="../media/image4.emf"/></Relationships>
</file>

<file path=ppt/slides/_rels/slide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5.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sv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5.xml"/><Relationship Id="rId1" Type="http://schemas.openxmlformats.org/officeDocument/2006/relationships/tags" Target="../tags/tag12.xml"/><Relationship Id="rId6" Type="http://schemas.openxmlformats.org/officeDocument/2006/relationships/image" Target="../media/image13.png"/><Relationship Id="rId5" Type="http://schemas.openxmlformats.org/officeDocument/2006/relationships/image" Target="../media/image12.gif"/><Relationship Id="rId4" Type="http://schemas.openxmlformats.org/officeDocument/2006/relationships/image" Target="../media/image4.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42859747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0" name="Textplatzhalter 1"/>
          <p:cNvSpPr>
            <a:spLocks noGrp="1"/>
          </p:cNvSpPr>
          <p:nvPr>
            <p:ph type="body" sz="quarter" idx="12"/>
          </p:nvPr>
        </p:nvSpPr>
        <p:spPr>
          <a:xfrm>
            <a:off x="288000" y="1609200"/>
            <a:ext cx="10945150" cy="4490946"/>
          </a:xfrm>
          <a:noFill/>
          <a:ln>
            <a:noFill/>
          </a:ln>
        </p:spPr>
        <p:txBody>
          <a:bodyPr vert="horz" lIns="108000" tIns="108000" rIns="108000" bIns="108000" rtlCol="0" anchor="t" anchorCtr="0">
            <a:spAutoFit/>
          </a:bodyPr>
          <a:lstStyle/>
          <a:p>
            <a:endParaRPr lang="en-US" b="0">
              <a:solidFill>
                <a:srgbClr val="FFFFFF"/>
              </a:solidFill>
              <a:latin typeface="FlexoSoft Medium" panose="02000000000000000000" pitchFamily="2" charset="0"/>
            </a:endParaRPr>
          </a:p>
          <a:p>
            <a:r>
              <a:rPr lang="en-US" sz="4800" b="0">
                <a:solidFill>
                  <a:srgbClr val="FFFFFF"/>
                </a:solidFill>
                <a:latin typeface="FlexoSoft Medium" panose="02000000000000000000" pitchFamily="2" charset="0"/>
              </a:rPr>
              <a:t>Telco Global API Alliance</a:t>
            </a:r>
          </a:p>
          <a:p>
            <a:endParaRPr lang="en-US" sz="2000">
              <a:solidFill>
                <a:srgbClr val="FFFFFF"/>
              </a:solidFill>
            </a:endParaRPr>
          </a:p>
          <a:p>
            <a:endParaRPr lang="en-US" sz="2000">
              <a:solidFill>
                <a:srgbClr val="FFFFFF"/>
              </a:solidFill>
            </a:endParaRPr>
          </a:p>
          <a:p>
            <a:endParaRPr lang="en-US" sz="2000">
              <a:solidFill>
                <a:srgbClr val="FFFFFF"/>
              </a:solidFill>
            </a:endParaRPr>
          </a:p>
          <a:p>
            <a:endParaRPr lang="en-US" sz="2000">
              <a:solidFill>
                <a:srgbClr val="FFFFFF"/>
              </a:solidFill>
            </a:endParaRPr>
          </a:p>
          <a:p>
            <a:pPr lvl="0"/>
            <a:endParaRPr lang="en-US" sz="2400">
              <a:solidFill>
                <a:srgbClr val="FFFFFF"/>
              </a:solidFill>
            </a:endParaRPr>
          </a:p>
          <a:p>
            <a:pPr lvl="0"/>
            <a:endParaRPr lang="en-US" sz="2400">
              <a:solidFill>
                <a:srgbClr val="FFFFFF"/>
              </a:solidFill>
            </a:endParaRPr>
          </a:p>
          <a:p>
            <a:pPr lvl="0" algn="r"/>
            <a:endParaRPr lang="de-DE" sz="1600">
              <a:solidFill>
                <a:srgbClr val="FFFFFF"/>
              </a:solidFill>
            </a:endParaRPr>
          </a:p>
          <a:p>
            <a:pPr lvl="0" algn="r"/>
            <a:endParaRPr lang="de-DE" sz="1600">
              <a:solidFill>
                <a:srgbClr val="FFFFFF"/>
              </a:solidFill>
            </a:endParaRPr>
          </a:p>
          <a:p>
            <a:pPr lvl="0" algn="r"/>
            <a:r>
              <a:rPr lang="de-DE" sz="1600">
                <a:solidFill>
                  <a:srgbClr val="FFFFFF"/>
                </a:solidFill>
              </a:rPr>
              <a:t>26.05.2021</a:t>
            </a:r>
            <a:endParaRPr lang="en-US" sz="1600">
              <a:solidFill>
                <a:srgbClr val="FFFFFF"/>
              </a:solidFill>
            </a:endParaRPr>
          </a:p>
        </p:txBody>
      </p:sp>
      <p:sp>
        <p:nvSpPr>
          <p:cNvPr id="2" name="Rectangle 1">
            <a:extLst>
              <a:ext uri="{FF2B5EF4-FFF2-40B4-BE49-F238E27FC236}">
                <a16:creationId xmlns:a16="http://schemas.microsoft.com/office/drawing/2014/main" id="{6D853B93-D5A2-4575-A398-D3296A16ECB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56815008</a:t>
            </a:r>
          </a:p>
        </p:txBody>
      </p:sp>
      <p:sp>
        <p:nvSpPr>
          <p:cNvPr id="3" name="Rectangle 2">
            <a:extLst>
              <a:ext uri="{FF2B5EF4-FFF2-40B4-BE49-F238E27FC236}">
                <a16:creationId xmlns:a16="http://schemas.microsoft.com/office/drawing/2014/main" id="{47DA746A-E0FB-40F1-B94E-B0C79A16FCD0}"/>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344663000</a:t>
            </a:r>
          </a:p>
        </p:txBody>
      </p:sp>
      <p:sp>
        <p:nvSpPr>
          <p:cNvPr id="4" name="Rectangle 3">
            <a:extLst>
              <a:ext uri="{FF2B5EF4-FFF2-40B4-BE49-F238E27FC236}">
                <a16:creationId xmlns:a16="http://schemas.microsoft.com/office/drawing/2014/main" id="{8AB8E76E-D555-4E5A-A682-52AA97F696D2}"/>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52040792</a:t>
            </a:r>
          </a:p>
        </p:txBody>
      </p:sp>
      <p:sp>
        <p:nvSpPr>
          <p:cNvPr id="5" name="Rechteck 4">
            <a:extLst>
              <a:ext uri="{FF2B5EF4-FFF2-40B4-BE49-F238E27FC236}">
                <a16:creationId xmlns:a16="http://schemas.microsoft.com/office/drawing/2014/main" id="{4C06CB80-EFAF-4AC9-BF91-904C67D7D84D}"/>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
              <a:t>312511520</a:t>
            </a:r>
          </a:p>
        </p:txBody>
      </p:sp>
    </p:spTree>
    <p:extLst>
      <p:ext uri="{BB962C8B-B14F-4D97-AF65-F5344CB8AC3E}">
        <p14:creationId xmlns:p14="http://schemas.microsoft.com/office/powerpoint/2010/main" val="38883840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8219F5-BB0D-46FE-BAEC-0DADC7660E16}"/>
              </a:ext>
            </a:extLst>
          </p:cNvPr>
          <p:cNvSpPr>
            <a:spLocks noGrp="1"/>
          </p:cNvSpPr>
          <p:nvPr>
            <p:ph type="title"/>
          </p:nvPr>
        </p:nvSpPr>
        <p:spPr/>
        <p:txBody>
          <a:bodyPr/>
          <a:lstStyle/>
          <a:p>
            <a:r>
              <a:rPr lang="en-US">
                <a:ea typeface="+mn-ea"/>
                <a:cs typeface="Calibri Light" panose="020F0302020204030204" pitchFamily="34" charset="0"/>
              </a:rPr>
              <a:t>A</a:t>
            </a:r>
            <a:r>
              <a:rPr lang="en-US" sz="2800">
                <a:solidFill>
                  <a:srgbClr val="004750"/>
                </a:solidFill>
                <a:latin typeface="FlexoSoft" panose="02000000000000000000" pitchFamily="2" charset="0"/>
                <a:ea typeface="+mn-ea"/>
                <a:cs typeface="Calibri Light" panose="020F0302020204030204" pitchFamily="34" charset="0"/>
              </a:rPr>
              <a:t> global partnership could address much of the challenges in scaling API services across </a:t>
            </a:r>
            <a:r>
              <a:rPr lang="en-US"/>
              <a:t>heterogenous operator </a:t>
            </a:r>
            <a:r>
              <a:rPr lang="en-US" sz="2800" b="1">
                <a:solidFill>
                  <a:srgbClr val="004750"/>
                </a:solidFill>
                <a:latin typeface="FlexoSoft" panose="02000000000000000000" pitchFamily="2" charset="0"/>
                <a:ea typeface="+mn-ea"/>
                <a:cs typeface="Calibri Light" panose="020F0302020204030204" pitchFamily="34" charset="0"/>
              </a:rPr>
              <a:t>architectures.</a:t>
            </a:r>
            <a:endParaRPr lang="de-DE"/>
          </a:p>
        </p:txBody>
      </p:sp>
      <p:sp>
        <p:nvSpPr>
          <p:cNvPr id="4" name="Textfeld 3">
            <a:extLst>
              <a:ext uri="{FF2B5EF4-FFF2-40B4-BE49-F238E27FC236}">
                <a16:creationId xmlns:a16="http://schemas.microsoft.com/office/drawing/2014/main" id="{5C108BBB-99D3-4DE5-A8DF-196D0A5AA976}"/>
              </a:ext>
            </a:extLst>
          </p:cNvPr>
          <p:cNvSpPr txBox="1"/>
          <p:nvPr/>
        </p:nvSpPr>
        <p:spPr bwMode="gray">
          <a:xfrm>
            <a:off x="375920" y="1689366"/>
            <a:ext cx="10770234" cy="895373"/>
          </a:xfrm>
          <a:prstGeom prst="rect">
            <a:avLst/>
          </a:prstGeom>
          <a:noFill/>
          <a:ln w="9525">
            <a:noFill/>
            <a:miter lim="800000"/>
            <a:headEnd/>
            <a:tailEnd/>
          </a:ln>
        </p:spPr>
        <p:txBody>
          <a:bodyPr vert="horz" wrap="square" lIns="36000" tIns="0" rIns="36000" bIns="0" numCol="1" rtlCol="0" anchor="t" anchorCtr="0" compatLnSpc="1">
            <a:prstTxWarp prst="textNoShape">
              <a:avLst/>
            </a:prstTxWarp>
            <a:spAutoFit/>
          </a:bodyPr>
          <a:lstStyle>
            <a:defPPr>
              <a:defRPr lang="de-DE"/>
            </a:defPPr>
            <a:lvl1pPr marL="171450" indent="-171450" defTabSz="483635">
              <a:buClr>
                <a:schemeClr val="tx2"/>
              </a:buClr>
              <a:buFont typeface="Wingdings" panose="05000000000000000000" pitchFamily="2" charset="2"/>
              <a:buChar char="§"/>
              <a:defRPr sz="1000">
                <a:latin typeface="TeleGrotesk Next"/>
                <a:ea typeface="TeleGrotesk Next" pitchFamily="2" charset="0"/>
                <a:cs typeface="TeleGrotesk Next" pitchFamily="2" charset="0"/>
              </a:defRPr>
            </a:lvl1pPr>
          </a:lstStyle>
          <a:p>
            <a:pPr marL="0" indent="0" algn="ctr">
              <a:lnSpc>
                <a:spcPct val="150000"/>
              </a:lnSpc>
              <a:buNone/>
            </a:pPr>
            <a:r>
              <a:rPr lang="en-US">
                <a:solidFill>
                  <a:srgbClr val="004750"/>
                </a:solidFill>
                <a:latin typeface="FlexoSoft" panose="02000000000000000000" pitchFamily="2" charset="0"/>
                <a:ea typeface="+mn-ea"/>
                <a:cs typeface="Calibri Light" panose="020F0302020204030204" pitchFamily="34" charset="0"/>
              </a:rPr>
              <a:t>The development of open, global, and interoperable API solutions could benefit customers and developer ecosystems by giving access to capabilities in whatever network customers are in and therefore allow applications to run consistently between telco networks and countries. A new form of collaboration between various players (</a:t>
            </a:r>
            <a:r>
              <a:rPr lang="en-US" err="1">
                <a:solidFill>
                  <a:srgbClr val="004750"/>
                </a:solidFill>
                <a:latin typeface="FlexoSoft" panose="02000000000000000000" pitchFamily="2" charset="0"/>
                <a:ea typeface="+mn-ea"/>
                <a:cs typeface="Calibri Light" panose="020F0302020204030204" pitchFamily="34" charset="0"/>
              </a:rPr>
              <a:t>telcos</a:t>
            </a:r>
            <a:r>
              <a:rPr lang="en-US">
                <a:solidFill>
                  <a:srgbClr val="004750"/>
                </a:solidFill>
                <a:latin typeface="FlexoSoft" panose="02000000000000000000" pitchFamily="2" charset="0"/>
                <a:ea typeface="+mn-ea"/>
                <a:cs typeface="Calibri Light" panose="020F0302020204030204" pitchFamily="34" charset="0"/>
              </a:rPr>
              <a:t>, ISVs, device manufacturers, </a:t>
            </a:r>
            <a:r>
              <a:rPr lang="en-US" err="1">
                <a:solidFill>
                  <a:srgbClr val="004750"/>
                </a:solidFill>
                <a:latin typeface="FlexoSoft" panose="02000000000000000000" pitchFamily="2" charset="0"/>
                <a:ea typeface="+mn-ea"/>
                <a:cs typeface="Calibri Light" panose="020F0302020204030204" pitchFamily="34" charset="0"/>
              </a:rPr>
              <a:t>hyperscalers</a:t>
            </a:r>
            <a:r>
              <a:rPr lang="en-US">
                <a:solidFill>
                  <a:srgbClr val="004750"/>
                </a:solidFill>
                <a:latin typeface="FlexoSoft" panose="02000000000000000000" pitchFamily="2" charset="0"/>
                <a:ea typeface="+mn-ea"/>
                <a:cs typeface="Calibri Light" panose="020F0302020204030204" pitchFamily="34" charset="0"/>
              </a:rPr>
              <a:t>, etc.) could advance the connectivity industry towards a more robust and faster core network, encourage the faster adoption of capabilities and as a result create value for the entire tech industry.</a:t>
            </a:r>
          </a:p>
        </p:txBody>
      </p:sp>
      <p:sp>
        <p:nvSpPr>
          <p:cNvPr id="5" name="Textfeld 4">
            <a:extLst>
              <a:ext uri="{FF2B5EF4-FFF2-40B4-BE49-F238E27FC236}">
                <a16:creationId xmlns:a16="http://schemas.microsoft.com/office/drawing/2014/main" id="{82212DE8-95B4-4736-AE75-45602350C0F7}"/>
              </a:ext>
            </a:extLst>
          </p:cNvPr>
          <p:cNvSpPr txBox="1"/>
          <p:nvPr/>
        </p:nvSpPr>
        <p:spPr bwMode="gray">
          <a:xfrm>
            <a:off x="574996" y="3060718"/>
            <a:ext cx="2268000" cy="1609736"/>
          </a:xfrm>
          <a:prstGeom prst="rect">
            <a:avLst/>
          </a:prstGeom>
          <a:noFill/>
          <a:ln w="9525">
            <a:noFill/>
            <a:miter lim="800000"/>
            <a:headEnd/>
            <a:tailEnd/>
          </a:ln>
        </p:spPr>
        <p:txBody>
          <a:bodyPr vert="horz" wrap="square" lIns="36000" tIns="0" rIns="36000" bIns="0" numCol="1" rtlCol="0" anchor="t" anchorCtr="0" compatLnSpc="1">
            <a:prstTxWarp prst="textNoShape">
              <a:avLst/>
            </a:prstTxWarp>
            <a:spAutoFit/>
          </a:bodyPr>
          <a:lstStyle>
            <a:defPPr>
              <a:defRPr lang="de-DE"/>
            </a:defPPr>
            <a:lvl1pPr marL="171450" indent="-171450" defTabSz="483635">
              <a:buClr>
                <a:schemeClr val="tx2"/>
              </a:buClr>
              <a:buFont typeface="Wingdings" panose="05000000000000000000" pitchFamily="2" charset="2"/>
              <a:buChar char="§"/>
              <a:defRPr sz="1000">
                <a:latin typeface="TeleGrotesk Next"/>
                <a:ea typeface="TeleGrotesk Next" pitchFamily="2" charset="0"/>
                <a:cs typeface="TeleGrotesk Next" pitchFamily="2" charset="0"/>
              </a:defRPr>
            </a:lvl1pPr>
          </a:lstStyle>
          <a:p>
            <a:pPr marL="0" indent="0">
              <a:lnSpc>
                <a:spcPct val="150000"/>
              </a:lnSpc>
              <a:spcBef>
                <a:spcPts val="600"/>
              </a:spcBef>
              <a:buNone/>
            </a:pPr>
            <a:r>
              <a:rPr lang="en-US" b="1">
                <a:solidFill>
                  <a:srgbClr val="004750"/>
                </a:solidFill>
                <a:latin typeface="FlexoSoft" panose="02000000000000000000" pitchFamily="2" charset="0"/>
                <a:ea typeface="+mn-ea"/>
                <a:cs typeface="Calibri Light" panose="020F0302020204030204" pitchFamily="34" charset="0"/>
              </a:rPr>
              <a:t>1. Accelerate technology development </a:t>
            </a:r>
          </a:p>
          <a:p>
            <a:pPr marL="355600" lvl="2" indent="-171450" defTabSz="483635">
              <a:lnSpc>
                <a:spcPct val="150000"/>
              </a:lnSpc>
              <a:spcBef>
                <a:spcPts val="600"/>
              </a:spcBef>
              <a:buClr>
                <a:schemeClr val="tx2"/>
              </a:buClr>
              <a:buFont typeface="Wingdings" panose="05000000000000000000" pitchFamily="2" charset="2"/>
              <a:buChar char="§"/>
            </a:pPr>
            <a:r>
              <a:rPr lang="en-US" sz="900">
                <a:solidFill>
                  <a:srgbClr val="004750"/>
                </a:solidFill>
                <a:latin typeface="FlexoSoft" panose="02000000000000000000" pitchFamily="2" charset="0"/>
                <a:cs typeface="Calibri Light" panose="020F0302020204030204" pitchFamily="34" charset="0"/>
              </a:rPr>
              <a:t>Build sustainable ecosystems around collaborative projects across industries.</a:t>
            </a:r>
          </a:p>
          <a:p>
            <a:pPr marL="355600" lvl="2" indent="-171450" defTabSz="483635">
              <a:lnSpc>
                <a:spcPct val="150000"/>
              </a:lnSpc>
              <a:spcBef>
                <a:spcPts val="600"/>
              </a:spcBef>
              <a:buClr>
                <a:schemeClr val="tx2"/>
              </a:buClr>
              <a:buFont typeface="Wingdings" panose="05000000000000000000" pitchFamily="2" charset="2"/>
              <a:buChar char="§"/>
            </a:pPr>
            <a:r>
              <a:rPr lang="en-US" sz="900">
                <a:solidFill>
                  <a:srgbClr val="004750"/>
                </a:solidFill>
                <a:latin typeface="FlexoSoft" panose="02000000000000000000" pitchFamily="2" charset="0"/>
                <a:cs typeface="Calibri Light" panose="020F0302020204030204" pitchFamily="34" charset="0"/>
              </a:rPr>
              <a:t>Drive industry alignment by facilitating industry discussions with </a:t>
            </a:r>
            <a:r>
              <a:rPr lang="en-US" sz="900" err="1">
                <a:solidFill>
                  <a:srgbClr val="004750"/>
                </a:solidFill>
                <a:latin typeface="FlexoSoft" panose="02000000000000000000" pitchFamily="2" charset="0"/>
                <a:cs typeface="Calibri Light" panose="020F0302020204030204" pitchFamily="34" charset="0"/>
              </a:rPr>
              <a:t>telcos</a:t>
            </a:r>
            <a:r>
              <a:rPr lang="en-US" sz="900">
                <a:solidFill>
                  <a:srgbClr val="004750"/>
                </a:solidFill>
                <a:latin typeface="FlexoSoft" panose="02000000000000000000" pitchFamily="2" charset="0"/>
                <a:cs typeface="Calibri Light" panose="020F0302020204030204" pitchFamily="34" charset="0"/>
              </a:rPr>
              <a:t>, ISVs, device manufacturers, </a:t>
            </a:r>
            <a:r>
              <a:rPr lang="en-US" sz="900" err="1">
                <a:solidFill>
                  <a:srgbClr val="004750"/>
                </a:solidFill>
                <a:latin typeface="FlexoSoft" panose="02000000000000000000" pitchFamily="2" charset="0"/>
                <a:cs typeface="Calibri Light" panose="020F0302020204030204" pitchFamily="34" charset="0"/>
              </a:rPr>
              <a:t>hyperscalers</a:t>
            </a:r>
            <a:r>
              <a:rPr lang="en-US" sz="900">
                <a:solidFill>
                  <a:srgbClr val="004750"/>
                </a:solidFill>
                <a:latin typeface="FlexoSoft" panose="02000000000000000000" pitchFamily="2" charset="0"/>
                <a:cs typeface="Calibri Light" panose="020F0302020204030204" pitchFamily="34" charset="0"/>
              </a:rPr>
              <a:t>, etc.</a:t>
            </a:r>
          </a:p>
        </p:txBody>
      </p:sp>
      <p:sp>
        <p:nvSpPr>
          <p:cNvPr id="6" name="Textfeld 5">
            <a:extLst>
              <a:ext uri="{FF2B5EF4-FFF2-40B4-BE49-F238E27FC236}">
                <a16:creationId xmlns:a16="http://schemas.microsoft.com/office/drawing/2014/main" id="{5D6335EF-BAFD-48C0-84B1-9E9E5EA40B13}"/>
              </a:ext>
            </a:extLst>
          </p:cNvPr>
          <p:cNvSpPr txBox="1"/>
          <p:nvPr/>
        </p:nvSpPr>
        <p:spPr bwMode="gray">
          <a:xfrm>
            <a:off x="3276356" y="3060718"/>
            <a:ext cx="2268000" cy="2383153"/>
          </a:xfrm>
          <a:prstGeom prst="rect">
            <a:avLst/>
          </a:prstGeom>
          <a:noFill/>
          <a:ln w="9525">
            <a:noFill/>
            <a:miter lim="800000"/>
            <a:headEnd/>
            <a:tailEnd/>
          </a:ln>
        </p:spPr>
        <p:txBody>
          <a:bodyPr vert="horz" wrap="square" lIns="36000" tIns="0" rIns="36000" bIns="0" numCol="1" rtlCol="0" anchor="t" anchorCtr="0" compatLnSpc="1">
            <a:prstTxWarp prst="textNoShape">
              <a:avLst/>
            </a:prstTxWarp>
            <a:spAutoFit/>
          </a:bodyPr>
          <a:lstStyle>
            <a:defPPr>
              <a:defRPr lang="de-DE"/>
            </a:defPPr>
            <a:lvl1pPr marL="171450" indent="-171450" defTabSz="483635">
              <a:buClr>
                <a:schemeClr val="tx2"/>
              </a:buClr>
              <a:buFont typeface="Wingdings" panose="05000000000000000000" pitchFamily="2" charset="2"/>
              <a:buChar char="§"/>
              <a:defRPr sz="1000">
                <a:latin typeface="TeleGrotesk Next"/>
                <a:ea typeface="TeleGrotesk Next" pitchFamily="2" charset="0"/>
                <a:cs typeface="TeleGrotesk Next" pitchFamily="2" charset="0"/>
              </a:defRPr>
            </a:lvl1pPr>
          </a:lstStyle>
          <a:p>
            <a:pPr marL="0" indent="0" rtl="0">
              <a:lnSpc>
                <a:spcPct val="150000"/>
              </a:lnSpc>
              <a:spcBef>
                <a:spcPts val="600"/>
              </a:spcBef>
              <a:buNone/>
            </a:pPr>
            <a:r>
              <a:rPr lang="en-US" b="1">
                <a:solidFill>
                  <a:srgbClr val="004750"/>
                </a:solidFill>
                <a:latin typeface="FlexoSoft" panose="02000000000000000000" pitchFamily="2" charset="0"/>
                <a:ea typeface="+mn-ea"/>
                <a:cs typeface="Calibri Light" panose="020F0302020204030204" pitchFamily="34" charset="0"/>
              </a:rPr>
              <a:t>2. Standardization of APIs</a:t>
            </a:r>
          </a:p>
          <a:p>
            <a:pPr marL="355600" lvl="2" indent="-171450" defTabSz="483635">
              <a:lnSpc>
                <a:spcPct val="150000"/>
              </a:lnSpc>
              <a:spcBef>
                <a:spcPts val="600"/>
              </a:spcBef>
              <a:buClr>
                <a:schemeClr val="tx2"/>
              </a:buClr>
              <a:buFont typeface="Wingdings" panose="05000000000000000000" pitchFamily="2" charset="2"/>
              <a:buChar char="§"/>
            </a:pPr>
            <a:r>
              <a:rPr lang="en-US" sz="900">
                <a:solidFill>
                  <a:srgbClr val="004750"/>
                </a:solidFill>
                <a:latin typeface="FlexoSoft" panose="02000000000000000000" pitchFamily="2" charset="0"/>
                <a:cs typeface="Calibri Light" panose="020F0302020204030204" pitchFamily="34" charset="0"/>
              </a:rPr>
              <a:t>Standardize and convert APIs to a user understandable format called “Service APIs”.</a:t>
            </a:r>
          </a:p>
          <a:p>
            <a:pPr marL="355600" lvl="2" indent="-171450" defTabSz="483635">
              <a:lnSpc>
                <a:spcPct val="150000"/>
              </a:lnSpc>
              <a:spcBef>
                <a:spcPts val="600"/>
              </a:spcBef>
              <a:buClr>
                <a:schemeClr val="tx2"/>
              </a:buClr>
              <a:buFont typeface="Wingdings" panose="05000000000000000000" pitchFamily="2" charset="2"/>
              <a:buChar char="§"/>
            </a:pPr>
            <a:r>
              <a:rPr lang="en-US" sz="900">
                <a:solidFill>
                  <a:srgbClr val="004750"/>
                </a:solidFill>
                <a:latin typeface="FlexoSoft" panose="02000000000000000000" pitchFamily="2" charset="0"/>
                <a:cs typeface="Calibri Light" panose="020F0302020204030204" pitchFamily="34" charset="0"/>
              </a:rPr>
              <a:t>Achieve standardization through working code vs. documents.</a:t>
            </a:r>
          </a:p>
          <a:p>
            <a:pPr marL="355600" lvl="2" indent="-171450" defTabSz="483635">
              <a:lnSpc>
                <a:spcPct val="150000"/>
              </a:lnSpc>
              <a:spcBef>
                <a:spcPts val="600"/>
              </a:spcBef>
              <a:buClr>
                <a:schemeClr val="tx2"/>
              </a:buClr>
              <a:buFont typeface="Wingdings" panose="05000000000000000000" pitchFamily="2" charset="2"/>
              <a:buChar char="§"/>
            </a:pPr>
            <a:r>
              <a:rPr lang="en-US" sz="900">
                <a:solidFill>
                  <a:srgbClr val="004750"/>
                </a:solidFill>
                <a:latin typeface="FlexoSoft" panose="02000000000000000000" pitchFamily="2" charset="0"/>
                <a:cs typeface="Calibri Light" panose="020F0302020204030204" pitchFamily="34" charset="0"/>
              </a:rPr>
              <a:t>Implementation experience should guide standardization process.</a:t>
            </a:r>
          </a:p>
          <a:p>
            <a:pPr marL="355600" lvl="2" indent="-171450" defTabSz="483635">
              <a:lnSpc>
                <a:spcPct val="150000"/>
              </a:lnSpc>
              <a:spcBef>
                <a:spcPts val="600"/>
              </a:spcBef>
              <a:buClr>
                <a:schemeClr val="tx2"/>
              </a:buClr>
              <a:buFont typeface="Wingdings" panose="05000000000000000000" pitchFamily="2" charset="2"/>
              <a:buChar char="§"/>
            </a:pPr>
            <a:r>
              <a:rPr lang="en-US" sz="900">
                <a:solidFill>
                  <a:srgbClr val="004750"/>
                </a:solidFill>
                <a:latin typeface="FlexoSoft" panose="02000000000000000000" pitchFamily="2" charset="0"/>
                <a:cs typeface="Calibri Light" panose="020F0302020204030204" pitchFamily="34" charset="0"/>
              </a:rPr>
              <a:t>Enable interoperability (e.g. API roaming).</a:t>
            </a:r>
          </a:p>
        </p:txBody>
      </p:sp>
      <p:sp>
        <p:nvSpPr>
          <p:cNvPr id="7" name="Textfeld 6">
            <a:extLst>
              <a:ext uri="{FF2B5EF4-FFF2-40B4-BE49-F238E27FC236}">
                <a16:creationId xmlns:a16="http://schemas.microsoft.com/office/drawing/2014/main" id="{29B43071-4AA0-4F07-8226-AEFDCABAD86A}"/>
              </a:ext>
            </a:extLst>
          </p:cNvPr>
          <p:cNvSpPr txBox="1"/>
          <p:nvPr/>
        </p:nvSpPr>
        <p:spPr bwMode="gray">
          <a:xfrm>
            <a:off x="5977716" y="3060718"/>
            <a:ext cx="2268000" cy="1401987"/>
          </a:xfrm>
          <a:prstGeom prst="rect">
            <a:avLst/>
          </a:prstGeom>
          <a:noFill/>
          <a:ln w="9525">
            <a:noFill/>
            <a:miter lim="800000"/>
            <a:headEnd/>
            <a:tailEnd/>
          </a:ln>
        </p:spPr>
        <p:txBody>
          <a:bodyPr vert="horz" wrap="square" lIns="36000" tIns="0" rIns="36000" bIns="0" numCol="1" rtlCol="0" anchor="t" anchorCtr="0" compatLnSpc="1">
            <a:prstTxWarp prst="textNoShape">
              <a:avLst/>
            </a:prstTxWarp>
            <a:spAutoFit/>
          </a:bodyPr>
          <a:lstStyle>
            <a:defPPr>
              <a:defRPr lang="de-DE"/>
            </a:defPPr>
            <a:lvl1pPr marL="171450" indent="-171450" defTabSz="483635">
              <a:buClr>
                <a:schemeClr val="tx2"/>
              </a:buClr>
              <a:buFont typeface="Wingdings" panose="05000000000000000000" pitchFamily="2" charset="2"/>
              <a:buChar char="§"/>
              <a:defRPr sz="1000">
                <a:latin typeface="TeleGrotesk Next"/>
                <a:ea typeface="TeleGrotesk Next" pitchFamily="2" charset="0"/>
                <a:cs typeface="TeleGrotesk Next" pitchFamily="2" charset="0"/>
              </a:defRPr>
            </a:lvl1pPr>
          </a:lstStyle>
          <a:p>
            <a:pPr marL="0" indent="0" rtl="0">
              <a:lnSpc>
                <a:spcPct val="150000"/>
              </a:lnSpc>
              <a:spcBef>
                <a:spcPts val="600"/>
              </a:spcBef>
              <a:buNone/>
            </a:pPr>
            <a:r>
              <a:rPr lang="en-US" b="1">
                <a:solidFill>
                  <a:srgbClr val="004750"/>
                </a:solidFill>
                <a:latin typeface="FlexoSoft" panose="02000000000000000000" pitchFamily="2" charset="0"/>
                <a:ea typeface="+mn-ea"/>
                <a:cs typeface="Calibri Light" panose="020F0302020204030204" pitchFamily="34" charset="0"/>
              </a:rPr>
              <a:t>3. Education and promotion</a:t>
            </a:r>
          </a:p>
          <a:p>
            <a:pPr marL="355600" lvl="2" indent="-171450" defTabSz="483635">
              <a:lnSpc>
                <a:spcPct val="150000"/>
              </a:lnSpc>
              <a:spcBef>
                <a:spcPts val="600"/>
              </a:spcBef>
              <a:buClr>
                <a:schemeClr val="tx2"/>
              </a:buClr>
              <a:buFont typeface="Wingdings" panose="05000000000000000000" pitchFamily="2" charset="2"/>
              <a:buChar char="§"/>
            </a:pPr>
            <a:r>
              <a:rPr lang="en-US" sz="900">
                <a:solidFill>
                  <a:srgbClr val="004750"/>
                </a:solidFill>
                <a:latin typeface="FlexoSoft" panose="02000000000000000000" pitchFamily="2" charset="0"/>
                <a:cs typeface="Calibri Light" panose="020F0302020204030204" pitchFamily="34" charset="0"/>
              </a:rPr>
              <a:t>Actively promote Service APIs via various forums, events, conferences, ecosystems and social media.</a:t>
            </a:r>
          </a:p>
          <a:p>
            <a:pPr marL="355600" lvl="2" indent="-171450" defTabSz="483635">
              <a:lnSpc>
                <a:spcPct val="150000"/>
              </a:lnSpc>
              <a:spcBef>
                <a:spcPts val="600"/>
              </a:spcBef>
              <a:buClr>
                <a:schemeClr val="tx2"/>
              </a:buClr>
              <a:buFont typeface="Wingdings" panose="05000000000000000000" pitchFamily="2" charset="2"/>
              <a:buChar char="§"/>
            </a:pPr>
            <a:r>
              <a:rPr lang="en-US" sz="900">
                <a:solidFill>
                  <a:srgbClr val="004750"/>
                </a:solidFill>
                <a:latin typeface="FlexoSoft" panose="02000000000000000000" pitchFamily="2" charset="0"/>
                <a:cs typeface="Calibri Light" panose="020F0302020204030204" pitchFamily="34" charset="0"/>
              </a:rPr>
              <a:t>Promote best practices by aggregating and publishing lessons learned.</a:t>
            </a:r>
          </a:p>
        </p:txBody>
      </p:sp>
      <p:cxnSp>
        <p:nvCxnSpPr>
          <p:cNvPr id="8" name="Gerader Verbinder 7">
            <a:extLst>
              <a:ext uri="{FF2B5EF4-FFF2-40B4-BE49-F238E27FC236}">
                <a16:creationId xmlns:a16="http://schemas.microsoft.com/office/drawing/2014/main" id="{34D38C95-5395-4879-A146-49C0978FD29E}"/>
              </a:ext>
            </a:extLst>
          </p:cNvPr>
          <p:cNvCxnSpPr>
            <a:cxnSpLocks/>
          </p:cNvCxnSpPr>
          <p:nvPr/>
        </p:nvCxnSpPr>
        <p:spPr>
          <a:xfrm>
            <a:off x="3059676" y="3580464"/>
            <a:ext cx="0" cy="1230550"/>
          </a:xfrm>
          <a:prstGeom prst="line">
            <a:avLst/>
          </a:prstGeom>
          <a:ln w="12700" cap="rnd">
            <a:solidFill>
              <a:srgbClr val="14AFE4"/>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 name="Gerader Verbinder 8">
            <a:extLst>
              <a:ext uri="{FF2B5EF4-FFF2-40B4-BE49-F238E27FC236}">
                <a16:creationId xmlns:a16="http://schemas.microsoft.com/office/drawing/2014/main" id="{DF49E708-33B5-4D58-AA85-A20FEE41782B}"/>
              </a:ext>
            </a:extLst>
          </p:cNvPr>
          <p:cNvCxnSpPr>
            <a:cxnSpLocks/>
          </p:cNvCxnSpPr>
          <p:nvPr/>
        </p:nvCxnSpPr>
        <p:spPr>
          <a:xfrm>
            <a:off x="8462396" y="3580464"/>
            <a:ext cx="0" cy="1230550"/>
          </a:xfrm>
          <a:prstGeom prst="line">
            <a:avLst/>
          </a:prstGeom>
          <a:ln w="12700" cap="rnd">
            <a:solidFill>
              <a:srgbClr val="14AFE4"/>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0" name="Textfeld 9">
            <a:extLst>
              <a:ext uri="{FF2B5EF4-FFF2-40B4-BE49-F238E27FC236}">
                <a16:creationId xmlns:a16="http://schemas.microsoft.com/office/drawing/2014/main" id="{5230ECD1-B78C-4373-8734-38F7632BBFDE}"/>
              </a:ext>
            </a:extLst>
          </p:cNvPr>
          <p:cNvSpPr txBox="1"/>
          <p:nvPr/>
        </p:nvSpPr>
        <p:spPr bwMode="gray">
          <a:xfrm>
            <a:off x="8679079" y="3060718"/>
            <a:ext cx="2268000" cy="1478033"/>
          </a:xfrm>
          <a:prstGeom prst="rect">
            <a:avLst/>
          </a:prstGeom>
          <a:noFill/>
          <a:ln w="9525">
            <a:noFill/>
            <a:miter lim="800000"/>
            <a:headEnd/>
            <a:tailEnd/>
          </a:ln>
        </p:spPr>
        <p:txBody>
          <a:bodyPr vert="horz" wrap="square" lIns="36000" tIns="0" rIns="36000" bIns="0" numCol="1" rtlCol="0" anchor="t" anchorCtr="0" compatLnSpc="1">
            <a:prstTxWarp prst="textNoShape">
              <a:avLst/>
            </a:prstTxWarp>
            <a:spAutoFit/>
          </a:bodyPr>
          <a:lstStyle>
            <a:defPPr>
              <a:defRPr lang="de-DE"/>
            </a:defPPr>
            <a:lvl1pPr marL="171450" indent="-171450" defTabSz="483635">
              <a:buClr>
                <a:schemeClr val="tx2"/>
              </a:buClr>
              <a:buFont typeface="Wingdings" panose="05000000000000000000" pitchFamily="2" charset="2"/>
              <a:buChar char="§"/>
              <a:defRPr sz="1000">
                <a:latin typeface="TeleGrotesk Next"/>
                <a:ea typeface="TeleGrotesk Next" pitchFamily="2" charset="0"/>
                <a:cs typeface="TeleGrotesk Next" pitchFamily="2" charset="0"/>
              </a:defRPr>
            </a:lvl1pPr>
          </a:lstStyle>
          <a:p>
            <a:pPr marL="0" indent="0" rtl="0">
              <a:lnSpc>
                <a:spcPct val="150000"/>
              </a:lnSpc>
              <a:spcBef>
                <a:spcPts val="600"/>
              </a:spcBef>
              <a:buNone/>
            </a:pPr>
            <a:r>
              <a:rPr lang="en-US" b="1">
                <a:solidFill>
                  <a:srgbClr val="004750"/>
                </a:solidFill>
                <a:latin typeface="FlexoSoft" panose="02000000000000000000" pitchFamily="2" charset="0"/>
                <a:ea typeface="+mn-ea"/>
                <a:cs typeface="Calibri Light" panose="020F0302020204030204" pitchFamily="34" charset="0"/>
              </a:rPr>
              <a:t>4. Accelerate commercial adoption</a:t>
            </a:r>
          </a:p>
          <a:p>
            <a:pPr marL="355600" lvl="2" indent="-171450" defTabSz="483635">
              <a:lnSpc>
                <a:spcPct val="150000"/>
              </a:lnSpc>
              <a:spcBef>
                <a:spcPts val="600"/>
              </a:spcBef>
              <a:buClr>
                <a:schemeClr val="tx2"/>
              </a:buClr>
              <a:buFont typeface="Wingdings" panose="05000000000000000000" pitchFamily="2" charset="2"/>
              <a:buChar char="§"/>
            </a:pPr>
            <a:r>
              <a:rPr lang="en-US" sz="900">
                <a:solidFill>
                  <a:srgbClr val="004750"/>
                </a:solidFill>
                <a:latin typeface="FlexoSoft" panose="02000000000000000000" pitchFamily="2" charset="0"/>
                <a:cs typeface="Calibri Light" panose="020F0302020204030204" pitchFamily="34" charset="0"/>
              </a:rPr>
              <a:t>Create awareness around use cases and services.</a:t>
            </a:r>
          </a:p>
          <a:p>
            <a:pPr marL="355600" lvl="2" indent="-171450" defTabSz="483635">
              <a:lnSpc>
                <a:spcPct val="150000"/>
              </a:lnSpc>
              <a:spcBef>
                <a:spcPts val="600"/>
              </a:spcBef>
              <a:buClr>
                <a:schemeClr val="tx2"/>
              </a:buClr>
              <a:buFont typeface="Wingdings" panose="05000000000000000000" pitchFamily="2" charset="2"/>
              <a:buChar char="§"/>
            </a:pPr>
            <a:r>
              <a:rPr lang="en-US" sz="900">
                <a:solidFill>
                  <a:srgbClr val="004750"/>
                </a:solidFill>
                <a:latin typeface="FlexoSoft" panose="02000000000000000000" pitchFamily="2" charset="0"/>
                <a:cs typeface="Calibri Light" panose="020F0302020204030204" pitchFamily="34" charset="0"/>
              </a:rPr>
              <a:t>Minimize implementation effort though standardized Service APIs.</a:t>
            </a:r>
          </a:p>
          <a:p>
            <a:pPr marL="355600" lvl="2" indent="-171450" defTabSz="483635">
              <a:lnSpc>
                <a:spcPct val="150000"/>
              </a:lnSpc>
              <a:spcBef>
                <a:spcPts val="600"/>
              </a:spcBef>
              <a:buClr>
                <a:schemeClr val="tx2"/>
              </a:buClr>
              <a:buFont typeface="Wingdings" panose="05000000000000000000" pitchFamily="2" charset="2"/>
              <a:buChar char="§"/>
            </a:pPr>
            <a:r>
              <a:rPr lang="en-US" sz="900">
                <a:solidFill>
                  <a:srgbClr val="004750"/>
                </a:solidFill>
                <a:latin typeface="FlexoSoft" panose="02000000000000000000" pitchFamily="2" charset="0"/>
                <a:cs typeface="Calibri Light" panose="020F0302020204030204" pitchFamily="34" charset="0"/>
              </a:rPr>
              <a:t>Provide customer service and support.</a:t>
            </a:r>
            <a:endParaRPr lang="en-US">
              <a:solidFill>
                <a:srgbClr val="004750"/>
              </a:solidFill>
            </a:endParaRPr>
          </a:p>
        </p:txBody>
      </p:sp>
      <p:cxnSp>
        <p:nvCxnSpPr>
          <p:cNvPr id="11" name="Gerader Verbinder 10">
            <a:extLst>
              <a:ext uri="{FF2B5EF4-FFF2-40B4-BE49-F238E27FC236}">
                <a16:creationId xmlns:a16="http://schemas.microsoft.com/office/drawing/2014/main" id="{8DD4FAED-BE81-46B8-9002-C15B935421FE}"/>
              </a:ext>
            </a:extLst>
          </p:cNvPr>
          <p:cNvCxnSpPr>
            <a:cxnSpLocks/>
          </p:cNvCxnSpPr>
          <p:nvPr/>
        </p:nvCxnSpPr>
        <p:spPr>
          <a:xfrm>
            <a:off x="5761036" y="3580464"/>
            <a:ext cx="0" cy="1230550"/>
          </a:xfrm>
          <a:prstGeom prst="line">
            <a:avLst/>
          </a:prstGeom>
          <a:ln w="12700" cap="rnd">
            <a:solidFill>
              <a:srgbClr val="14AFE4"/>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761019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54078EF-B1A1-4500-9DCF-A0B30F9E49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8" name="Objekt 7" hidden="1">
                        <a:extLst>
                          <a:ext uri="{FF2B5EF4-FFF2-40B4-BE49-F238E27FC236}">
                            <a16:creationId xmlns:a16="http://schemas.microsoft.com/office/drawing/2014/main" id="{F54078EF-B1A1-4500-9DCF-A0B30F9E49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9A07231-9C27-4042-A176-76F50926ECA4}"/>
              </a:ext>
            </a:extLst>
          </p:cNvPr>
          <p:cNvSpPr>
            <a:spLocks noGrp="1"/>
          </p:cNvSpPr>
          <p:nvPr>
            <p:ph type="title"/>
          </p:nvPr>
        </p:nvSpPr>
        <p:spPr/>
        <p:txBody>
          <a:bodyPr vert="horz"/>
          <a:lstStyle/>
          <a:p>
            <a:r>
              <a:rPr lang="en-US"/>
              <a:t>APIs grouped by services and bundled up into “Service APIs” reduce the complexity of accessing capabilities for developers and enterprises.</a:t>
            </a:r>
            <a:endParaRPr lang="de-DE"/>
          </a:p>
        </p:txBody>
      </p:sp>
      <p:grpSp>
        <p:nvGrpSpPr>
          <p:cNvPr id="15" name="Gruppieren 14">
            <a:extLst>
              <a:ext uri="{FF2B5EF4-FFF2-40B4-BE49-F238E27FC236}">
                <a16:creationId xmlns:a16="http://schemas.microsoft.com/office/drawing/2014/main" id="{62E3D6FD-BE9E-4DC0-9073-9F759FBECFA9}"/>
              </a:ext>
            </a:extLst>
          </p:cNvPr>
          <p:cNvGrpSpPr/>
          <p:nvPr/>
        </p:nvGrpSpPr>
        <p:grpSpPr>
          <a:xfrm>
            <a:off x="646833" y="1596736"/>
            <a:ext cx="10228406" cy="588305"/>
            <a:chOff x="627217" y="1596736"/>
            <a:chExt cx="10228406" cy="588305"/>
          </a:xfrm>
        </p:grpSpPr>
        <p:grpSp>
          <p:nvGrpSpPr>
            <p:cNvPr id="14" name="Gruppieren 13">
              <a:extLst>
                <a:ext uri="{FF2B5EF4-FFF2-40B4-BE49-F238E27FC236}">
                  <a16:creationId xmlns:a16="http://schemas.microsoft.com/office/drawing/2014/main" id="{1E8D82C4-66DE-4F45-99B7-FFB3ABFE7A0F}"/>
                </a:ext>
              </a:extLst>
            </p:cNvPr>
            <p:cNvGrpSpPr/>
            <p:nvPr/>
          </p:nvGrpSpPr>
          <p:grpSpPr>
            <a:xfrm>
              <a:off x="627217" y="1596736"/>
              <a:ext cx="1978860" cy="572917"/>
              <a:chOff x="591121" y="1596736"/>
              <a:chExt cx="1978860" cy="572917"/>
            </a:xfrm>
          </p:grpSpPr>
          <p:sp>
            <p:nvSpPr>
              <p:cNvPr id="19" name="TextBox 109">
                <a:extLst>
                  <a:ext uri="{FF2B5EF4-FFF2-40B4-BE49-F238E27FC236}">
                    <a16:creationId xmlns:a16="http://schemas.microsoft.com/office/drawing/2014/main" id="{8C3FD117-2BC2-4792-95C4-12CA3385B869}"/>
                  </a:ext>
                </a:extLst>
              </p:cNvPr>
              <p:cNvSpPr txBox="1"/>
              <p:nvPr/>
            </p:nvSpPr>
            <p:spPr>
              <a:xfrm>
                <a:off x="895351" y="1600266"/>
                <a:ext cx="1674630" cy="569387"/>
              </a:xfrm>
              <a:prstGeom prst="rect">
                <a:avLst/>
              </a:prstGeom>
              <a:solidFill>
                <a:schemeClr val="bg1"/>
              </a:solidFill>
            </p:spPr>
            <p:txBody>
              <a:bodyPr wrap="square" lIns="0" tIns="0" rIns="0" bIns="0" rtlCol="0">
                <a:spAutoFit/>
              </a:bodyPr>
              <a:lstStyle/>
              <a:p>
                <a:pPr algn="l">
                  <a:buClr>
                    <a:schemeClr val="tx2"/>
                  </a:buClr>
                  <a:buSzPct val="100000"/>
                </a:pPr>
                <a:r>
                  <a:rPr lang="en-US" sz="1000" b="1">
                    <a:solidFill>
                      <a:srgbClr val="004750"/>
                    </a:solidFill>
                    <a:latin typeface="FlexoSoft" panose="02000000000000000000" pitchFamily="2" charset="0"/>
                  </a:rPr>
                  <a:t>Capabilities</a:t>
                </a:r>
                <a:br>
                  <a:rPr lang="en-US" sz="1000">
                    <a:solidFill>
                      <a:srgbClr val="004750"/>
                    </a:solidFill>
                    <a:latin typeface="FlexoSoft" panose="02000000000000000000" pitchFamily="2" charset="0"/>
                  </a:rPr>
                </a:br>
                <a:r>
                  <a:rPr lang="en-US" sz="900">
                    <a:solidFill>
                      <a:srgbClr val="004750"/>
                    </a:solidFill>
                    <a:latin typeface="FlexoSoft" panose="02000000000000000000" pitchFamily="2" charset="0"/>
                  </a:rPr>
                  <a:t>Exposable via Network APIs </a:t>
                </a:r>
                <a:br>
                  <a:rPr lang="en-US" sz="900">
                    <a:solidFill>
                      <a:srgbClr val="004750"/>
                    </a:solidFill>
                    <a:latin typeface="FlexoSoft" panose="02000000000000000000" pitchFamily="2" charset="0"/>
                  </a:rPr>
                </a:br>
                <a:r>
                  <a:rPr lang="en-US" sz="900">
                    <a:solidFill>
                      <a:srgbClr val="004750"/>
                    </a:solidFill>
                    <a:latin typeface="FlexoSoft" panose="02000000000000000000" pitchFamily="2" charset="0"/>
                  </a:rPr>
                  <a:t>e.g. slicing, positioning, managed  QoS, IDM etc.</a:t>
                </a:r>
                <a:endParaRPr lang="en-US" sz="1000">
                  <a:solidFill>
                    <a:srgbClr val="004750"/>
                  </a:solidFill>
                  <a:latin typeface="FlexoSoft" panose="02000000000000000000" pitchFamily="2" charset="0"/>
                </a:endParaRPr>
              </a:p>
            </p:txBody>
          </p:sp>
          <p:sp>
            <p:nvSpPr>
              <p:cNvPr id="22" name="Oval 134">
                <a:extLst>
                  <a:ext uri="{FF2B5EF4-FFF2-40B4-BE49-F238E27FC236}">
                    <a16:creationId xmlns:a16="http://schemas.microsoft.com/office/drawing/2014/main" id="{BABD5C8D-7F0E-4F84-8F99-6AEF17E1B5AC}"/>
                  </a:ext>
                </a:extLst>
              </p:cNvPr>
              <p:cNvSpPr/>
              <p:nvPr/>
            </p:nvSpPr>
            <p:spPr>
              <a:xfrm>
                <a:off x="591121" y="1596736"/>
                <a:ext cx="242595" cy="234859"/>
              </a:xfrm>
              <a:prstGeom prst="ellipse">
                <a:avLst/>
              </a:prstGeom>
              <a:solidFill>
                <a:srgbClr val="E2007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100">
                    <a:latin typeface="FlexoSoft" panose="02000000000000000000" pitchFamily="2" charset="0"/>
                  </a:rPr>
                  <a:t>1</a:t>
                </a:r>
              </a:p>
            </p:txBody>
          </p:sp>
        </p:grpSp>
        <p:grpSp>
          <p:nvGrpSpPr>
            <p:cNvPr id="13" name="Gruppieren 12">
              <a:extLst>
                <a:ext uri="{FF2B5EF4-FFF2-40B4-BE49-F238E27FC236}">
                  <a16:creationId xmlns:a16="http://schemas.microsoft.com/office/drawing/2014/main" id="{69B26562-C849-4975-925E-D23D8FB4BD7B}"/>
                </a:ext>
              </a:extLst>
            </p:cNvPr>
            <p:cNvGrpSpPr/>
            <p:nvPr/>
          </p:nvGrpSpPr>
          <p:grpSpPr>
            <a:xfrm>
              <a:off x="2801118" y="1600266"/>
              <a:ext cx="2155148" cy="569387"/>
              <a:chOff x="2783773" y="1600266"/>
              <a:chExt cx="2155148" cy="569387"/>
            </a:xfrm>
          </p:grpSpPr>
          <p:sp>
            <p:nvSpPr>
              <p:cNvPr id="20" name="TextBox 110">
                <a:extLst>
                  <a:ext uri="{FF2B5EF4-FFF2-40B4-BE49-F238E27FC236}">
                    <a16:creationId xmlns:a16="http://schemas.microsoft.com/office/drawing/2014/main" id="{CD5EEC54-2D6B-4F49-AF20-C53D6829F49E}"/>
                  </a:ext>
                </a:extLst>
              </p:cNvPr>
              <p:cNvSpPr txBox="1"/>
              <p:nvPr/>
            </p:nvSpPr>
            <p:spPr>
              <a:xfrm>
                <a:off x="3085747" y="1600266"/>
                <a:ext cx="1853174" cy="569387"/>
              </a:xfrm>
              <a:prstGeom prst="rect">
                <a:avLst/>
              </a:prstGeom>
              <a:noFill/>
            </p:spPr>
            <p:txBody>
              <a:bodyPr wrap="square" lIns="0" tIns="0" rIns="0" bIns="0" rtlCol="0">
                <a:spAutoFit/>
              </a:bodyPr>
              <a:lstStyle/>
              <a:p>
                <a:pPr>
                  <a:buClr>
                    <a:schemeClr val="tx2"/>
                  </a:buClr>
                  <a:buSzPct val="100000"/>
                </a:pPr>
                <a:r>
                  <a:rPr lang="en-US" sz="1000" b="1">
                    <a:solidFill>
                      <a:srgbClr val="004750"/>
                    </a:solidFill>
                    <a:latin typeface="FlexoSoft" panose="02000000000000000000" pitchFamily="2" charset="0"/>
                  </a:rPr>
                  <a:t>Exposure </a:t>
                </a:r>
                <a:br>
                  <a:rPr lang="en-US" sz="1000">
                    <a:solidFill>
                      <a:srgbClr val="004750"/>
                    </a:solidFill>
                    <a:latin typeface="FlexoSoft" panose="02000000000000000000" pitchFamily="2" charset="0"/>
                  </a:rPr>
                </a:br>
                <a:r>
                  <a:rPr lang="en-US" sz="900">
                    <a:solidFill>
                      <a:srgbClr val="004750"/>
                    </a:solidFill>
                    <a:latin typeface="FlexoSoft" panose="02000000000000000000" pitchFamily="2" charset="0"/>
                  </a:rPr>
                  <a:t>Abstraction of internal API to Service APIs.  Common means of access across all operators</a:t>
                </a:r>
              </a:p>
            </p:txBody>
          </p:sp>
          <p:sp>
            <p:nvSpPr>
              <p:cNvPr id="23" name="Oval 135">
                <a:extLst>
                  <a:ext uri="{FF2B5EF4-FFF2-40B4-BE49-F238E27FC236}">
                    <a16:creationId xmlns:a16="http://schemas.microsoft.com/office/drawing/2014/main" id="{8001918B-2601-4564-81C5-6DC6CE11224D}"/>
                  </a:ext>
                </a:extLst>
              </p:cNvPr>
              <p:cNvSpPr/>
              <p:nvPr/>
            </p:nvSpPr>
            <p:spPr>
              <a:xfrm>
                <a:off x="2783773" y="1600266"/>
                <a:ext cx="242595" cy="234859"/>
              </a:xfrm>
              <a:prstGeom prst="ellipse">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100">
                    <a:solidFill>
                      <a:schemeClr val="bg1"/>
                    </a:solidFill>
                    <a:latin typeface="FlexoSoft" panose="02000000000000000000" pitchFamily="2" charset="0"/>
                  </a:rPr>
                  <a:t>2</a:t>
                </a:r>
              </a:p>
            </p:txBody>
          </p:sp>
        </p:grpSp>
        <p:grpSp>
          <p:nvGrpSpPr>
            <p:cNvPr id="5" name="Gruppieren 4">
              <a:extLst>
                <a:ext uri="{FF2B5EF4-FFF2-40B4-BE49-F238E27FC236}">
                  <a16:creationId xmlns:a16="http://schemas.microsoft.com/office/drawing/2014/main" id="{D210F81F-1472-46E8-A81E-4AB462975945}"/>
                </a:ext>
              </a:extLst>
            </p:cNvPr>
            <p:cNvGrpSpPr/>
            <p:nvPr/>
          </p:nvGrpSpPr>
          <p:grpSpPr>
            <a:xfrm>
              <a:off x="7365185" y="1596737"/>
              <a:ext cx="1884122" cy="588304"/>
              <a:chOff x="7371677" y="1596737"/>
              <a:chExt cx="1884122" cy="588304"/>
            </a:xfrm>
          </p:grpSpPr>
          <p:sp>
            <p:nvSpPr>
              <p:cNvPr id="21" name="TextBox 111">
                <a:extLst>
                  <a:ext uri="{FF2B5EF4-FFF2-40B4-BE49-F238E27FC236}">
                    <a16:creationId xmlns:a16="http://schemas.microsoft.com/office/drawing/2014/main" id="{F6E27F0C-1394-4D22-86F7-25491424D8EB}"/>
                  </a:ext>
                </a:extLst>
              </p:cNvPr>
              <p:cNvSpPr txBox="1"/>
              <p:nvPr/>
            </p:nvSpPr>
            <p:spPr>
              <a:xfrm>
                <a:off x="7670419" y="1600266"/>
                <a:ext cx="1585380" cy="584775"/>
              </a:xfrm>
              <a:prstGeom prst="rect">
                <a:avLst/>
              </a:prstGeom>
              <a:solidFill>
                <a:schemeClr val="bg1"/>
              </a:solidFill>
            </p:spPr>
            <p:txBody>
              <a:bodyPr wrap="square" lIns="0" tIns="0" rIns="0" bIns="0" rtlCol="0">
                <a:spAutoFit/>
              </a:bodyPr>
              <a:lstStyle/>
              <a:p>
                <a:pPr algn="l">
                  <a:buClr>
                    <a:schemeClr val="tx2"/>
                  </a:buClr>
                  <a:buSzPct val="100000"/>
                </a:pPr>
                <a:r>
                  <a:rPr lang="en-US" sz="1000" b="1">
                    <a:solidFill>
                      <a:srgbClr val="004750"/>
                    </a:solidFill>
                    <a:latin typeface="FlexoSoft" panose="02000000000000000000" pitchFamily="2" charset="0"/>
                  </a:rPr>
                  <a:t>Technical Aggregation (optional)</a:t>
                </a:r>
              </a:p>
              <a:p>
                <a:pPr>
                  <a:buClr>
                    <a:schemeClr val="tx2"/>
                  </a:buClr>
                  <a:buSzPct val="100000"/>
                </a:pPr>
                <a:r>
                  <a:rPr lang="en-US" sz="900">
                    <a:solidFill>
                      <a:srgbClr val="004750"/>
                    </a:solidFill>
                    <a:latin typeface="FlexoSoft" panose="02000000000000000000" pitchFamily="2" charset="0"/>
                  </a:rPr>
                  <a:t>Enrichment to Service API</a:t>
                </a:r>
                <a:br>
                  <a:rPr lang="en-US" sz="900">
                    <a:solidFill>
                      <a:srgbClr val="004750"/>
                    </a:solidFill>
                    <a:latin typeface="FlexoSoft" panose="02000000000000000000" pitchFamily="2" charset="0"/>
                  </a:rPr>
                </a:br>
                <a:r>
                  <a:rPr lang="en-US" sz="900">
                    <a:solidFill>
                      <a:srgbClr val="004750"/>
                    </a:solidFill>
                    <a:latin typeface="FlexoSoft" panose="02000000000000000000" pitchFamily="2" charset="0"/>
                  </a:rPr>
                  <a:t>e.g. </a:t>
                </a:r>
                <a:r>
                  <a:rPr lang="en-US" sz="900" err="1">
                    <a:solidFill>
                      <a:srgbClr val="004750"/>
                    </a:solidFill>
                    <a:latin typeface="FlexoSoft" panose="02000000000000000000" pitchFamily="2" charset="0"/>
                  </a:rPr>
                  <a:t>hyperscalers</a:t>
                </a:r>
                <a:r>
                  <a:rPr lang="en-US" sz="900">
                    <a:solidFill>
                      <a:srgbClr val="004750"/>
                    </a:solidFill>
                    <a:latin typeface="FlexoSoft" panose="02000000000000000000" pitchFamily="2" charset="0"/>
                  </a:rPr>
                  <a:t>, MEX etc.</a:t>
                </a:r>
              </a:p>
            </p:txBody>
          </p:sp>
          <p:sp>
            <p:nvSpPr>
              <p:cNvPr id="24" name="Oval 136">
                <a:extLst>
                  <a:ext uri="{FF2B5EF4-FFF2-40B4-BE49-F238E27FC236}">
                    <a16:creationId xmlns:a16="http://schemas.microsoft.com/office/drawing/2014/main" id="{3B26CF48-07EC-475E-B1C2-D8FA4CFB40C8}"/>
                  </a:ext>
                </a:extLst>
              </p:cNvPr>
              <p:cNvSpPr/>
              <p:nvPr/>
            </p:nvSpPr>
            <p:spPr>
              <a:xfrm>
                <a:off x="7371677" y="1596737"/>
                <a:ext cx="242595" cy="234859"/>
              </a:xfrm>
              <a:prstGeom prst="ellipse">
                <a:avLst/>
              </a:prstGeom>
              <a:solidFill>
                <a:srgbClr val="00A8E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100">
                    <a:latin typeface="FlexoSoft" panose="02000000000000000000" pitchFamily="2" charset="0"/>
                  </a:rPr>
                  <a:t>4</a:t>
                </a:r>
              </a:p>
            </p:txBody>
          </p:sp>
        </p:grpSp>
        <p:grpSp>
          <p:nvGrpSpPr>
            <p:cNvPr id="6" name="Gruppieren 5">
              <a:extLst>
                <a:ext uri="{FF2B5EF4-FFF2-40B4-BE49-F238E27FC236}">
                  <a16:creationId xmlns:a16="http://schemas.microsoft.com/office/drawing/2014/main" id="{887D5211-9F9B-465D-9812-DD7FB9217FCC}"/>
                </a:ext>
              </a:extLst>
            </p:cNvPr>
            <p:cNvGrpSpPr/>
            <p:nvPr/>
          </p:nvGrpSpPr>
          <p:grpSpPr>
            <a:xfrm>
              <a:off x="5151307" y="1596737"/>
              <a:ext cx="2018837" cy="572916"/>
              <a:chOff x="5131649" y="1596737"/>
              <a:chExt cx="2018837" cy="572916"/>
            </a:xfrm>
          </p:grpSpPr>
          <p:sp>
            <p:nvSpPr>
              <p:cNvPr id="25" name="TextBox 111">
                <a:extLst>
                  <a:ext uri="{FF2B5EF4-FFF2-40B4-BE49-F238E27FC236}">
                    <a16:creationId xmlns:a16="http://schemas.microsoft.com/office/drawing/2014/main" id="{30B1EF5D-2BFB-4CCC-A5C8-488701D5183C}"/>
                  </a:ext>
                </a:extLst>
              </p:cNvPr>
              <p:cNvSpPr txBox="1"/>
              <p:nvPr/>
            </p:nvSpPr>
            <p:spPr>
              <a:xfrm>
                <a:off x="5430391" y="1600266"/>
                <a:ext cx="1720095" cy="569387"/>
              </a:xfrm>
              <a:prstGeom prst="rect">
                <a:avLst/>
              </a:prstGeom>
              <a:noFill/>
            </p:spPr>
            <p:txBody>
              <a:bodyPr wrap="square" lIns="0" tIns="0" rIns="0" bIns="0" rtlCol="0">
                <a:spAutoFit/>
              </a:bodyPr>
              <a:lstStyle/>
              <a:p>
                <a:pPr algn="l">
                  <a:buClr>
                    <a:schemeClr val="tx2"/>
                  </a:buClr>
                  <a:buSzPct val="100000"/>
                </a:pPr>
                <a:r>
                  <a:rPr lang="en-US" sz="1000" b="1">
                    <a:solidFill>
                      <a:srgbClr val="004750"/>
                    </a:solidFill>
                    <a:latin typeface="FlexoSoft" panose="02000000000000000000" pitchFamily="2" charset="0"/>
                  </a:rPr>
                  <a:t>Service APIs</a:t>
                </a:r>
              </a:p>
              <a:p>
                <a:pPr>
                  <a:buClr>
                    <a:schemeClr val="tx2"/>
                  </a:buClr>
                  <a:buSzPct val="100000"/>
                </a:pPr>
                <a:r>
                  <a:rPr lang="en-US" sz="900">
                    <a:solidFill>
                      <a:srgbClr val="004750"/>
                    </a:solidFill>
                    <a:latin typeface="FlexoSoft" panose="02000000000000000000" pitchFamily="2" charset="0"/>
                  </a:rPr>
                  <a:t>Service APIs incl. also access </a:t>
                </a:r>
              </a:p>
              <a:p>
                <a:pPr>
                  <a:buClr>
                    <a:schemeClr val="tx2"/>
                  </a:buClr>
                  <a:buSzPct val="100000"/>
                </a:pPr>
                <a:r>
                  <a:rPr lang="en-US" sz="900">
                    <a:solidFill>
                      <a:srgbClr val="004750"/>
                    </a:solidFill>
                    <a:latin typeface="FlexoSoft" panose="02000000000000000000" pitchFamily="2" charset="0"/>
                  </a:rPr>
                  <a:t>control, billing, cross-operator federation etc.</a:t>
                </a:r>
              </a:p>
            </p:txBody>
          </p:sp>
          <p:sp>
            <p:nvSpPr>
              <p:cNvPr id="26" name="Oval 116">
                <a:extLst>
                  <a:ext uri="{FF2B5EF4-FFF2-40B4-BE49-F238E27FC236}">
                    <a16:creationId xmlns:a16="http://schemas.microsoft.com/office/drawing/2014/main" id="{F29A6543-DB55-45DC-B22E-A8E503DED82D}"/>
                  </a:ext>
                </a:extLst>
              </p:cNvPr>
              <p:cNvSpPr/>
              <p:nvPr/>
            </p:nvSpPr>
            <p:spPr>
              <a:xfrm>
                <a:off x="5131649" y="1596737"/>
                <a:ext cx="242595" cy="234859"/>
              </a:xfrm>
              <a:prstGeom prst="ellipse">
                <a:avLst/>
              </a:prstGeom>
              <a:solidFill>
                <a:srgbClr val="FFC6E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100">
                    <a:solidFill>
                      <a:schemeClr val="bg1"/>
                    </a:solidFill>
                    <a:latin typeface="FlexoSoft" panose="02000000000000000000" pitchFamily="2" charset="0"/>
                  </a:rPr>
                  <a:t>3</a:t>
                </a:r>
              </a:p>
            </p:txBody>
          </p:sp>
        </p:grpSp>
        <p:grpSp>
          <p:nvGrpSpPr>
            <p:cNvPr id="4" name="Gruppieren 3">
              <a:extLst>
                <a:ext uri="{FF2B5EF4-FFF2-40B4-BE49-F238E27FC236}">
                  <a16:creationId xmlns:a16="http://schemas.microsoft.com/office/drawing/2014/main" id="{68D780FB-E22C-4171-88C7-20045C4FD00F}"/>
                </a:ext>
              </a:extLst>
            </p:cNvPr>
            <p:cNvGrpSpPr/>
            <p:nvPr/>
          </p:nvGrpSpPr>
          <p:grpSpPr>
            <a:xfrm>
              <a:off x="9444349" y="1596736"/>
              <a:ext cx="1411274" cy="434417"/>
              <a:chOff x="9552637" y="1596736"/>
              <a:chExt cx="1411274" cy="434417"/>
            </a:xfrm>
          </p:grpSpPr>
          <p:sp>
            <p:nvSpPr>
              <p:cNvPr id="27" name="TextBox 111">
                <a:extLst>
                  <a:ext uri="{FF2B5EF4-FFF2-40B4-BE49-F238E27FC236}">
                    <a16:creationId xmlns:a16="http://schemas.microsoft.com/office/drawing/2014/main" id="{895EFFE9-84D1-42F6-8A2E-FFA6A69F15DA}"/>
                  </a:ext>
                </a:extLst>
              </p:cNvPr>
              <p:cNvSpPr txBox="1"/>
              <p:nvPr/>
            </p:nvSpPr>
            <p:spPr>
              <a:xfrm>
                <a:off x="9855646" y="1600266"/>
                <a:ext cx="1108265" cy="430887"/>
              </a:xfrm>
              <a:prstGeom prst="rect">
                <a:avLst/>
              </a:prstGeom>
              <a:solidFill>
                <a:schemeClr val="bg1"/>
              </a:solidFill>
            </p:spPr>
            <p:txBody>
              <a:bodyPr wrap="square" lIns="0" tIns="0" rIns="0" bIns="0" rtlCol="0">
                <a:spAutoFit/>
              </a:bodyPr>
              <a:lstStyle/>
              <a:p>
                <a:pPr algn="l">
                  <a:buClr>
                    <a:schemeClr val="tx2"/>
                  </a:buClr>
                  <a:buSzPct val="100000"/>
                </a:pPr>
                <a:r>
                  <a:rPr lang="en-US" sz="1000" b="1">
                    <a:solidFill>
                      <a:srgbClr val="004750"/>
                    </a:solidFill>
                    <a:latin typeface="FlexoSoft" panose="02000000000000000000" pitchFamily="2" charset="0"/>
                  </a:rPr>
                  <a:t>Interoperability</a:t>
                </a:r>
              </a:p>
              <a:p>
                <a:pPr>
                  <a:buClr>
                    <a:schemeClr val="tx2"/>
                  </a:buClr>
                  <a:buSzPct val="100000"/>
                </a:pPr>
                <a:r>
                  <a:rPr lang="en-US" sz="900">
                    <a:solidFill>
                      <a:srgbClr val="004750"/>
                    </a:solidFill>
                    <a:latin typeface="FlexoSoft" panose="02000000000000000000" pitchFamily="2" charset="0"/>
                  </a:rPr>
                  <a:t>e.g.  API roaming, etc.</a:t>
                </a:r>
              </a:p>
            </p:txBody>
          </p:sp>
          <p:sp>
            <p:nvSpPr>
              <p:cNvPr id="31" name="Oval 136">
                <a:extLst>
                  <a:ext uri="{FF2B5EF4-FFF2-40B4-BE49-F238E27FC236}">
                    <a16:creationId xmlns:a16="http://schemas.microsoft.com/office/drawing/2014/main" id="{93560B62-2771-4108-8AAA-292549055CFB}"/>
                  </a:ext>
                </a:extLst>
              </p:cNvPr>
              <p:cNvSpPr/>
              <p:nvPr/>
            </p:nvSpPr>
            <p:spPr>
              <a:xfrm>
                <a:off x="9552637" y="1596736"/>
                <a:ext cx="242595" cy="234859"/>
              </a:xfrm>
              <a:prstGeom prst="ellipse">
                <a:avLst/>
              </a:prstGeom>
              <a:solidFill>
                <a:schemeClr val="accent1">
                  <a:lumMod val="7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100">
                    <a:solidFill>
                      <a:schemeClr val="bg1"/>
                    </a:solidFill>
                    <a:latin typeface="FlexoSoft" panose="02000000000000000000" pitchFamily="2" charset="0"/>
                  </a:rPr>
                  <a:t>5</a:t>
                </a:r>
              </a:p>
            </p:txBody>
          </p:sp>
        </p:grpSp>
      </p:grpSp>
      <p:pic>
        <p:nvPicPr>
          <p:cNvPr id="3" name="Grafik 2">
            <a:extLst>
              <a:ext uri="{FF2B5EF4-FFF2-40B4-BE49-F238E27FC236}">
                <a16:creationId xmlns:a16="http://schemas.microsoft.com/office/drawing/2014/main" id="{853D0F58-275C-4846-8CA2-9FE02C9EEA37}"/>
              </a:ext>
            </a:extLst>
          </p:cNvPr>
          <p:cNvPicPr>
            <a:picLocks noChangeAspect="1"/>
          </p:cNvPicPr>
          <p:nvPr/>
        </p:nvPicPr>
        <p:blipFill>
          <a:blip r:embed="rId5"/>
          <a:stretch>
            <a:fillRect/>
          </a:stretch>
        </p:blipFill>
        <p:spPr>
          <a:xfrm>
            <a:off x="1120730" y="2324480"/>
            <a:ext cx="9280612" cy="3988884"/>
          </a:xfrm>
          <a:prstGeom prst="rect">
            <a:avLst/>
          </a:prstGeom>
        </p:spPr>
      </p:pic>
    </p:spTree>
    <p:extLst>
      <p:ext uri="{BB962C8B-B14F-4D97-AF65-F5344CB8AC3E}">
        <p14:creationId xmlns:p14="http://schemas.microsoft.com/office/powerpoint/2010/main" val="12061369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61B79A1-4585-4C63-9FD0-1991DD710698}"/>
              </a:ext>
            </a:extLst>
          </p:cNvPr>
          <p:cNvSpPr>
            <a:spLocks noGrp="1"/>
          </p:cNvSpPr>
          <p:nvPr>
            <p:ph type="title"/>
          </p:nvPr>
        </p:nvSpPr>
        <p:spPr/>
        <p:txBody>
          <a:bodyPr/>
          <a:lstStyle/>
          <a:p>
            <a:r>
              <a:rPr lang="en-US">
                <a:solidFill>
                  <a:schemeClr val="accent6">
                    <a:lumMod val="50000"/>
                  </a:schemeClr>
                </a:solidFill>
              </a:rPr>
              <a:t>DT has evaluated three options to start the alliance.</a:t>
            </a:r>
            <a:endParaRPr lang="en-US"/>
          </a:p>
        </p:txBody>
      </p:sp>
      <p:sp>
        <p:nvSpPr>
          <p:cNvPr id="4" name="Textfeld 3">
            <a:extLst>
              <a:ext uri="{FF2B5EF4-FFF2-40B4-BE49-F238E27FC236}">
                <a16:creationId xmlns:a16="http://schemas.microsoft.com/office/drawing/2014/main" id="{E9758F39-F76A-4B30-8F64-62875B34A7E6}"/>
              </a:ext>
            </a:extLst>
          </p:cNvPr>
          <p:cNvSpPr txBox="1"/>
          <p:nvPr/>
        </p:nvSpPr>
        <p:spPr bwMode="gray">
          <a:xfrm>
            <a:off x="1877438" y="5090346"/>
            <a:ext cx="2987998" cy="996798"/>
          </a:xfrm>
          <a:prstGeom prst="roundRect">
            <a:avLst/>
          </a:prstGeom>
          <a:noFill/>
          <a:ln w="9525">
            <a:noFill/>
            <a:miter lim="800000"/>
            <a:headEnd/>
            <a:tailEnd/>
          </a:ln>
        </p:spPr>
        <p:txBody>
          <a:bodyPr vert="horz" wrap="square" lIns="36000" tIns="0" rIns="36000" bIns="0" numCol="1" rtlCol="0" anchor="t" anchorCtr="0" compatLnSpc="1">
            <a:prstTxWarp prst="textNoShape">
              <a:avLst/>
            </a:prstTxWarp>
            <a:spAutoFit/>
          </a:bodyPr>
          <a:lstStyle>
            <a:defPPr>
              <a:defRPr lang="de-DE"/>
            </a:defPPr>
            <a:lvl1pPr marL="171450" indent="-171450" defTabSz="483635">
              <a:buClr>
                <a:schemeClr val="tx2"/>
              </a:buClr>
              <a:buFont typeface="Wingdings" panose="05000000000000000000" pitchFamily="2" charset="2"/>
              <a:buChar char="§"/>
              <a:defRPr sz="1000">
                <a:latin typeface="TeleGrotesk Next"/>
                <a:ea typeface="TeleGrotesk Next" pitchFamily="2" charset="0"/>
                <a:cs typeface="TeleGrotesk Next" pitchFamily="2" charset="0"/>
              </a:defRPr>
            </a:lvl1pPr>
          </a:lstStyle>
          <a:p>
            <a:pPr marL="180975" lvl="3" indent="-171450" defTabSz="483635">
              <a:lnSpc>
                <a:spcPct val="150000"/>
              </a:lnSpc>
              <a:buClr>
                <a:schemeClr val="tx2"/>
              </a:buClr>
              <a:buFont typeface="Symbol" panose="05050102010706020507" pitchFamily="18" charset="2"/>
              <a:buChar char="-"/>
            </a:pPr>
            <a:r>
              <a:rPr lang="en-US" sz="800">
                <a:solidFill>
                  <a:schemeClr val="accent6">
                    <a:lumMod val="50000"/>
                  </a:schemeClr>
                </a:solidFill>
                <a:latin typeface="FlexoSoft" panose="02000000000000000000" pitchFamily="2" charset="0"/>
                <a:cs typeface="Calibri Light" panose="020F0302020204030204" pitchFamily="34" charset="0"/>
              </a:rPr>
              <a:t>Completely Independent.</a:t>
            </a:r>
          </a:p>
          <a:p>
            <a:pPr marL="180975" lvl="3" indent="-171450" defTabSz="483635">
              <a:lnSpc>
                <a:spcPct val="150000"/>
              </a:lnSpc>
              <a:buClr>
                <a:schemeClr val="tx2"/>
              </a:buClr>
              <a:buFont typeface="Symbol" panose="05050102010706020507" pitchFamily="18" charset="2"/>
              <a:buChar char="-"/>
            </a:pPr>
            <a:r>
              <a:rPr lang="en-US" sz="800">
                <a:solidFill>
                  <a:schemeClr val="accent6">
                    <a:lumMod val="50000"/>
                  </a:schemeClr>
                </a:solidFill>
                <a:latin typeface="FlexoSoft" panose="02000000000000000000" pitchFamily="2" charset="0"/>
                <a:cs typeface="Calibri Light" panose="020F0302020204030204" pitchFamily="34" charset="0"/>
              </a:rPr>
              <a:t>Slow setup.</a:t>
            </a:r>
          </a:p>
          <a:p>
            <a:pPr marL="180975" lvl="3" indent="-171450" defTabSz="483635">
              <a:lnSpc>
                <a:spcPct val="150000"/>
              </a:lnSpc>
              <a:buClr>
                <a:schemeClr val="tx2"/>
              </a:buClr>
              <a:buFont typeface="Symbol" panose="05050102010706020507" pitchFamily="18" charset="2"/>
              <a:buChar char="-"/>
            </a:pPr>
            <a:r>
              <a:rPr lang="en-US" sz="800">
                <a:solidFill>
                  <a:schemeClr val="accent6">
                    <a:lumMod val="50000"/>
                  </a:schemeClr>
                </a:solidFill>
                <a:latin typeface="FlexoSoft" panose="02000000000000000000" pitchFamily="2" charset="0"/>
                <a:cs typeface="Calibri Light" panose="020F0302020204030204" pitchFamily="34" charset="0"/>
              </a:rPr>
              <a:t>Bureaucratic and legal overhead costs for launch.</a:t>
            </a:r>
          </a:p>
          <a:p>
            <a:pPr marL="180975" lvl="3" indent="-171450" defTabSz="483635">
              <a:lnSpc>
                <a:spcPct val="150000"/>
              </a:lnSpc>
              <a:buClr>
                <a:schemeClr val="tx2"/>
              </a:buClr>
              <a:buFont typeface="Symbol" panose="05050102010706020507" pitchFamily="18" charset="2"/>
              <a:buChar char="-"/>
            </a:pPr>
            <a:r>
              <a:rPr lang="en-US" sz="800">
                <a:solidFill>
                  <a:schemeClr val="accent6">
                    <a:lumMod val="50000"/>
                  </a:schemeClr>
                </a:solidFill>
                <a:latin typeface="FlexoSoft" panose="02000000000000000000" pitchFamily="2" charset="0"/>
                <a:cs typeface="Calibri Light" panose="020F0302020204030204" pitchFamily="34" charset="0"/>
              </a:rPr>
              <a:t>Actively responsible for following regulations concerning unfair competition and antitrust law.</a:t>
            </a:r>
          </a:p>
        </p:txBody>
      </p:sp>
      <p:sp>
        <p:nvSpPr>
          <p:cNvPr id="5" name="Textfeld 4">
            <a:extLst>
              <a:ext uri="{FF2B5EF4-FFF2-40B4-BE49-F238E27FC236}">
                <a16:creationId xmlns:a16="http://schemas.microsoft.com/office/drawing/2014/main" id="{4F844CF9-9C66-46A1-8961-8CF70E10CDC6}"/>
              </a:ext>
            </a:extLst>
          </p:cNvPr>
          <p:cNvSpPr txBox="1"/>
          <p:nvPr/>
        </p:nvSpPr>
        <p:spPr bwMode="gray">
          <a:xfrm>
            <a:off x="1867939" y="831255"/>
            <a:ext cx="2988000" cy="241980"/>
          </a:xfrm>
          <a:prstGeom prst="rect">
            <a:avLst/>
          </a:prstGeom>
          <a:noFill/>
          <a:ln w="9525">
            <a:noFill/>
            <a:miter lim="800000"/>
            <a:headEnd/>
            <a:tailEnd/>
          </a:ln>
        </p:spPr>
        <p:txBody>
          <a:bodyPr vert="horz" wrap="square" lIns="36000" tIns="36000" rIns="36000" bIns="36000" numCol="1" rtlCol="0" anchor="ctr" anchorCtr="0" compatLnSpc="1">
            <a:prstTxWarp prst="textNoShape">
              <a:avLst/>
            </a:prstTxWarp>
            <a:spAutoFit/>
          </a:bodyPr>
          <a:lstStyle>
            <a:defPPr>
              <a:defRPr lang="de-DE"/>
            </a:defPPr>
            <a:lvl1pPr indent="0" algn="ctr" defTabSz="483635">
              <a:buClr>
                <a:schemeClr val="tx2"/>
              </a:buClr>
              <a:buFont typeface="Wingdings" panose="05000000000000000000" pitchFamily="2" charset="2"/>
              <a:buNone/>
              <a:defRPr sz="1050" b="1">
                <a:solidFill>
                  <a:schemeClr val="accent6">
                    <a:lumMod val="50000"/>
                  </a:schemeClr>
                </a:solidFill>
                <a:latin typeface="FlexoSoft" panose="02000000000000000000" pitchFamily="2" charset="0"/>
                <a:ea typeface="TeleGrotesk Next" pitchFamily="2" charset="0"/>
                <a:cs typeface="Calibri Light" panose="020F0302020204030204" pitchFamily="34" charset="0"/>
              </a:defRPr>
            </a:lvl1pPr>
          </a:lstStyle>
          <a:p>
            <a:r>
              <a:rPr lang="en-US" sz="1100"/>
              <a:t>Independent Entity</a:t>
            </a:r>
          </a:p>
        </p:txBody>
      </p:sp>
      <p:sp>
        <p:nvSpPr>
          <p:cNvPr id="6" name="Textfeld 5">
            <a:extLst>
              <a:ext uri="{FF2B5EF4-FFF2-40B4-BE49-F238E27FC236}">
                <a16:creationId xmlns:a16="http://schemas.microsoft.com/office/drawing/2014/main" id="{756D620B-5AC2-49CC-AAC3-60DF9CA75DF5}"/>
              </a:ext>
            </a:extLst>
          </p:cNvPr>
          <p:cNvSpPr txBox="1"/>
          <p:nvPr/>
        </p:nvSpPr>
        <p:spPr bwMode="gray">
          <a:xfrm>
            <a:off x="5022989" y="5090346"/>
            <a:ext cx="3037705" cy="996798"/>
          </a:xfrm>
          <a:prstGeom prst="roundRect">
            <a:avLst/>
          </a:prstGeom>
          <a:noFill/>
          <a:ln w="9525">
            <a:noFill/>
            <a:miter lim="800000"/>
            <a:headEnd/>
            <a:tailEnd/>
          </a:ln>
        </p:spPr>
        <p:txBody>
          <a:bodyPr vert="horz" wrap="square" lIns="36000" tIns="0" rIns="36000" bIns="0" numCol="1" rtlCol="0" anchor="t" anchorCtr="0" compatLnSpc="1">
            <a:prstTxWarp prst="textNoShape">
              <a:avLst/>
            </a:prstTxWarp>
            <a:spAutoFit/>
          </a:bodyPr>
          <a:lstStyle>
            <a:defPPr>
              <a:defRPr lang="de-DE"/>
            </a:defPPr>
            <a:lvl1pPr marL="171450" indent="-171450" defTabSz="483635">
              <a:buClr>
                <a:schemeClr val="tx2"/>
              </a:buClr>
              <a:buFont typeface="Wingdings" panose="05000000000000000000" pitchFamily="2" charset="2"/>
              <a:buChar char="§"/>
              <a:defRPr sz="1000">
                <a:latin typeface="TeleGrotesk Next"/>
                <a:ea typeface="TeleGrotesk Next" pitchFamily="2" charset="0"/>
                <a:cs typeface="TeleGrotesk Next" pitchFamily="2" charset="0"/>
              </a:defRPr>
            </a:lvl1pPr>
            <a:lvl4pPr marL="180975" lvl="3" indent="-171450" defTabSz="483635">
              <a:lnSpc>
                <a:spcPct val="150000"/>
              </a:lnSpc>
              <a:buClr>
                <a:schemeClr val="tx2"/>
              </a:buClr>
              <a:buFont typeface="Symbol" panose="05050102010706020507" pitchFamily="18" charset="2"/>
              <a:buChar char="-"/>
              <a:defRPr sz="700">
                <a:solidFill>
                  <a:schemeClr val="accent6">
                    <a:lumMod val="50000"/>
                  </a:schemeClr>
                </a:solidFill>
                <a:latin typeface="FlexoSoft" panose="02000000000000000000" pitchFamily="2" charset="0"/>
                <a:cs typeface="Calibri Light" panose="020F0302020204030204" pitchFamily="34" charset="0"/>
              </a:defRPr>
            </a:lvl4pPr>
          </a:lstStyle>
          <a:p>
            <a:pPr lvl="3"/>
            <a:r>
              <a:rPr lang="en-US" sz="800"/>
              <a:t>Easy and fast setup.</a:t>
            </a:r>
          </a:p>
          <a:p>
            <a:pPr lvl="3"/>
            <a:r>
              <a:rPr lang="en-US" sz="800"/>
              <a:t>No bureaucratic and legal overhead costs for launch.</a:t>
            </a:r>
          </a:p>
          <a:p>
            <a:pPr lvl="3"/>
            <a:r>
              <a:rPr lang="en-US" sz="800"/>
              <a:t>Ideal for collaborative projects.</a:t>
            </a:r>
          </a:p>
          <a:p>
            <a:pPr lvl="3"/>
            <a:r>
              <a:rPr lang="en-US" sz="800"/>
              <a:t>Limited to the hosts rules and conditions.</a:t>
            </a:r>
          </a:p>
          <a:p>
            <a:pPr lvl="3"/>
            <a:r>
              <a:rPr lang="en-US" sz="800"/>
              <a:t>Does not provide the infrastructure for API development.</a:t>
            </a:r>
          </a:p>
        </p:txBody>
      </p:sp>
      <p:sp>
        <p:nvSpPr>
          <p:cNvPr id="7" name="Textfeld 6">
            <a:extLst>
              <a:ext uri="{FF2B5EF4-FFF2-40B4-BE49-F238E27FC236}">
                <a16:creationId xmlns:a16="http://schemas.microsoft.com/office/drawing/2014/main" id="{815457FB-DAC4-46F3-B5C8-3145BAA4C99D}"/>
              </a:ext>
            </a:extLst>
          </p:cNvPr>
          <p:cNvSpPr txBox="1"/>
          <p:nvPr/>
        </p:nvSpPr>
        <p:spPr bwMode="gray">
          <a:xfrm>
            <a:off x="5015273" y="831255"/>
            <a:ext cx="2988000" cy="241980"/>
          </a:xfrm>
          <a:prstGeom prst="rect">
            <a:avLst/>
          </a:prstGeom>
          <a:noFill/>
          <a:ln w="9525">
            <a:noFill/>
            <a:miter lim="800000"/>
            <a:headEnd/>
            <a:tailEnd/>
          </a:ln>
        </p:spPr>
        <p:txBody>
          <a:bodyPr vert="horz" wrap="square" lIns="36000" tIns="36000" rIns="36000" bIns="36000" numCol="1" rtlCol="0" anchor="ctr" anchorCtr="0" compatLnSpc="1">
            <a:prstTxWarp prst="textNoShape">
              <a:avLst/>
            </a:prstTxWarp>
            <a:spAutoFit/>
          </a:bodyPr>
          <a:lstStyle>
            <a:defPPr>
              <a:defRPr lang="de-DE"/>
            </a:defPPr>
            <a:lvl1pPr indent="0" algn="ctr" defTabSz="483635">
              <a:buClr>
                <a:schemeClr val="tx2"/>
              </a:buClr>
              <a:buFont typeface="Wingdings" panose="05000000000000000000" pitchFamily="2" charset="2"/>
              <a:buNone/>
              <a:defRPr sz="1050" b="1">
                <a:solidFill>
                  <a:schemeClr val="accent6">
                    <a:lumMod val="50000"/>
                  </a:schemeClr>
                </a:solidFill>
                <a:latin typeface="FlexoSoft" panose="02000000000000000000" pitchFamily="2" charset="0"/>
                <a:ea typeface="TeleGrotesk Next" pitchFamily="2" charset="0"/>
                <a:cs typeface="Calibri Light" panose="020F0302020204030204" pitchFamily="34" charset="0"/>
              </a:defRPr>
            </a:lvl1pPr>
          </a:lstStyle>
          <a:p>
            <a:r>
              <a:rPr lang="en-US" sz="1100"/>
              <a:t>GSMA</a:t>
            </a:r>
          </a:p>
        </p:txBody>
      </p:sp>
      <p:sp>
        <p:nvSpPr>
          <p:cNvPr id="8" name="Textfeld 7">
            <a:extLst>
              <a:ext uri="{FF2B5EF4-FFF2-40B4-BE49-F238E27FC236}">
                <a16:creationId xmlns:a16="http://schemas.microsoft.com/office/drawing/2014/main" id="{E8B077FF-0AFC-414D-9C27-745D0B3383D7}"/>
              </a:ext>
            </a:extLst>
          </p:cNvPr>
          <p:cNvSpPr txBox="1"/>
          <p:nvPr/>
        </p:nvSpPr>
        <p:spPr bwMode="gray">
          <a:xfrm>
            <a:off x="8155818" y="831255"/>
            <a:ext cx="2988000" cy="241980"/>
          </a:xfrm>
          <a:prstGeom prst="rect">
            <a:avLst/>
          </a:prstGeom>
          <a:noFill/>
          <a:ln w="9525">
            <a:noFill/>
            <a:miter lim="800000"/>
            <a:headEnd/>
            <a:tailEnd/>
          </a:ln>
        </p:spPr>
        <p:txBody>
          <a:bodyPr vert="horz" wrap="square" lIns="36000" tIns="36000" rIns="36000" bIns="36000" numCol="1" rtlCol="0" anchor="ctr" anchorCtr="0" compatLnSpc="1">
            <a:prstTxWarp prst="textNoShape">
              <a:avLst/>
            </a:prstTxWarp>
            <a:spAutoFit/>
          </a:bodyPr>
          <a:lstStyle>
            <a:defPPr>
              <a:defRPr lang="de-DE"/>
            </a:defPPr>
            <a:lvl1pPr marL="171450" indent="-171450" defTabSz="483635">
              <a:buClr>
                <a:schemeClr val="tx2"/>
              </a:buClr>
              <a:buFont typeface="Wingdings" panose="05000000000000000000" pitchFamily="2" charset="2"/>
              <a:buChar char="§"/>
              <a:defRPr sz="1000">
                <a:latin typeface="TeleGrotesk Next"/>
                <a:ea typeface="TeleGrotesk Next" pitchFamily="2" charset="0"/>
                <a:cs typeface="TeleGrotesk Next" pitchFamily="2" charset="0"/>
              </a:defRPr>
            </a:lvl1pPr>
          </a:lstStyle>
          <a:p>
            <a:pPr marL="0" indent="0" algn="ctr">
              <a:buNone/>
            </a:pPr>
            <a:r>
              <a:rPr lang="en-US" sz="1100" b="1">
                <a:solidFill>
                  <a:schemeClr val="accent6">
                    <a:lumMod val="50000"/>
                  </a:schemeClr>
                </a:solidFill>
                <a:latin typeface="FlexoSoft" panose="02000000000000000000" pitchFamily="2" charset="0"/>
                <a:cs typeface="Calibri Light" panose="020F0302020204030204" pitchFamily="34" charset="0"/>
              </a:rPr>
              <a:t>Hybrid Approach “CNCF &amp; GSMA”</a:t>
            </a:r>
          </a:p>
        </p:txBody>
      </p:sp>
      <p:sp>
        <p:nvSpPr>
          <p:cNvPr id="9" name="Textfeld 8">
            <a:extLst>
              <a:ext uri="{FF2B5EF4-FFF2-40B4-BE49-F238E27FC236}">
                <a16:creationId xmlns:a16="http://schemas.microsoft.com/office/drawing/2014/main" id="{D047B809-C088-453C-AD2E-D9AE6AF589E5}"/>
              </a:ext>
            </a:extLst>
          </p:cNvPr>
          <p:cNvSpPr txBox="1"/>
          <p:nvPr/>
        </p:nvSpPr>
        <p:spPr bwMode="gray">
          <a:xfrm>
            <a:off x="1869438" y="1268708"/>
            <a:ext cx="2988000" cy="531620"/>
          </a:xfrm>
          <a:prstGeom prst="rect">
            <a:avLst/>
          </a:prstGeom>
          <a:noFill/>
          <a:ln w="9525">
            <a:noFill/>
            <a:miter lim="800000"/>
            <a:headEnd/>
            <a:tailEnd/>
          </a:ln>
        </p:spPr>
        <p:txBody>
          <a:bodyPr vert="horz" wrap="square" lIns="36000" tIns="0" rIns="36000" bIns="0" numCol="1" rtlCol="0" anchor="t" anchorCtr="0" compatLnSpc="1">
            <a:prstTxWarp prst="textNoShape">
              <a:avLst/>
            </a:prstTxWarp>
            <a:spAutoFit/>
          </a:bodyPr>
          <a:lstStyle>
            <a:defPPr>
              <a:defRPr lang="de-DE"/>
            </a:defPPr>
            <a:lvl1pPr marL="171450" indent="-171450" defTabSz="483635">
              <a:buClr>
                <a:schemeClr val="tx2"/>
              </a:buClr>
              <a:buFont typeface="Wingdings" panose="05000000000000000000" pitchFamily="2" charset="2"/>
              <a:buChar char="§"/>
              <a:defRPr sz="1000">
                <a:latin typeface="TeleGrotesk Next"/>
                <a:ea typeface="TeleGrotesk Next" pitchFamily="2" charset="0"/>
                <a:cs typeface="TeleGrotesk Next" pitchFamily="2" charset="0"/>
              </a:defRPr>
            </a:lvl1pPr>
          </a:lstStyle>
          <a:p>
            <a:pPr marL="171450" lvl="2" indent="-171450" defTabSz="483635">
              <a:lnSpc>
                <a:spcPct val="150000"/>
              </a:lnSpc>
              <a:buClr>
                <a:schemeClr val="tx2"/>
              </a:buClr>
              <a:buFont typeface="Wingdings" panose="05000000000000000000" pitchFamily="2" charset="2"/>
              <a:buChar char="§"/>
            </a:pPr>
            <a:r>
              <a:rPr lang="en-US" sz="800">
                <a:solidFill>
                  <a:schemeClr val="accent6">
                    <a:lumMod val="50000"/>
                  </a:schemeClr>
                </a:solidFill>
                <a:latin typeface="FlexoSoft" panose="02000000000000000000" pitchFamily="2" charset="0"/>
                <a:cs typeface="Calibri Light" panose="020F0302020204030204" pitchFamily="34" charset="0"/>
              </a:rPr>
              <a:t>As an independent Foundation the Global API Alliance is able to create its own governance structure, operating model, rules and community.</a:t>
            </a:r>
          </a:p>
        </p:txBody>
      </p:sp>
      <p:sp>
        <p:nvSpPr>
          <p:cNvPr id="10" name="Textfeld 9">
            <a:extLst>
              <a:ext uri="{FF2B5EF4-FFF2-40B4-BE49-F238E27FC236}">
                <a16:creationId xmlns:a16="http://schemas.microsoft.com/office/drawing/2014/main" id="{97DE6419-60F7-406E-B451-8347EA077C22}"/>
              </a:ext>
            </a:extLst>
          </p:cNvPr>
          <p:cNvSpPr txBox="1"/>
          <p:nvPr/>
        </p:nvSpPr>
        <p:spPr bwMode="gray">
          <a:xfrm>
            <a:off x="5022989" y="1250603"/>
            <a:ext cx="2987335" cy="900952"/>
          </a:xfrm>
          <a:prstGeom prst="rect">
            <a:avLst/>
          </a:prstGeom>
          <a:noFill/>
          <a:ln w="9525">
            <a:noFill/>
            <a:miter lim="800000"/>
            <a:headEnd/>
            <a:tailEnd/>
          </a:ln>
        </p:spPr>
        <p:txBody>
          <a:bodyPr vert="horz" wrap="square" lIns="36000" tIns="0" rIns="36000" bIns="0" numCol="1" rtlCol="0" anchor="t" anchorCtr="0" compatLnSpc="1">
            <a:prstTxWarp prst="textNoShape">
              <a:avLst/>
            </a:prstTxWarp>
            <a:spAutoFit/>
          </a:bodyPr>
          <a:lstStyle>
            <a:defPPr>
              <a:defRPr lang="de-DE"/>
            </a:defPPr>
            <a:lvl1pPr marL="171450" indent="-171450" defTabSz="483635">
              <a:buClr>
                <a:schemeClr val="tx2"/>
              </a:buClr>
              <a:buFont typeface="Wingdings" panose="05000000000000000000" pitchFamily="2" charset="2"/>
              <a:buChar char="§"/>
              <a:defRPr sz="1000">
                <a:latin typeface="TeleGrotesk Next"/>
                <a:ea typeface="TeleGrotesk Next" pitchFamily="2" charset="0"/>
                <a:cs typeface="TeleGrotesk Next" pitchFamily="2" charset="0"/>
              </a:defRPr>
            </a:lvl1pPr>
            <a:lvl3pPr marL="171450" lvl="2" indent="-171450" defTabSz="483635">
              <a:lnSpc>
                <a:spcPct val="150000"/>
              </a:lnSpc>
              <a:spcBef>
                <a:spcPts val="600"/>
              </a:spcBef>
              <a:spcAft>
                <a:spcPts val="600"/>
              </a:spcAft>
              <a:buClr>
                <a:schemeClr val="tx2"/>
              </a:buClr>
              <a:buFont typeface="Wingdings" panose="05000000000000000000" pitchFamily="2" charset="2"/>
              <a:buChar char="§"/>
              <a:defRPr sz="800">
                <a:solidFill>
                  <a:schemeClr val="accent6">
                    <a:lumMod val="50000"/>
                  </a:schemeClr>
                </a:solidFill>
                <a:latin typeface="FlexoSoft" panose="02000000000000000000" pitchFamily="2" charset="0"/>
                <a:cs typeface="Calibri Light" panose="020F0302020204030204" pitchFamily="34" charset="0"/>
              </a:defRPr>
            </a:lvl3pPr>
          </a:lstStyle>
          <a:p>
            <a:pPr lvl="2">
              <a:spcBef>
                <a:spcPts val="0"/>
              </a:spcBef>
              <a:spcAft>
                <a:spcPts val="0"/>
              </a:spcAft>
            </a:pPr>
            <a:r>
              <a:rPr lang="en-US"/>
              <a:t>Objective: Facilitate collaborative projects driven and resourced by GSMA Members</a:t>
            </a:r>
          </a:p>
          <a:p>
            <a:pPr lvl="2">
              <a:spcBef>
                <a:spcPts val="0"/>
              </a:spcBef>
              <a:spcAft>
                <a:spcPts val="0"/>
              </a:spcAft>
            </a:pPr>
            <a:r>
              <a:rPr lang="en-US"/>
              <a:t>Activities are governed by the overall GSMA regulatory framework but not subject to the general rules of participation associated with other GSMA activities.</a:t>
            </a:r>
          </a:p>
        </p:txBody>
      </p:sp>
      <p:sp>
        <p:nvSpPr>
          <p:cNvPr id="11" name="Textfeld 10">
            <a:extLst>
              <a:ext uri="{FF2B5EF4-FFF2-40B4-BE49-F238E27FC236}">
                <a16:creationId xmlns:a16="http://schemas.microsoft.com/office/drawing/2014/main" id="{CEF70DA6-5BD0-4BF7-9156-5EFB09421F34}"/>
              </a:ext>
            </a:extLst>
          </p:cNvPr>
          <p:cNvSpPr txBox="1"/>
          <p:nvPr/>
        </p:nvSpPr>
        <p:spPr bwMode="gray">
          <a:xfrm>
            <a:off x="8155805" y="1262773"/>
            <a:ext cx="2988000" cy="1088952"/>
          </a:xfrm>
          <a:prstGeom prst="rect">
            <a:avLst/>
          </a:prstGeom>
          <a:noFill/>
          <a:ln w="9525">
            <a:noFill/>
            <a:miter lim="800000"/>
            <a:headEnd/>
            <a:tailEnd/>
          </a:ln>
        </p:spPr>
        <p:txBody>
          <a:bodyPr vert="horz" wrap="square" lIns="36000" tIns="0" rIns="36000" bIns="0" numCol="1" rtlCol="0" anchor="t" anchorCtr="0" compatLnSpc="1">
            <a:prstTxWarp prst="textNoShape">
              <a:avLst/>
            </a:prstTxWarp>
            <a:spAutoFit/>
          </a:bodyPr>
          <a:lstStyle>
            <a:defPPr>
              <a:defRPr lang="de-DE"/>
            </a:defPPr>
            <a:lvl1pPr marL="171450" indent="-171450" defTabSz="483635">
              <a:buClr>
                <a:schemeClr val="tx2"/>
              </a:buClr>
              <a:buFont typeface="Wingdings" panose="05000000000000000000" pitchFamily="2" charset="2"/>
              <a:buChar char="§"/>
              <a:defRPr sz="1000">
                <a:latin typeface="TeleGrotesk Next"/>
                <a:ea typeface="TeleGrotesk Next" pitchFamily="2" charset="0"/>
                <a:cs typeface="TeleGrotesk Next" pitchFamily="2" charset="0"/>
              </a:defRPr>
            </a:lvl1pPr>
          </a:lstStyle>
          <a:p>
            <a:pPr marL="171450" lvl="2" indent="-171450" defTabSz="483635">
              <a:lnSpc>
                <a:spcPct val="150000"/>
              </a:lnSpc>
              <a:buClr>
                <a:schemeClr val="tx2"/>
              </a:buClr>
              <a:buFont typeface="Wingdings" panose="05000000000000000000" pitchFamily="2" charset="2"/>
              <a:buChar char="§"/>
            </a:pPr>
            <a:r>
              <a:rPr lang="en-US" sz="800">
                <a:solidFill>
                  <a:schemeClr val="accent6">
                    <a:lumMod val="50000"/>
                  </a:schemeClr>
                </a:solidFill>
                <a:latin typeface="FlexoSoft" panose="02000000000000000000" pitchFamily="2" charset="0"/>
                <a:cs typeface="Calibri Light" panose="020F0302020204030204" pitchFamily="34" charset="0"/>
              </a:rPr>
              <a:t>The CNCF hosts critical components of the global technology infrastructure.</a:t>
            </a:r>
          </a:p>
          <a:p>
            <a:pPr marL="171450" lvl="2" indent="-171450" defTabSz="483635">
              <a:lnSpc>
                <a:spcPct val="150000"/>
              </a:lnSpc>
              <a:buClr>
                <a:schemeClr val="tx2"/>
              </a:buClr>
              <a:buFont typeface="Wingdings" panose="05000000000000000000" pitchFamily="2" charset="2"/>
              <a:buChar char="§"/>
            </a:pPr>
            <a:r>
              <a:rPr lang="en-US" sz="800">
                <a:solidFill>
                  <a:schemeClr val="accent6">
                    <a:lumMod val="50000"/>
                  </a:schemeClr>
                </a:solidFill>
                <a:latin typeface="FlexoSoft" panose="02000000000000000000" pitchFamily="2" charset="0"/>
                <a:cs typeface="Calibri Light" panose="020F0302020204030204" pitchFamily="34" charset="0"/>
              </a:rPr>
              <a:t>CNCF brings together the world’s top developers, end users, and vendors and runs the largest open-source developer conferences.</a:t>
            </a:r>
          </a:p>
          <a:p>
            <a:pPr marL="171450" lvl="2" indent="-171450" defTabSz="483635">
              <a:lnSpc>
                <a:spcPct val="150000"/>
              </a:lnSpc>
              <a:buClr>
                <a:schemeClr val="tx2"/>
              </a:buClr>
              <a:buFont typeface="Wingdings" panose="05000000000000000000" pitchFamily="2" charset="2"/>
              <a:buChar char="§"/>
            </a:pPr>
            <a:r>
              <a:rPr lang="en-US" sz="800">
                <a:solidFill>
                  <a:schemeClr val="accent6">
                    <a:lumMod val="50000"/>
                  </a:schemeClr>
                </a:solidFill>
                <a:latin typeface="FlexoSoft" panose="02000000000000000000" pitchFamily="2" charset="0"/>
                <a:cs typeface="Calibri Light" panose="020F0302020204030204" pitchFamily="34" charset="0"/>
              </a:rPr>
              <a:t>CNCF is part of the nonprofit Linux Foundation.</a:t>
            </a:r>
          </a:p>
          <a:p>
            <a:pPr marL="171450" lvl="2" indent="-171450" defTabSz="483635">
              <a:lnSpc>
                <a:spcPct val="150000"/>
              </a:lnSpc>
              <a:buClr>
                <a:schemeClr val="tx2"/>
              </a:buClr>
              <a:buFont typeface="Wingdings" panose="05000000000000000000" pitchFamily="2" charset="2"/>
              <a:buChar char="§"/>
            </a:pPr>
            <a:r>
              <a:rPr lang="en-US" sz="800">
                <a:solidFill>
                  <a:schemeClr val="accent6">
                    <a:lumMod val="50000"/>
                  </a:schemeClr>
                </a:solidFill>
                <a:latin typeface="FlexoSoft" panose="02000000000000000000" pitchFamily="2" charset="0"/>
                <a:cs typeface="Calibri Light" panose="020F0302020204030204" pitchFamily="34" charset="0"/>
              </a:rPr>
              <a:t>+ GSMA</a:t>
            </a:r>
          </a:p>
        </p:txBody>
      </p:sp>
      <p:cxnSp>
        <p:nvCxnSpPr>
          <p:cNvPr id="12" name="Gerader Verbinder 11">
            <a:extLst>
              <a:ext uri="{FF2B5EF4-FFF2-40B4-BE49-F238E27FC236}">
                <a16:creationId xmlns:a16="http://schemas.microsoft.com/office/drawing/2014/main" id="{F2ABF2E3-27D0-4AFE-8C99-948118881051}"/>
              </a:ext>
            </a:extLst>
          </p:cNvPr>
          <p:cNvCxnSpPr>
            <a:cxnSpLocks/>
          </p:cNvCxnSpPr>
          <p:nvPr/>
        </p:nvCxnSpPr>
        <p:spPr>
          <a:xfrm>
            <a:off x="8155805" y="1146086"/>
            <a:ext cx="2988000" cy="0"/>
          </a:xfrm>
          <a:prstGeom prst="line">
            <a:avLst/>
          </a:prstGeom>
          <a:ln w="28575" cap="rnd">
            <a:solidFill>
              <a:srgbClr val="00475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3" name="Gerader Verbinder 12">
            <a:extLst>
              <a:ext uri="{FF2B5EF4-FFF2-40B4-BE49-F238E27FC236}">
                <a16:creationId xmlns:a16="http://schemas.microsoft.com/office/drawing/2014/main" id="{FC31E06E-7B58-4FD1-A5C2-91783F7F40CD}"/>
              </a:ext>
            </a:extLst>
          </p:cNvPr>
          <p:cNvCxnSpPr>
            <a:cxnSpLocks/>
          </p:cNvCxnSpPr>
          <p:nvPr/>
        </p:nvCxnSpPr>
        <p:spPr>
          <a:xfrm>
            <a:off x="5015274" y="1146086"/>
            <a:ext cx="2988000" cy="0"/>
          </a:xfrm>
          <a:prstGeom prst="line">
            <a:avLst/>
          </a:prstGeom>
          <a:ln w="28575" cap="rnd">
            <a:solidFill>
              <a:srgbClr val="00475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4" name="Gerader Verbinder 13">
            <a:extLst>
              <a:ext uri="{FF2B5EF4-FFF2-40B4-BE49-F238E27FC236}">
                <a16:creationId xmlns:a16="http://schemas.microsoft.com/office/drawing/2014/main" id="{AD008356-661D-4161-A696-89B303CAF522}"/>
              </a:ext>
            </a:extLst>
          </p:cNvPr>
          <p:cNvCxnSpPr>
            <a:cxnSpLocks/>
          </p:cNvCxnSpPr>
          <p:nvPr/>
        </p:nvCxnSpPr>
        <p:spPr>
          <a:xfrm>
            <a:off x="1877438" y="1146086"/>
            <a:ext cx="2988000" cy="0"/>
          </a:xfrm>
          <a:prstGeom prst="line">
            <a:avLst/>
          </a:prstGeom>
          <a:ln w="28575" cap="rnd">
            <a:solidFill>
              <a:srgbClr val="00475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Textfeld 14">
            <a:extLst>
              <a:ext uri="{FF2B5EF4-FFF2-40B4-BE49-F238E27FC236}">
                <a16:creationId xmlns:a16="http://schemas.microsoft.com/office/drawing/2014/main" id="{2BCBD105-077E-4EBA-BC9D-6FD472EE80C7}"/>
              </a:ext>
            </a:extLst>
          </p:cNvPr>
          <p:cNvSpPr txBox="1"/>
          <p:nvPr/>
        </p:nvSpPr>
        <p:spPr bwMode="gray">
          <a:xfrm>
            <a:off x="376656" y="3018592"/>
            <a:ext cx="1369896" cy="216645"/>
          </a:xfrm>
          <a:prstGeom prst="roundRect">
            <a:avLst/>
          </a:prstGeom>
          <a:solidFill>
            <a:srgbClr val="002060">
              <a:alpha val="5098"/>
            </a:srgbClr>
          </a:solidFill>
          <a:ln w="9525">
            <a:noFill/>
            <a:miter lim="800000"/>
            <a:headEnd/>
            <a:tailEnd/>
          </a:ln>
        </p:spPr>
        <p:txBody>
          <a:bodyPr vert="horz" wrap="square" lIns="36000" tIns="36000" rIns="36000" bIns="36000" numCol="1" rtlCol="0" anchor="t" anchorCtr="0" compatLnSpc="1">
            <a:prstTxWarp prst="textNoShape">
              <a:avLst/>
            </a:prstTxWarp>
            <a:spAutoFit/>
          </a:bodyPr>
          <a:lstStyle>
            <a:defPPr>
              <a:defRPr lang="de-DE"/>
            </a:defPPr>
            <a:lvl1pPr marL="171450" indent="-171450" defTabSz="483635">
              <a:buClr>
                <a:schemeClr val="tx2"/>
              </a:buClr>
              <a:buFont typeface="Wingdings" panose="05000000000000000000" pitchFamily="2" charset="2"/>
              <a:buChar char="§"/>
              <a:defRPr sz="1000">
                <a:latin typeface="TeleGrotesk Next"/>
                <a:ea typeface="TeleGrotesk Next" pitchFamily="2" charset="0"/>
                <a:cs typeface="TeleGrotesk Next" pitchFamily="2" charset="0"/>
              </a:defRPr>
            </a:lvl1pPr>
          </a:lstStyle>
          <a:p>
            <a:pPr marL="9525" lvl="3" defTabSz="483635">
              <a:buClr>
                <a:schemeClr val="tx2"/>
              </a:buClr>
            </a:pPr>
            <a:r>
              <a:rPr lang="en-US" sz="800" b="1">
                <a:solidFill>
                  <a:schemeClr val="accent6">
                    <a:lumMod val="50000"/>
                  </a:schemeClr>
                </a:solidFill>
                <a:latin typeface="FlexoSoft" panose="02000000000000000000" pitchFamily="2" charset="0"/>
                <a:cs typeface="Calibri Light" panose="020F0302020204030204" pitchFamily="34" charset="0"/>
              </a:rPr>
              <a:t>Steering and Gov. Bodies</a:t>
            </a:r>
          </a:p>
        </p:txBody>
      </p:sp>
      <p:sp>
        <p:nvSpPr>
          <p:cNvPr id="16" name="Textfeld 15">
            <a:extLst>
              <a:ext uri="{FF2B5EF4-FFF2-40B4-BE49-F238E27FC236}">
                <a16:creationId xmlns:a16="http://schemas.microsoft.com/office/drawing/2014/main" id="{304F80AD-6C69-4194-9BC0-58CC2E9D1B92}"/>
              </a:ext>
            </a:extLst>
          </p:cNvPr>
          <p:cNvSpPr txBox="1"/>
          <p:nvPr/>
        </p:nvSpPr>
        <p:spPr bwMode="gray">
          <a:xfrm>
            <a:off x="376656" y="3314557"/>
            <a:ext cx="1372766" cy="216645"/>
          </a:xfrm>
          <a:prstGeom prst="roundRect">
            <a:avLst/>
          </a:prstGeom>
          <a:solidFill>
            <a:srgbClr val="002060">
              <a:alpha val="5098"/>
            </a:srgbClr>
          </a:solidFill>
          <a:ln w="9525">
            <a:noFill/>
            <a:miter lim="800000"/>
            <a:headEnd/>
            <a:tailEnd/>
          </a:ln>
        </p:spPr>
        <p:txBody>
          <a:bodyPr vert="horz" wrap="square" lIns="36000" tIns="36000" rIns="36000" bIns="36000" numCol="1" rtlCol="0" anchor="t" anchorCtr="0" compatLnSpc="1">
            <a:prstTxWarp prst="textNoShape">
              <a:avLst/>
            </a:prstTxWarp>
            <a:spAutoFit/>
          </a:bodyPr>
          <a:lstStyle>
            <a:defPPr>
              <a:defRPr lang="de-DE"/>
            </a:defPPr>
            <a:lvl1pPr marL="171450" indent="-171450" defTabSz="483635">
              <a:buClr>
                <a:schemeClr val="tx2"/>
              </a:buClr>
              <a:buFont typeface="Wingdings" panose="05000000000000000000" pitchFamily="2" charset="2"/>
              <a:buChar char="§"/>
              <a:defRPr sz="1000">
                <a:latin typeface="TeleGrotesk Next"/>
                <a:ea typeface="TeleGrotesk Next" pitchFamily="2" charset="0"/>
                <a:cs typeface="TeleGrotesk Next" pitchFamily="2" charset="0"/>
              </a:defRPr>
            </a:lvl1pPr>
          </a:lstStyle>
          <a:p>
            <a:pPr marL="9525" lvl="3" defTabSz="483635">
              <a:buClr>
                <a:schemeClr val="tx2"/>
              </a:buClr>
            </a:pPr>
            <a:r>
              <a:rPr lang="en-US" sz="800" b="1">
                <a:solidFill>
                  <a:schemeClr val="accent6">
                    <a:lumMod val="50000"/>
                  </a:schemeClr>
                </a:solidFill>
                <a:latin typeface="FlexoSoft" panose="02000000000000000000" pitchFamily="2" charset="0"/>
                <a:cs typeface="Calibri Light" panose="020F0302020204030204" pitchFamily="34" charset="0"/>
              </a:rPr>
              <a:t>Regulatory Guidance</a:t>
            </a:r>
          </a:p>
        </p:txBody>
      </p:sp>
      <p:sp>
        <p:nvSpPr>
          <p:cNvPr id="17" name="Textfeld 16">
            <a:extLst>
              <a:ext uri="{FF2B5EF4-FFF2-40B4-BE49-F238E27FC236}">
                <a16:creationId xmlns:a16="http://schemas.microsoft.com/office/drawing/2014/main" id="{04A5B744-A4C5-46E5-A00C-C965208CF174}"/>
              </a:ext>
            </a:extLst>
          </p:cNvPr>
          <p:cNvSpPr txBox="1"/>
          <p:nvPr/>
        </p:nvSpPr>
        <p:spPr bwMode="gray">
          <a:xfrm>
            <a:off x="376656" y="3610522"/>
            <a:ext cx="1372766" cy="216645"/>
          </a:xfrm>
          <a:prstGeom prst="roundRect">
            <a:avLst/>
          </a:prstGeom>
          <a:solidFill>
            <a:srgbClr val="002060">
              <a:alpha val="5098"/>
            </a:srgbClr>
          </a:solidFill>
          <a:ln w="9525">
            <a:noFill/>
            <a:miter lim="800000"/>
            <a:headEnd/>
            <a:tailEnd/>
          </a:ln>
        </p:spPr>
        <p:txBody>
          <a:bodyPr vert="horz" wrap="square" lIns="36000" tIns="36000" rIns="36000" bIns="36000" numCol="1" rtlCol="0" anchor="t" anchorCtr="0" compatLnSpc="1">
            <a:prstTxWarp prst="textNoShape">
              <a:avLst/>
            </a:prstTxWarp>
            <a:spAutoFit/>
          </a:bodyPr>
          <a:lstStyle>
            <a:defPPr>
              <a:defRPr lang="de-DE"/>
            </a:defPPr>
            <a:lvl1pPr marL="171450" indent="-171450" defTabSz="483635">
              <a:buClr>
                <a:schemeClr val="tx2"/>
              </a:buClr>
              <a:buFont typeface="Wingdings" panose="05000000000000000000" pitchFamily="2" charset="2"/>
              <a:buChar char="§"/>
              <a:defRPr sz="1000">
                <a:latin typeface="TeleGrotesk Next"/>
                <a:ea typeface="TeleGrotesk Next" pitchFamily="2" charset="0"/>
                <a:cs typeface="TeleGrotesk Next" pitchFamily="2" charset="0"/>
              </a:defRPr>
            </a:lvl1pPr>
          </a:lstStyle>
          <a:p>
            <a:pPr marL="9525" lvl="3" defTabSz="483635">
              <a:buClr>
                <a:schemeClr val="tx2"/>
              </a:buClr>
            </a:pPr>
            <a:r>
              <a:rPr lang="en-US" sz="800" b="1">
                <a:solidFill>
                  <a:schemeClr val="accent6">
                    <a:lumMod val="50000"/>
                  </a:schemeClr>
                </a:solidFill>
                <a:latin typeface="FlexoSoft" panose="02000000000000000000" pitchFamily="2" charset="0"/>
                <a:cs typeface="Calibri Light" panose="020F0302020204030204" pitchFamily="34" charset="0"/>
              </a:rPr>
              <a:t>Open-Source Development</a:t>
            </a:r>
          </a:p>
        </p:txBody>
      </p:sp>
      <p:sp>
        <p:nvSpPr>
          <p:cNvPr id="20" name="Textfeld 19">
            <a:extLst>
              <a:ext uri="{FF2B5EF4-FFF2-40B4-BE49-F238E27FC236}">
                <a16:creationId xmlns:a16="http://schemas.microsoft.com/office/drawing/2014/main" id="{D1A41447-9FDD-48BD-89C6-399CE8872280}"/>
              </a:ext>
            </a:extLst>
          </p:cNvPr>
          <p:cNvSpPr txBox="1"/>
          <p:nvPr/>
        </p:nvSpPr>
        <p:spPr bwMode="gray">
          <a:xfrm>
            <a:off x="376656" y="3906487"/>
            <a:ext cx="1375634" cy="216645"/>
          </a:xfrm>
          <a:prstGeom prst="roundRect">
            <a:avLst/>
          </a:prstGeom>
          <a:solidFill>
            <a:srgbClr val="002060">
              <a:alpha val="5098"/>
            </a:srgbClr>
          </a:solidFill>
          <a:ln w="9525">
            <a:noFill/>
            <a:miter lim="800000"/>
            <a:headEnd/>
            <a:tailEnd/>
          </a:ln>
        </p:spPr>
        <p:txBody>
          <a:bodyPr vert="horz" wrap="square" lIns="36000" tIns="36000" rIns="36000" bIns="36000" numCol="1" rtlCol="0" anchor="t" anchorCtr="0" compatLnSpc="1">
            <a:prstTxWarp prst="textNoShape">
              <a:avLst/>
            </a:prstTxWarp>
            <a:spAutoFit/>
          </a:bodyPr>
          <a:lstStyle>
            <a:defPPr>
              <a:defRPr lang="de-DE"/>
            </a:defPPr>
            <a:lvl1pPr marL="171450" indent="-171450" defTabSz="483635">
              <a:buClr>
                <a:schemeClr val="tx2"/>
              </a:buClr>
              <a:buFont typeface="Wingdings" panose="05000000000000000000" pitchFamily="2" charset="2"/>
              <a:buChar char="§"/>
              <a:defRPr sz="1000">
                <a:latin typeface="TeleGrotesk Next"/>
                <a:ea typeface="TeleGrotesk Next" pitchFamily="2" charset="0"/>
                <a:cs typeface="TeleGrotesk Next" pitchFamily="2" charset="0"/>
              </a:defRPr>
            </a:lvl1pPr>
          </a:lstStyle>
          <a:p>
            <a:pPr marL="9525" lvl="3" defTabSz="483635">
              <a:buClr>
                <a:schemeClr val="tx2"/>
              </a:buClr>
            </a:pPr>
            <a:r>
              <a:rPr lang="en-US" sz="800" b="1">
                <a:solidFill>
                  <a:schemeClr val="accent6">
                    <a:lumMod val="50000"/>
                  </a:schemeClr>
                </a:solidFill>
                <a:latin typeface="FlexoSoft" panose="02000000000000000000" pitchFamily="2" charset="0"/>
                <a:cs typeface="Calibri Light" panose="020F0302020204030204" pitchFamily="34" charset="0"/>
              </a:rPr>
              <a:t>Marketing</a:t>
            </a:r>
          </a:p>
        </p:txBody>
      </p:sp>
      <p:cxnSp>
        <p:nvCxnSpPr>
          <p:cNvPr id="21" name="Gerader Verbinder 20">
            <a:extLst>
              <a:ext uri="{FF2B5EF4-FFF2-40B4-BE49-F238E27FC236}">
                <a16:creationId xmlns:a16="http://schemas.microsoft.com/office/drawing/2014/main" id="{9B7F3BE7-FEC0-4933-95C2-1FDB06A1A3E2}"/>
              </a:ext>
            </a:extLst>
          </p:cNvPr>
          <p:cNvCxnSpPr>
            <a:cxnSpLocks/>
          </p:cNvCxnSpPr>
          <p:nvPr/>
        </p:nvCxnSpPr>
        <p:spPr>
          <a:xfrm flipV="1">
            <a:off x="4935961" y="883219"/>
            <a:ext cx="0" cy="5203925"/>
          </a:xfrm>
          <a:prstGeom prst="line">
            <a:avLst/>
          </a:prstGeom>
          <a:ln w="12700" cap="rnd">
            <a:solidFill>
              <a:schemeClr val="tx2">
                <a:lumMod val="10000"/>
                <a:lumOff val="90000"/>
              </a:schemeClr>
            </a:solidFill>
            <a:prstDash val="solid"/>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0" name="Textfeld 29">
            <a:extLst>
              <a:ext uri="{FF2B5EF4-FFF2-40B4-BE49-F238E27FC236}">
                <a16:creationId xmlns:a16="http://schemas.microsoft.com/office/drawing/2014/main" id="{75066390-386C-4B6E-876F-F84822F8A27A}"/>
              </a:ext>
            </a:extLst>
          </p:cNvPr>
          <p:cNvSpPr txBox="1"/>
          <p:nvPr/>
        </p:nvSpPr>
        <p:spPr bwMode="gray">
          <a:xfrm>
            <a:off x="376656" y="5090346"/>
            <a:ext cx="1375634" cy="996798"/>
          </a:xfrm>
          <a:prstGeom prst="roundRect">
            <a:avLst>
              <a:gd name="adj" fmla="val 6804"/>
            </a:avLst>
          </a:prstGeom>
          <a:solidFill>
            <a:srgbClr val="002060">
              <a:alpha val="5098"/>
            </a:srgbClr>
          </a:solidFill>
          <a:ln w="9525">
            <a:noFill/>
            <a:miter lim="800000"/>
            <a:headEnd/>
            <a:tailEnd/>
          </a:ln>
        </p:spPr>
        <p:txBody>
          <a:bodyPr vert="horz" wrap="square" lIns="36000" tIns="72000" rIns="36000" bIns="72000" numCol="1" rtlCol="0" anchor="ctr" anchorCtr="0" compatLnSpc="1">
            <a:prstTxWarp prst="textNoShape">
              <a:avLst/>
            </a:prstTxWarp>
            <a:noAutofit/>
          </a:bodyPr>
          <a:lstStyle>
            <a:defPPr>
              <a:defRPr lang="de-DE"/>
            </a:defPPr>
            <a:lvl1pPr marL="171450" indent="-171450" defTabSz="483635">
              <a:buClr>
                <a:schemeClr val="tx2"/>
              </a:buClr>
              <a:buFont typeface="Wingdings" panose="05000000000000000000" pitchFamily="2" charset="2"/>
              <a:buChar char="§"/>
              <a:defRPr sz="1000">
                <a:latin typeface="TeleGrotesk Next"/>
                <a:ea typeface="TeleGrotesk Next" pitchFamily="2" charset="0"/>
                <a:cs typeface="TeleGrotesk Next" pitchFamily="2" charset="0"/>
              </a:defRPr>
            </a:lvl1pPr>
          </a:lstStyle>
          <a:p>
            <a:pPr marL="9525" lvl="3" defTabSz="483635">
              <a:buClr>
                <a:schemeClr val="tx2"/>
              </a:buClr>
            </a:pPr>
            <a:r>
              <a:rPr lang="en-US" sz="800" b="1">
                <a:solidFill>
                  <a:schemeClr val="accent6">
                    <a:lumMod val="50000"/>
                  </a:schemeClr>
                </a:solidFill>
                <a:latin typeface="FlexoSoft" panose="02000000000000000000" pitchFamily="2" charset="0"/>
                <a:cs typeface="Calibri Light" panose="020F0302020204030204" pitchFamily="34" charset="0"/>
              </a:rPr>
              <a:t>Pros &amp; Cons</a:t>
            </a:r>
          </a:p>
        </p:txBody>
      </p:sp>
      <p:cxnSp>
        <p:nvCxnSpPr>
          <p:cNvPr id="31" name="Gerader Verbinder 30">
            <a:extLst>
              <a:ext uri="{FF2B5EF4-FFF2-40B4-BE49-F238E27FC236}">
                <a16:creationId xmlns:a16="http://schemas.microsoft.com/office/drawing/2014/main" id="{51826E0D-C41E-4B47-B303-21CEF8DCBE5D}"/>
              </a:ext>
            </a:extLst>
          </p:cNvPr>
          <p:cNvCxnSpPr>
            <a:cxnSpLocks/>
          </p:cNvCxnSpPr>
          <p:nvPr/>
        </p:nvCxnSpPr>
        <p:spPr>
          <a:xfrm flipV="1">
            <a:off x="8073856" y="874509"/>
            <a:ext cx="0" cy="5212635"/>
          </a:xfrm>
          <a:prstGeom prst="line">
            <a:avLst/>
          </a:prstGeom>
          <a:ln w="12700" cap="rnd">
            <a:solidFill>
              <a:schemeClr val="tx2">
                <a:lumMod val="10000"/>
                <a:lumOff val="90000"/>
              </a:schemeClr>
            </a:solidFill>
            <a:prstDash val="solid"/>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2" name="Straight Connector 4">
            <a:extLst>
              <a:ext uri="{FF2B5EF4-FFF2-40B4-BE49-F238E27FC236}">
                <a16:creationId xmlns:a16="http://schemas.microsoft.com/office/drawing/2014/main" id="{2178692B-6AE8-44F9-8A93-104B7F2FB145}"/>
              </a:ext>
            </a:extLst>
          </p:cNvPr>
          <p:cNvCxnSpPr>
            <a:cxnSpLocks/>
          </p:cNvCxnSpPr>
          <p:nvPr/>
        </p:nvCxnSpPr>
        <p:spPr>
          <a:xfrm>
            <a:off x="9616501" y="2629757"/>
            <a:ext cx="525" cy="2461267"/>
          </a:xfrm>
          <a:prstGeom prst="line">
            <a:avLst/>
          </a:prstGeom>
          <a:ln w="12700">
            <a:solidFill>
              <a:schemeClr val="bg1">
                <a:lumMod val="85000"/>
              </a:schemeClr>
            </a:solidFill>
            <a:prstDash val="dash"/>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7" name="Textfeld 56">
            <a:extLst>
              <a:ext uri="{FF2B5EF4-FFF2-40B4-BE49-F238E27FC236}">
                <a16:creationId xmlns:a16="http://schemas.microsoft.com/office/drawing/2014/main" id="{CB2EEA5B-3A19-49E9-9D04-EDCC171AF40C}"/>
              </a:ext>
            </a:extLst>
          </p:cNvPr>
          <p:cNvSpPr txBox="1"/>
          <p:nvPr/>
        </p:nvSpPr>
        <p:spPr bwMode="gray">
          <a:xfrm>
            <a:off x="9690529" y="2623851"/>
            <a:ext cx="1296000" cy="233671"/>
          </a:xfrm>
          <a:prstGeom prst="roundRect">
            <a:avLst/>
          </a:prstGeom>
          <a:solidFill>
            <a:srgbClr val="002060">
              <a:alpha val="10196"/>
            </a:srgbClr>
          </a:solidFill>
          <a:ln w="28575">
            <a:solidFill>
              <a:schemeClr val="bg1"/>
            </a:solidFill>
            <a:prstDash val="solid"/>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vert="horz" wrap="square" lIns="36000" tIns="36000" rIns="36000" bIns="36000" numCol="1" rtlCol="0" anchor="ctr" anchorCtr="0" compatLnSpc="1">
            <a:prstTxWarp prst="textNoShape">
              <a:avLst/>
            </a:prstTxWarp>
            <a:spAutoFit/>
          </a:bodyPr>
          <a:lstStyle>
            <a:defPPr>
              <a:defRPr lang="de-DE"/>
            </a:defPPr>
            <a:lvl1pPr indent="0" algn="ctr" defTabSz="483635">
              <a:lnSpc>
                <a:spcPct val="100000"/>
              </a:lnSpc>
              <a:buClr>
                <a:schemeClr val="tx2"/>
              </a:buClr>
              <a:buFont typeface="Wingdings" panose="05000000000000000000" pitchFamily="2" charset="2"/>
              <a:buNone/>
              <a:defRPr sz="1100" b="1">
                <a:solidFill>
                  <a:srgbClr val="004750"/>
                </a:solidFill>
                <a:latin typeface="FlexoSoft" panose="02000000000000000000" pitchFamily="2" charset="0"/>
                <a:cs typeface="Calibri Light" panose="020F0302020204030204" pitchFamily="34" charset="0"/>
              </a:defRPr>
            </a:lvl1pPr>
          </a:lstStyle>
          <a:p>
            <a:r>
              <a:rPr lang="en-US" sz="900"/>
              <a:t>CNCF</a:t>
            </a:r>
            <a:endParaRPr lang="en-US" sz="500" b="0"/>
          </a:p>
        </p:txBody>
      </p:sp>
      <p:sp>
        <p:nvSpPr>
          <p:cNvPr id="58" name="Textfeld 57">
            <a:extLst>
              <a:ext uri="{FF2B5EF4-FFF2-40B4-BE49-F238E27FC236}">
                <a16:creationId xmlns:a16="http://schemas.microsoft.com/office/drawing/2014/main" id="{F5AA750D-7761-4175-95AF-DDE25498C725}"/>
              </a:ext>
            </a:extLst>
          </p:cNvPr>
          <p:cNvSpPr txBox="1"/>
          <p:nvPr/>
        </p:nvSpPr>
        <p:spPr bwMode="gray">
          <a:xfrm>
            <a:off x="8221421" y="2623851"/>
            <a:ext cx="1296000" cy="233671"/>
          </a:xfrm>
          <a:prstGeom prst="roundRect">
            <a:avLst/>
          </a:prstGeom>
          <a:solidFill>
            <a:srgbClr val="FF0000">
              <a:alpha val="10196"/>
            </a:srgbClr>
          </a:solidFill>
          <a:ln w="28575">
            <a:solidFill>
              <a:schemeClr val="bg1"/>
            </a:solidFill>
            <a:prstDash val="solid"/>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vert="horz" wrap="square" lIns="36000" tIns="36000" rIns="36000" bIns="36000" numCol="1" rtlCol="0" anchor="ctr" anchorCtr="0" compatLnSpc="1">
            <a:prstTxWarp prst="textNoShape">
              <a:avLst/>
            </a:prstTxWarp>
            <a:spAutoFit/>
          </a:bodyPr>
          <a:lstStyle>
            <a:defPPr>
              <a:defRPr lang="de-DE"/>
            </a:defPPr>
            <a:lvl1pPr indent="0" algn="ctr" defTabSz="483635">
              <a:lnSpc>
                <a:spcPct val="100000"/>
              </a:lnSpc>
              <a:buClr>
                <a:schemeClr val="tx2"/>
              </a:buClr>
              <a:buFont typeface="Wingdings" panose="05000000000000000000" pitchFamily="2" charset="2"/>
              <a:buNone/>
              <a:defRPr sz="1100" b="1">
                <a:solidFill>
                  <a:srgbClr val="004750"/>
                </a:solidFill>
                <a:latin typeface="FlexoSoft" panose="02000000000000000000" pitchFamily="2" charset="0"/>
                <a:cs typeface="Calibri Light" panose="020F0302020204030204" pitchFamily="34" charset="0"/>
              </a:defRPr>
            </a:lvl1pPr>
          </a:lstStyle>
          <a:p>
            <a:r>
              <a:rPr lang="en-US" sz="900"/>
              <a:t>GSMA</a:t>
            </a:r>
          </a:p>
        </p:txBody>
      </p:sp>
      <p:grpSp>
        <p:nvGrpSpPr>
          <p:cNvPr id="43" name="Gruppieren 42">
            <a:extLst>
              <a:ext uri="{FF2B5EF4-FFF2-40B4-BE49-F238E27FC236}">
                <a16:creationId xmlns:a16="http://schemas.microsoft.com/office/drawing/2014/main" id="{50B4BB1F-5A38-480F-BBF1-9589ADA0ECC9}"/>
              </a:ext>
            </a:extLst>
          </p:cNvPr>
          <p:cNvGrpSpPr/>
          <p:nvPr/>
        </p:nvGrpSpPr>
        <p:grpSpPr>
          <a:xfrm>
            <a:off x="3209469" y="3037982"/>
            <a:ext cx="7236291" cy="176434"/>
            <a:chOff x="3177939" y="3009846"/>
            <a:chExt cx="7236291" cy="176434"/>
          </a:xfrm>
        </p:grpSpPr>
        <p:pic>
          <p:nvPicPr>
            <p:cNvPr id="73" name="Grafik 72">
              <a:extLst>
                <a:ext uri="{FF2B5EF4-FFF2-40B4-BE49-F238E27FC236}">
                  <a16:creationId xmlns:a16="http://schemas.microsoft.com/office/drawing/2014/main" id="{3AD12445-8348-46E8-BA24-8AC4790A91BB}"/>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6269" b="26222"/>
            <a:stretch/>
          </p:blipFill>
          <p:spPr>
            <a:xfrm>
              <a:off x="10247406" y="3027674"/>
              <a:ext cx="166824" cy="140778"/>
            </a:xfrm>
            <a:prstGeom prst="rect">
              <a:avLst/>
            </a:prstGeom>
          </p:spPr>
        </p:pic>
        <p:pic>
          <p:nvPicPr>
            <p:cNvPr id="74" name="Grafik 73">
              <a:extLst>
                <a:ext uri="{FF2B5EF4-FFF2-40B4-BE49-F238E27FC236}">
                  <a16:creationId xmlns:a16="http://schemas.microsoft.com/office/drawing/2014/main" id="{D57B6507-8A4E-48AF-8107-FFDA4995444A}"/>
                </a:ext>
              </a:extLst>
            </p:cNvPr>
            <p:cNvPicPr>
              <a:picLocks noChangeAspect="1"/>
            </p:cNvPicPr>
            <p:nvPr/>
          </p:nvPicPr>
          <p:blipFill rotWithShape="1">
            <a:blip r:embed="rId2">
              <a:extLst>
                <a:ext uri="{96DAC541-7B7A-43D3-8B79-37D633B846F1}">
                  <asvg:svgBlip xmlns:asvg="http://schemas.microsoft.com/office/drawing/2016/SVG/main" r:embed="rId4"/>
                </a:ext>
              </a:extLst>
            </a:blip>
            <a:srcRect t="6269" b="26222"/>
            <a:stretch/>
          </p:blipFill>
          <p:spPr>
            <a:xfrm>
              <a:off x="6413869" y="3027674"/>
              <a:ext cx="166824" cy="140778"/>
            </a:xfrm>
            <a:prstGeom prst="rect">
              <a:avLst/>
            </a:prstGeom>
          </p:spPr>
        </p:pic>
        <p:pic>
          <p:nvPicPr>
            <p:cNvPr id="75" name="Grafik 74">
              <a:extLst>
                <a:ext uri="{FF2B5EF4-FFF2-40B4-BE49-F238E27FC236}">
                  <a16:creationId xmlns:a16="http://schemas.microsoft.com/office/drawing/2014/main" id="{19EB195E-A92E-429C-83BF-A470CCE193D8}"/>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6269" b="26222"/>
            <a:stretch/>
          </p:blipFill>
          <p:spPr>
            <a:xfrm>
              <a:off x="8774726" y="3027674"/>
              <a:ext cx="166824" cy="140778"/>
            </a:xfrm>
            <a:prstGeom prst="rect">
              <a:avLst/>
            </a:prstGeom>
          </p:spPr>
        </p:pic>
        <p:pic>
          <p:nvPicPr>
            <p:cNvPr id="83" name="Grafik 82">
              <a:extLst>
                <a:ext uri="{FF2B5EF4-FFF2-40B4-BE49-F238E27FC236}">
                  <a16:creationId xmlns:a16="http://schemas.microsoft.com/office/drawing/2014/main" id="{99FDBE7C-D13E-4312-AC1C-44EF96C88E79}"/>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b="19600"/>
            <a:stretch/>
          </p:blipFill>
          <p:spPr>
            <a:xfrm>
              <a:off x="3177939" y="3009846"/>
              <a:ext cx="114494" cy="176434"/>
            </a:xfrm>
            <a:prstGeom prst="rect">
              <a:avLst/>
            </a:prstGeom>
          </p:spPr>
        </p:pic>
      </p:grpSp>
      <p:grpSp>
        <p:nvGrpSpPr>
          <p:cNvPr id="104" name="Gruppieren 103">
            <a:extLst>
              <a:ext uri="{FF2B5EF4-FFF2-40B4-BE49-F238E27FC236}">
                <a16:creationId xmlns:a16="http://schemas.microsoft.com/office/drawing/2014/main" id="{B19437FA-187B-4983-85D6-D17C9C5C5D5C}"/>
              </a:ext>
            </a:extLst>
          </p:cNvPr>
          <p:cNvGrpSpPr/>
          <p:nvPr/>
        </p:nvGrpSpPr>
        <p:grpSpPr>
          <a:xfrm>
            <a:off x="3209469" y="3926247"/>
            <a:ext cx="7236291" cy="176434"/>
            <a:chOff x="3177939" y="3905145"/>
            <a:chExt cx="7236291" cy="176434"/>
          </a:xfrm>
        </p:grpSpPr>
        <p:pic>
          <p:nvPicPr>
            <p:cNvPr id="68" name="Grafik 67">
              <a:extLst>
                <a:ext uri="{FF2B5EF4-FFF2-40B4-BE49-F238E27FC236}">
                  <a16:creationId xmlns:a16="http://schemas.microsoft.com/office/drawing/2014/main" id="{1DE4BEE4-FC37-4943-9428-B4DE705BA58D}"/>
                </a:ext>
              </a:extLst>
            </p:cNvPr>
            <p:cNvPicPr>
              <a:picLocks noChangeAspect="1"/>
            </p:cNvPicPr>
            <p:nvPr/>
          </p:nvPicPr>
          <p:blipFill rotWithShape="1">
            <a:blip r:embed="rId2">
              <a:extLst>
                <a:ext uri="{96DAC541-7B7A-43D3-8B79-37D633B846F1}">
                  <asvg:svgBlip xmlns:asvg="http://schemas.microsoft.com/office/drawing/2016/SVG/main" r:embed="rId4"/>
                </a:ext>
              </a:extLst>
            </a:blip>
            <a:srcRect t="6269" b="26222"/>
            <a:stretch/>
          </p:blipFill>
          <p:spPr>
            <a:xfrm>
              <a:off x="6413869" y="3922973"/>
              <a:ext cx="166824" cy="140778"/>
            </a:xfrm>
            <a:prstGeom prst="rect">
              <a:avLst/>
            </a:prstGeom>
          </p:spPr>
        </p:pic>
        <p:pic>
          <p:nvPicPr>
            <p:cNvPr id="80" name="Grafik 79">
              <a:extLst>
                <a:ext uri="{FF2B5EF4-FFF2-40B4-BE49-F238E27FC236}">
                  <a16:creationId xmlns:a16="http://schemas.microsoft.com/office/drawing/2014/main" id="{123E8085-B244-4070-9010-0BEC0A5FD78A}"/>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b="19600"/>
            <a:stretch/>
          </p:blipFill>
          <p:spPr>
            <a:xfrm>
              <a:off x="3177939" y="3905145"/>
              <a:ext cx="114494" cy="176434"/>
            </a:xfrm>
            <a:prstGeom prst="rect">
              <a:avLst/>
            </a:prstGeom>
          </p:spPr>
        </p:pic>
        <p:pic>
          <p:nvPicPr>
            <p:cNvPr id="84" name="Grafik 83">
              <a:extLst>
                <a:ext uri="{FF2B5EF4-FFF2-40B4-BE49-F238E27FC236}">
                  <a16:creationId xmlns:a16="http://schemas.microsoft.com/office/drawing/2014/main" id="{36F6AB75-622B-4C83-8FFC-6088FED90CF2}"/>
                </a:ext>
              </a:extLst>
            </p:cNvPr>
            <p:cNvPicPr>
              <a:picLocks noChangeAspect="1"/>
            </p:cNvPicPr>
            <p:nvPr/>
          </p:nvPicPr>
          <p:blipFill rotWithShape="1">
            <a:blip r:embed="rId2">
              <a:extLst>
                <a:ext uri="{96DAC541-7B7A-43D3-8B79-37D633B846F1}">
                  <asvg:svgBlip xmlns:asvg="http://schemas.microsoft.com/office/drawing/2016/SVG/main" r:embed="rId4"/>
                </a:ext>
              </a:extLst>
            </a:blip>
            <a:srcRect t="6269" b="26222"/>
            <a:stretch/>
          </p:blipFill>
          <p:spPr>
            <a:xfrm>
              <a:off x="8774726" y="3922973"/>
              <a:ext cx="166824" cy="140778"/>
            </a:xfrm>
            <a:prstGeom prst="rect">
              <a:avLst/>
            </a:prstGeom>
          </p:spPr>
        </p:pic>
        <p:pic>
          <p:nvPicPr>
            <p:cNvPr id="85" name="Grafik 84">
              <a:extLst>
                <a:ext uri="{FF2B5EF4-FFF2-40B4-BE49-F238E27FC236}">
                  <a16:creationId xmlns:a16="http://schemas.microsoft.com/office/drawing/2014/main" id="{11690299-6CAA-4D9D-BE08-75B5D8F05279}"/>
                </a:ext>
              </a:extLst>
            </p:cNvPr>
            <p:cNvPicPr>
              <a:picLocks noChangeAspect="1"/>
            </p:cNvPicPr>
            <p:nvPr/>
          </p:nvPicPr>
          <p:blipFill rotWithShape="1">
            <a:blip r:embed="rId2">
              <a:extLst>
                <a:ext uri="{96DAC541-7B7A-43D3-8B79-37D633B846F1}">
                  <asvg:svgBlip xmlns:asvg="http://schemas.microsoft.com/office/drawing/2016/SVG/main" r:embed="rId4"/>
                </a:ext>
              </a:extLst>
            </a:blip>
            <a:srcRect t="6269" b="26222"/>
            <a:stretch/>
          </p:blipFill>
          <p:spPr>
            <a:xfrm>
              <a:off x="10247406" y="3922973"/>
              <a:ext cx="166824" cy="140778"/>
            </a:xfrm>
            <a:prstGeom prst="rect">
              <a:avLst/>
            </a:prstGeom>
          </p:spPr>
        </p:pic>
      </p:grpSp>
      <p:sp>
        <p:nvSpPr>
          <p:cNvPr id="47" name="Textfeld 46">
            <a:extLst>
              <a:ext uri="{FF2B5EF4-FFF2-40B4-BE49-F238E27FC236}">
                <a16:creationId xmlns:a16="http://schemas.microsoft.com/office/drawing/2014/main" id="{C198E89F-3EEF-44F9-84A7-F1060436D33E}"/>
              </a:ext>
            </a:extLst>
          </p:cNvPr>
          <p:cNvSpPr txBox="1"/>
          <p:nvPr/>
        </p:nvSpPr>
        <p:spPr bwMode="gray">
          <a:xfrm>
            <a:off x="376656" y="4202452"/>
            <a:ext cx="1375634" cy="216645"/>
          </a:xfrm>
          <a:prstGeom prst="roundRect">
            <a:avLst/>
          </a:prstGeom>
          <a:solidFill>
            <a:srgbClr val="002060">
              <a:alpha val="5098"/>
            </a:srgbClr>
          </a:solidFill>
          <a:ln w="9525">
            <a:noFill/>
            <a:miter lim="800000"/>
            <a:headEnd/>
            <a:tailEnd/>
          </a:ln>
        </p:spPr>
        <p:txBody>
          <a:bodyPr vert="horz" wrap="square" lIns="36000" tIns="36000" rIns="36000" bIns="36000" numCol="1" rtlCol="0" anchor="t" anchorCtr="0" compatLnSpc="1">
            <a:prstTxWarp prst="textNoShape">
              <a:avLst/>
            </a:prstTxWarp>
            <a:spAutoFit/>
          </a:bodyPr>
          <a:lstStyle>
            <a:defPPr>
              <a:defRPr lang="de-DE"/>
            </a:defPPr>
            <a:lvl1pPr marL="171450" indent="-171450" defTabSz="483635">
              <a:buClr>
                <a:schemeClr val="tx2"/>
              </a:buClr>
              <a:buFont typeface="Wingdings" panose="05000000000000000000" pitchFamily="2" charset="2"/>
              <a:buChar char="§"/>
              <a:defRPr sz="1000">
                <a:latin typeface="TeleGrotesk Next"/>
                <a:ea typeface="TeleGrotesk Next" pitchFamily="2" charset="0"/>
                <a:cs typeface="TeleGrotesk Next" pitchFamily="2" charset="0"/>
              </a:defRPr>
            </a:lvl1pPr>
          </a:lstStyle>
          <a:p>
            <a:pPr marL="9525" lvl="3" defTabSz="483635">
              <a:buClr>
                <a:schemeClr val="tx2"/>
              </a:buClr>
            </a:pPr>
            <a:r>
              <a:rPr lang="en-US" sz="800" b="1">
                <a:solidFill>
                  <a:schemeClr val="accent6">
                    <a:lumMod val="50000"/>
                  </a:schemeClr>
                </a:solidFill>
                <a:latin typeface="FlexoSoft" panose="02000000000000000000" pitchFamily="2" charset="0"/>
                <a:cs typeface="Calibri Light" panose="020F0302020204030204" pitchFamily="34" charset="0"/>
              </a:rPr>
              <a:t>Billing &amp; Charging</a:t>
            </a:r>
          </a:p>
        </p:txBody>
      </p:sp>
      <p:sp>
        <p:nvSpPr>
          <p:cNvPr id="49" name="Textfeld 48">
            <a:extLst>
              <a:ext uri="{FF2B5EF4-FFF2-40B4-BE49-F238E27FC236}">
                <a16:creationId xmlns:a16="http://schemas.microsoft.com/office/drawing/2014/main" id="{0A0CE2A8-7AEF-476C-844C-00AB57911964}"/>
              </a:ext>
            </a:extLst>
          </p:cNvPr>
          <p:cNvSpPr txBox="1"/>
          <p:nvPr/>
        </p:nvSpPr>
        <p:spPr bwMode="gray">
          <a:xfrm>
            <a:off x="376656" y="4498417"/>
            <a:ext cx="1375634" cy="216645"/>
          </a:xfrm>
          <a:prstGeom prst="roundRect">
            <a:avLst/>
          </a:prstGeom>
          <a:solidFill>
            <a:srgbClr val="002060">
              <a:alpha val="5098"/>
            </a:srgbClr>
          </a:solidFill>
          <a:ln w="9525">
            <a:noFill/>
            <a:miter lim="800000"/>
            <a:headEnd/>
            <a:tailEnd/>
          </a:ln>
        </p:spPr>
        <p:txBody>
          <a:bodyPr vert="horz" wrap="square" lIns="36000" tIns="36000" rIns="36000" bIns="36000" numCol="1" rtlCol="0" anchor="t" anchorCtr="0" compatLnSpc="1">
            <a:prstTxWarp prst="textNoShape">
              <a:avLst/>
            </a:prstTxWarp>
            <a:spAutoFit/>
          </a:bodyPr>
          <a:lstStyle>
            <a:defPPr>
              <a:defRPr lang="de-DE"/>
            </a:defPPr>
            <a:lvl1pPr marL="171450" indent="-171450" defTabSz="483635">
              <a:buClr>
                <a:schemeClr val="tx2"/>
              </a:buClr>
              <a:buFont typeface="Wingdings" panose="05000000000000000000" pitchFamily="2" charset="2"/>
              <a:buChar char="§"/>
              <a:defRPr sz="1000">
                <a:latin typeface="TeleGrotesk Next"/>
                <a:ea typeface="TeleGrotesk Next" pitchFamily="2" charset="0"/>
                <a:cs typeface="TeleGrotesk Next" pitchFamily="2" charset="0"/>
              </a:defRPr>
            </a:lvl1pPr>
          </a:lstStyle>
          <a:p>
            <a:pPr marL="9525" lvl="3" defTabSz="483635">
              <a:buClr>
                <a:schemeClr val="tx2"/>
              </a:buClr>
            </a:pPr>
            <a:r>
              <a:rPr lang="en-US" sz="800" b="1">
                <a:solidFill>
                  <a:schemeClr val="accent6">
                    <a:lumMod val="50000"/>
                  </a:schemeClr>
                </a:solidFill>
                <a:latin typeface="FlexoSoft" panose="02000000000000000000" pitchFamily="2" charset="0"/>
                <a:cs typeface="Calibri Light" panose="020F0302020204030204" pitchFamily="34" charset="0"/>
              </a:rPr>
              <a:t>Roaming</a:t>
            </a:r>
          </a:p>
        </p:txBody>
      </p:sp>
      <p:sp>
        <p:nvSpPr>
          <p:cNvPr id="61" name="Textfeld 60">
            <a:extLst>
              <a:ext uri="{FF2B5EF4-FFF2-40B4-BE49-F238E27FC236}">
                <a16:creationId xmlns:a16="http://schemas.microsoft.com/office/drawing/2014/main" id="{D66155B4-2995-4753-8753-2FC60AC38605}"/>
              </a:ext>
            </a:extLst>
          </p:cNvPr>
          <p:cNvSpPr txBox="1"/>
          <p:nvPr/>
        </p:nvSpPr>
        <p:spPr bwMode="gray">
          <a:xfrm>
            <a:off x="376656" y="4794382"/>
            <a:ext cx="1375634" cy="216645"/>
          </a:xfrm>
          <a:prstGeom prst="roundRect">
            <a:avLst/>
          </a:prstGeom>
          <a:solidFill>
            <a:srgbClr val="002060">
              <a:alpha val="5098"/>
            </a:srgbClr>
          </a:solidFill>
          <a:ln w="9525">
            <a:noFill/>
            <a:miter lim="800000"/>
            <a:headEnd/>
            <a:tailEnd/>
          </a:ln>
        </p:spPr>
        <p:txBody>
          <a:bodyPr vert="horz" wrap="square" lIns="36000" tIns="36000" rIns="36000" bIns="36000" numCol="1" rtlCol="0" anchor="t" anchorCtr="0" compatLnSpc="1">
            <a:prstTxWarp prst="textNoShape">
              <a:avLst/>
            </a:prstTxWarp>
            <a:spAutoFit/>
          </a:bodyPr>
          <a:lstStyle>
            <a:defPPr>
              <a:defRPr lang="de-DE"/>
            </a:defPPr>
            <a:lvl1pPr marL="171450" indent="-171450" defTabSz="483635">
              <a:buClr>
                <a:schemeClr val="tx2"/>
              </a:buClr>
              <a:buFont typeface="Wingdings" panose="05000000000000000000" pitchFamily="2" charset="2"/>
              <a:buChar char="§"/>
              <a:defRPr sz="1000">
                <a:latin typeface="TeleGrotesk Next"/>
                <a:ea typeface="TeleGrotesk Next" pitchFamily="2" charset="0"/>
                <a:cs typeface="TeleGrotesk Next" pitchFamily="2" charset="0"/>
              </a:defRPr>
            </a:lvl1pPr>
          </a:lstStyle>
          <a:p>
            <a:pPr marL="9525" lvl="3" defTabSz="483635">
              <a:buClr>
                <a:schemeClr val="tx2"/>
              </a:buClr>
            </a:pPr>
            <a:r>
              <a:rPr lang="en-US" sz="800" b="1">
                <a:solidFill>
                  <a:schemeClr val="accent6">
                    <a:lumMod val="50000"/>
                  </a:schemeClr>
                </a:solidFill>
                <a:latin typeface="FlexoSoft" panose="02000000000000000000" pitchFamily="2" charset="0"/>
                <a:cs typeface="Calibri Light" panose="020F0302020204030204" pitchFamily="34" charset="0"/>
              </a:rPr>
              <a:t>Community Adoption</a:t>
            </a:r>
          </a:p>
        </p:txBody>
      </p:sp>
      <p:grpSp>
        <p:nvGrpSpPr>
          <p:cNvPr id="34" name="Gruppieren 33">
            <a:extLst>
              <a:ext uri="{FF2B5EF4-FFF2-40B4-BE49-F238E27FC236}">
                <a16:creationId xmlns:a16="http://schemas.microsoft.com/office/drawing/2014/main" id="{2C4462FD-72A3-4869-B755-3094001D1094}"/>
              </a:ext>
            </a:extLst>
          </p:cNvPr>
          <p:cNvGrpSpPr/>
          <p:nvPr/>
        </p:nvGrpSpPr>
        <p:grpSpPr>
          <a:xfrm>
            <a:off x="3209469" y="4816489"/>
            <a:ext cx="7236291" cy="176434"/>
            <a:chOff x="3177939" y="4802421"/>
            <a:chExt cx="7236291" cy="176434"/>
          </a:xfrm>
        </p:grpSpPr>
        <p:pic>
          <p:nvPicPr>
            <p:cNvPr id="59" name="Grafik 58">
              <a:extLst>
                <a:ext uri="{FF2B5EF4-FFF2-40B4-BE49-F238E27FC236}">
                  <a16:creationId xmlns:a16="http://schemas.microsoft.com/office/drawing/2014/main" id="{5BBF3B6C-B2E2-49AC-881F-846F121C9D36}"/>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b="19600"/>
            <a:stretch/>
          </p:blipFill>
          <p:spPr>
            <a:xfrm>
              <a:off x="3177939" y="4802421"/>
              <a:ext cx="114494" cy="176434"/>
            </a:xfrm>
            <a:prstGeom prst="rect">
              <a:avLst/>
            </a:prstGeom>
          </p:spPr>
        </p:pic>
        <p:pic>
          <p:nvPicPr>
            <p:cNvPr id="64" name="Grafik 63">
              <a:extLst>
                <a:ext uri="{FF2B5EF4-FFF2-40B4-BE49-F238E27FC236}">
                  <a16:creationId xmlns:a16="http://schemas.microsoft.com/office/drawing/2014/main" id="{43AE3441-3F6A-4525-8DFB-2B9C137F40D0}"/>
                </a:ext>
              </a:extLst>
            </p:cNvPr>
            <p:cNvPicPr>
              <a:picLocks noChangeAspect="1"/>
            </p:cNvPicPr>
            <p:nvPr/>
          </p:nvPicPr>
          <p:blipFill rotWithShape="1">
            <a:blip r:embed="rId2">
              <a:extLst>
                <a:ext uri="{96DAC541-7B7A-43D3-8B79-37D633B846F1}">
                  <asvg:svgBlip xmlns:asvg="http://schemas.microsoft.com/office/drawing/2016/SVG/main" r:embed="rId4"/>
                </a:ext>
              </a:extLst>
            </a:blip>
            <a:srcRect t="6269" b="26222"/>
            <a:stretch/>
          </p:blipFill>
          <p:spPr>
            <a:xfrm>
              <a:off x="6413869" y="4820249"/>
              <a:ext cx="166824" cy="140778"/>
            </a:xfrm>
            <a:prstGeom prst="rect">
              <a:avLst/>
            </a:prstGeom>
          </p:spPr>
        </p:pic>
        <p:pic>
          <p:nvPicPr>
            <p:cNvPr id="67" name="Grafik 66">
              <a:extLst>
                <a:ext uri="{FF2B5EF4-FFF2-40B4-BE49-F238E27FC236}">
                  <a16:creationId xmlns:a16="http://schemas.microsoft.com/office/drawing/2014/main" id="{DBE6BE87-90BD-47C6-A98D-1F1D8F5DE755}"/>
                </a:ext>
              </a:extLst>
            </p:cNvPr>
            <p:cNvPicPr>
              <a:picLocks noChangeAspect="1"/>
            </p:cNvPicPr>
            <p:nvPr/>
          </p:nvPicPr>
          <p:blipFill rotWithShape="1">
            <a:blip r:embed="rId2">
              <a:extLst>
                <a:ext uri="{96DAC541-7B7A-43D3-8B79-37D633B846F1}">
                  <asvg:svgBlip xmlns:asvg="http://schemas.microsoft.com/office/drawing/2016/SVG/main" r:embed="rId4"/>
                </a:ext>
              </a:extLst>
            </a:blip>
            <a:srcRect t="6269" b="26222"/>
            <a:stretch/>
          </p:blipFill>
          <p:spPr>
            <a:xfrm>
              <a:off x="8774726" y="4820249"/>
              <a:ext cx="166824" cy="140778"/>
            </a:xfrm>
            <a:prstGeom prst="rect">
              <a:avLst/>
            </a:prstGeom>
          </p:spPr>
        </p:pic>
        <p:pic>
          <p:nvPicPr>
            <p:cNvPr id="69" name="Grafik 68">
              <a:extLst>
                <a:ext uri="{FF2B5EF4-FFF2-40B4-BE49-F238E27FC236}">
                  <a16:creationId xmlns:a16="http://schemas.microsoft.com/office/drawing/2014/main" id="{A5CD3FB2-47EB-4C85-9D1D-F48A49552B2F}"/>
                </a:ext>
              </a:extLst>
            </p:cNvPr>
            <p:cNvPicPr>
              <a:picLocks noChangeAspect="1"/>
            </p:cNvPicPr>
            <p:nvPr/>
          </p:nvPicPr>
          <p:blipFill rotWithShape="1">
            <a:blip r:embed="rId2">
              <a:extLst>
                <a:ext uri="{96DAC541-7B7A-43D3-8B79-37D633B846F1}">
                  <asvg:svgBlip xmlns:asvg="http://schemas.microsoft.com/office/drawing/2016/SVG/main" r:embed="rId4"/>
                </a:ext>
              </a:extLst>
            </a:blip>
            <a:srcRect t="6269" b="26222"/>
            <a:stretch/>
          </p:blipFill>
          <p:spPr>
            <a:xfrm>
              <a:off x="10247406" y="4820249"/>
              <a:ext cx="166824" cy="140778"/>
            </a:xfrm>
            <a:prstGeom prst="rect">
              <a:avLst/>
            </a:prstGeom>
          </p:spPr>
        </p:pic>
      </p:grpSp>
      <p:grpSp>
        <p:nvGrpSpPr>
          <p:cNvPr id="106" name="Gruppieren 105">
            <a:extLst>
              <a:ext uri="{FF2B5EF4-FFF2-40B4-BE49-F238E27FC236}">
                <a16:creationId xmlns:a16="http://schemas.microsoft.com/office/drawing/2014/main" id="{E562819C-9BAF-4370-9FD3-D3B8E82881F5}"/>
              </a:ext>
            </a:extLst>
          </p:cNvPr>
          <p:cNvGrpSpPr/>
          <p:nvPr/>
        </p:nvGrpSpPr>
        <p:grpSpPr>
          <a:xfrm>
            <a:off x="3209469" y="4518677"/>
            <a:ext cx="7210126" cy="176434"/>
            <a:chOff x="3177939" y="4511643"/>
            <a:chExt cx="7210126" cy="176434"/>
          </a:xfrm>
        </p:grpSpPr>
        <p:pic>
          <p:nvPicPr>
            <p:cNvPr id="60" name="Grafik 59">
              <a:extLst>
                <a:ext uri="{FF2B5EF4-FFF2-40B4-BE49-F238E27FC236}">
                  <a16:creationId xmlns:a16="http://schemas.microsoft.com/office/drawing/2014/main" id="{46698B68-3D0E-478A-A734-306D3F0B2C75}"/>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b="19600"/>
            <a:stretch/>
          </p:blipFill>
          <p:spPr>
            <a:xfrm>
              <a:off x="3177939" y="4511643"/>
              <a:ext cx="114494" cy="176434"/>
            </a:xfrm>
            <a:prstGeom prst="rect">
              <a:avLst/>
            </a:prstGeom>
          </p:spPr>
        </p:pic>
        <p:pic>
          <p:nvPicPr>
            <p:cNvPr id="56" name="Grafik 55">
              <a:extLst>
                <a:ext uri="{FF2B5EF4-FFF2-40B4-BE49-F238E27FC236}">
                  <a16:creationId xmlns:a16="http://schemas.microsoft.com/office/drawing/2014/main" id="{183A833D-5731-476D-9E98-7EAD4F8B395F}"/>
                </a:ext>
              </a:extLst>
            </p:cNvPr>
            <p:cNvPicPr>
              <a:picLocks noChangeAspect="1"/>
            </p:cNvPicPr>
            <p:nvPr/>
          </p:nvPicPr>
          <p:blipFill rotWithShape="1">
            <a:blip r:embed="rId2">
              <a:extLst>
                <a:ext uri="{96DAC541-7B7A-43D3-8B79-37D633B846F1}">
                  <asvg:svgBlip xmlns:asvg="http://schemas.microsoft.com/office/drawing/2016/SVG/main" r:embed="rId4"/>
                </a:ext>
              </a:extLst>
            </a:blip>
            <a:srcRect t="6269" b="26222"/>
            <a:stretch/>
          </p:blipFill>
          <p:spPr>
            <a:xfrm>
              <a:off x="6413869" y="4529471"/>
              <a:ext cx="166824" cy="140778"/>
            </a:xfrm>
            <a:prstGeom prst="rect">
              <a:avLst/>
            </a:prstGeom>
          </p:spPr>
        </p:pic>
        <p:pic>
          <p:nvPicPr>
            <p:cNvPr id="66" name="Grafik 65">
              <a:extLst>
                <a:ext uri="{FF2B5EF4-FFF2-40B4-BE49-F238E27FC236}">
                  <a16:creationId xmlns:a16="http://schemas.microsoft.com/office/drawing/2014/main" id="{C0AF2512-FCE0-481B-9227-4BCB084A5681}"/>
                </a:ext>
              </a:extLst>
            </p:cNvPr>
            <p:cNvPicPr>
              <a:picLocks noChangeAspect="1"/>
            </p:cNvPicPr>
            <p:nvPr/>
          </p:nvPicPr>
          <p:blipFill rotWithShape="1">
            <a:blip r:embed="rId2">
              <a:extLst>
                <a:ext uri="{96DAC541-7B7A-43D3-8B79-37D633B846F1}">
                  <asvg:svgBlip xmlns:asvg="http://schemas.microsoft.com/office/drawing/2016/SVG/main" r:embed="rId4"/>
                </a:ext>
              </a:extLst>
            </a:blip>
            <a:srcRect t="6269" b="26222"/>
            <a:stretch/>
          </p:blipFill>
          <p:spPr>
            <a:xfrm>
              <a:off x="8774726" y="4529471"/>
              <a:ext cx="166824" cy="140778"/>
            </a:xfrm>
            <a:prstGeom prst="rect">
              <a:avLst/>
            </a:prstGeom>
          </p:spPr>
        </p:pic>
        <p:pic>
          <p:nvPicPr>
            <p:cNvPr id="70" name="Grafik 69">
              <a:extLst>
                <a:ext uri="{FF2B5EF4-FFF2-40B4-BE49-F238E27FC236}">
                  <a16:creationId xmlns:a16="http://schemas.microsoft.com/office/drawing/2014/main" id="{235251FB-91FB-4DE9-A34A-7B503C894FDC}"/>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b="19600"/>
            <a:stretch/>
          </p:blipFill>
          <p:spPr>
            <a:xfrm>
              <a:off x="10273571" y="4511643"/>
              <a:ext cx="114494" cy="176434"/>
            </a:xfrm>
            <a:prstGeom prst="rect">
              <a:avLst/>
            </a:prstGeom>
          </p:spPr>
        </p:pic>
      </p:grpSp>
      <p:grpSp>
        <p:nvGrpSpPr>
          <p:cNvPr id="105" name="Gruppieren 104">
            <a:extLst>
              <a:ext uri="{FF2B5EF4-FFF2-40B4-BE49-F238E27FC236}">
                <a16:creationId xmlns:a16="http://schemas.microsoft.com/office/drawing/2014/main" id="{5E49614E-E090-44C5-9ED9-1C8AF11419BD}"/>
              </a:ext>
            </a:extLst>
          </p:cNvPr>
          <p:cNvGrpSpPr/>
          <p:nvPr/>
        </p:nvGrpSpPr>
        <p:grpSpPr>
          <a:xfrm>
            <a:off x="3209469" y="4218825"/>
            <a:ext cx="7210126" cy="176434"/>
            <a:chOff x="3177939" y="4204757"/>
            <a:chExt cx="7210126" cy="176434"/>
          </a:xfrm>
        </p:grpSpPr>
        <p:pic>
          <p:nvPicPr>
            <p:cNvPr id="63" name="Grafik 62">
              <a:extLst>
                <a:ext uri="{FF2B5EF4-FFF2-40B4-BE49-F238E27FC236}">
                  <a16:creationId xmlns:a16="http://schemas.microsoft.com/office/drawing/2014/main" id="{FA55EC14-D4E5-4AF7-BBFF-F7CCD96DA10E}"/>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b="19600"/>
            <a:stretch/>
          </p:blipFill>
          <p:spPr>
            <a:xfrm>
              <a:off x="3177939" y="4204757"/>
              <a:ext cx="114494" cy="176434"/>
            </a:xfrm>
            <a:prstGeom prst="rect">
              <a:avLst/>
            </a:prstGeom>
          </p:spPr>
        </p:pic>
        <p:pic>
          <p:nvPicPr>
            <p:cNvPr id="55" name="Grafik 54">
              <a:extLst>
                <a:ext uri="{FF2B5EF4-FFF2-40B4-BE49-F238E27FC236}">
                  <a16:creationId xmlns:a16="http://schemas.microsoft.com/office/drawing/2014/main" id="{6202B909-4745-4434-AECF-3414AE4867B0}"/>
                </a:ext>
              </a:extLst>
            </p:cNvPr>
            <p:cNvPicPr>
              <a:picLocks noChangeAspect="1"/>
            </p:cNvPicPr>
            <p:nvPr/>
          </p:nvPicPr>
          <p:blipFill rotWithShape="1">
            <a:blip r:embed="rId2">
              <a:extLst>
                <a:ext uri="{96DAC541-7B7A-43D3-8B79-37D633B846F1}">
                  <asvg:svgBlip xmlns:asvg="http://schemas.microsoft.com/office/drawing/2016/SVG/main" r:embed="rId4"/>
                </a:ext>
              </a:extLst>
            </a:blip>
            <a:srcRect t="6269" b="26222"/>
            <a:stretch/>
          </p:blipFill>
          <p:spPr>
            <a:xfrm>
              <a:off x="6413869" y="4222585"/>
              <a:ext cx="166824" cy="140778"/>
            </a:xfrm>
            <a:prstGeom prst="rect">
              <a:avLst/>
            </a:prstGeom>
          </p:spPr>
        </p:pic>
        <p:pic>
          <p:nvPicPr>
            <p:cNvPr id="65" name="Grafik 64">
              <a:extLst>
                <a:ext uri="{FF2B5EF4-FFF2-40B4-BE49-F238E27FC236}">
                  <a16:creationId xmlns:a16="http://schemas.microsoft.com/office/drawing/2014/main" id="{D8B8F56D-5E02-41FB-B5AC-37F009A6ACFD}"/>
                </a:ext>
              </a:extLst>
            </p:cNvPr>
            <p:cNvPicPr>
              <a:picLocks noChangeAspect="1"/>
            </p:cNvPicPr>
            <p:nvPr/>
          </p:nvPicPr>
          <p:blipFill rotWithShape="1">
            <a:blip r:embed="rId2">
              <a:extLst>
                <a:ext uri="{96DAC541-7B7A-43D3-8B79-37D633B846F1}">
                  <asvg:svgBlip xmlns:asvg="http://schemas.microsoft.com/office/drawing/2016/SVG/main" r:embed="rId4"/>
                </a:ext>
              </a:extLst>
            </a:blip>
            <a:srcRect t="6269" b="26222"/>
            <a:stretch/>
          </p:blipFill>
          <p:spPr>
            <a:xfrm>
              <a:off x="8774726" y="4222585"/>
              <a:ext cx="166824" cy="140778"/>
            </a:xfrm>
            <a:prstGeom prst="rect">
              <a:avLst/>
            </a:prstGeom>
          </p:spPr>
        </p:pic>
        <p:pic>
          <p:nvPicPr>
            <p:cNvPr id="76" name="Grafik 75">
              <a:extLst>
                <a:ext uri="{FF2B5EF4-FFF2-40B4-BE49-F238E27FC236}">
                  <a16:creationId xmlns:a16="http://schemas.microsoft.com/office/drawing/2014/main" id="{8D48DC05-8403-4429-A48A-172C9730DF4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b="19600"/>
            <a:stretch/>
          </p:blipFill>
          <p:spPr>
            <a:xfrm>
              <a:off x="10273571" y="4204757"/>
              <a:ext cx="114494" cy="176434"/>
            </a:xfrm>
            <a:prstGeom prst="rect">
              <a:avLst/>
            </a:prstGeom>
          </p:spPr>
        </p:pic>
      </p:grpSp>
      <p:grpSp>
        <p:nvGrpSpPr>
          <p:cNvPr id="103" name="Gruppieren 102">
            <a:extLst>
              <a:ext uri="{FF2B5EF4-FFF2-40B4-BE49-F238E27FC236}">
                <a16:creationId xmlns:a16="http://schemas.microsoft.com/office/drawing/2014/main" id="{16186BCC-D960-47A6-8064-C0D898AA8513}"/>
              </a:ext>
            </a:extLst>
          </p:cNvPr>
          <p:cNvGrpSpPr/>
          <p:nvPr/>
        </p:nvGrpSpPr>
        <p:grpSpPr>
          <a:xfrm>
            <a:off x="3209469" y="3627814"/>
            <a:ext cx="7236291" cy="176434"/>
            <a:chOff x="3177939" y="3592644"/>
            <a:chExt cx="7236291" cy="176434"/>
          </a:xfrm>
        </p:grpSpPr>
        <p:pic>
          <p:nvPicPr>
            <p:cNvPr id="71" name="Grafik 70">
              <a:extLst>
                <a:ext uri="{FF2B5EF4-FFF2-40B4-BE49-F238E27FC236}">
                  <a16:creationId xmlns:a16="http://schemas.microsoft.com/office/drawing/2014/main" id="{91F1E3E8-3270-44F9-A8BB-69D23D6D7337}"/>
                </a:ext>
              </a:extLst>
            </p:cNvPr>
            <p:cNvPicPr>
              <a:picLocks noChangeAspect="1"/>
            </p:cNvPicPr>
            <p:nvPr/>
          </p:nvPicPr>
          <p:blipFill rotWithShape="1">
            <a:blip r:embed="rId2">
              <a:extLst>
                <a:ext uri="{96DAC541-7B7A-43D3-8B79-37D633B846F1}">
                  <asvg:svgBlip xmlns:asvg="http://schemas.microsoft.com/office/drawing/2016/SVG/main" r:embed="rId4"/>
                </a:ext>
              </a:extLst>
            </a:blip>
            <a:srcRect t="6269" b="26222"/>
            <a:stretch/>
          </p:blipFill>
          <p:spPr>
            <a:xfrm>
              <a:off x="10247406" y="3610472"/>
              <a:ext cx="166824" cy="140778"/>
            </a:xfrm>
            <a:prstGeom prst="rect">
              <a:avLst/>
            </a:prstGeom>
          </p:spPr>
        </p:pic>
        <p:pic>
          <p:nvPicPr>
            <p:cNvPr id="81" name="Grafik 80">
              <a:extLst>
                <a:ext uri="{FF2B5EF4-FFF2-40B4-BE49-F238E27FC236}">
                  <a16:creationId xmlns:a16="http://schemas.microsoft.com/office/drawing/2014/main" id="{9DB8377A-FC16-4A3D-BBC6-3E586B5F6B86}"/>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b="19600"/>
            <a:stretch/>
          </p:blipFill>
          <p:spPr>
            <a:xfrm>
              <a:off x="3177939" y="3592644"/>
              <a:ext cx="114494" cy="176434"/>
            </a:xfrm>
            <a:prstGeom prst="rect">
              <a:avLst/>
            </a:prstGeom>
          </p:spPr>
        </p:pic>
        <p:pic>
          <p:nvPicPr>
            <p:cNvPr id="78" name="Grafik 77">
              <a:extLst>
                <a:ext uri="{FF2B5EF4-FFF2-40B4-BE49-F238E27FC236}">
                  <a16:creationId xmlns:a16="http://schemas.microsoft.com/office/drawing/2014/main" id="{68C9772D-3D38-4503-BBBC-D3E25545CA75}"/>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b="19600"/>
            <a:stretch/>
          </p:blipFill>
          <p:spPr>
            <a:xfrm>
              <a:off x="8800891" y="3592644"/>
              <a:ext cx="114494" cy="176434"/>
            </a:xfrm>
            <a:prstGeom prst="rect">
              <a:avLst/>
            </a:prstGeom>
          </p:spPr>
        </p:pic>
        <p:pic>
          <p:nvPicPr>
            <p:cNvPr id="79" name="Grafik 78">
              <a:extLst>
                <a:ext uri="{FF2B5EF4-FFF2-40B4-BE49-F238E27FC236}">
                  <a16:creationId xmlns:a16="http://schemas.microsoft.com/office/drawing/2014/main" id="{9751553D-88CF-4AA3-BD8C-6C8BB54965A5}"/>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b="19600"/>
            <a:stretch/>
          </p:blipFill>
          <p:spPr>
            <a:xfrm>
              <a:off x="6440034" y="3592644"/>
              <a:ext cx="114494" cy="176434"/>
            </a:xfrm>
            <a:prstGeom prst="rect">
              <a:avLst/>
            </a:prstGeom>
          </p:spPr>
        </p:pic>
      </p:grpSp>
      <p:grpSp>
        <p:nvGrpSpPr>
          <p:cNvPr id="102" name="Gruppieren 101">
            <a:extLst>
              <a:ext uri="{FF2B5EF4-FFF2-40B4-BE49-F238E27FC236}">
                <a16:creationId xmlns:a16="http://schemas.microsoft.com/office/drawing/2014/main" id="{FB4F7963-514B-4C4F-AD1F-BE08667F5DAC}"/>
              </a:ext>
            </a:extLst>
          </p:cNvPr>
          <p:cNvGrpSpPr/>
          <p:nvPr/>
        </p:nvGrpSpPr>
        <p:grpSpPr>
          <a:xfrm>
            <a:off x="3209469" y="3336415"/>
            <a:ext cx="7210126" cy="176434"/>
            <a:chOff x="3177939" y="3308279"/>
            <a:chExt cx="7210126" cy="176434"/>
          </a:xfrm>
        </p:grpSpPr>
        <p:pic>
          <p:nvPicPr>
            <p:cNvPr id="72" name="Grafik 71">
              <a:extLst>
                <a:ext uri="{FF2B5EF4-FFF2-40B4-BE49-F238E27FC236}">
                  <a16:creationId xmlns:a16="http://schemas.microsoft.com/office/drawing/2014/main" id="{C1FAAE59-E2E8-47D0-9785-BA3020B95D2C}"/>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6269" b="26222"/>
            <a:stretch/>
          </p:blipFill>
          <p:spPr>
            <a:xfrm>
              <a:off x="8774726" y="3326107"/>
              <a:ext cx="166824" cy="140778"/>
            </a:xfrm>
            <a:prstGeom prst="rect">
              <a:avLst/>
            </a:prstGeom>
          </p:spPr>
        </p:pic>
        <p:pic>
          <p:nvPicPr>
            <p:cNvPr id="82" name="Grafik 81">
              <a:extLst>
                <a:ext uri="{FF2B5EF4-FFF2-40B4-BE49-F238E27FC236}">
                  <a16:creationId xmlns:a16="http://schemas.microsoft.com/office/drawing/2014/main" id="{C55D937B-E6A6-4AFD-A743-D41A9A532BC0}"/>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b="19600"/>
            <a:stretch/>
          </p:blipFill>
          <p:spPr>
            <a:xfrm>
              <a:off x="3177939" y="3308279"/>
              <a:ext cx="114494" cy="176434"/>
            </a:xfrm>
            <a:prstGeom prst="rect">
              <a:avLst/>
            </a:prstGeom>
          </p:spPr>
        </p:pic>
        <p:pic>
          <p:nvPicPr>
            <p:cNvPr id="87" name="Grafik 86">
              <a:extLst>
                <a:ext uri="{FF2B5EF4-FFF2-40B4-BE49-F238E27FC236}">
                  <a16:creationId xmlns:a16="http://schemas.microsoft.com/office/drawing/2014/main" id="{C2690799-313D-4836-A805-52AC3CB13250}"/>
                </a:ext>
              </a:extLst>
            </p:cNvPr>
            <p:cNvPicPr>
              <a:picLocks noChangeAspect="1"/>
            </p:cNvPicPr>
            <p:nvPr/>
          </p:nvPicPr>
          <p:blipFill rotWithShape="1">
            <a:blip r:embed="rId2">
              <a:extLst>
                <a:ext uri="{96DAC541-7B7A-43D3-8B79-37D633B846F1}">
                  <asvg:svgBlip xmlns:asvg="http://schemas.microsoft.com/office/drawing/2016/SVG/main" r:embed="rId4"/>
                </a:ext>
              </a:extLst>
            </a:blip>
            <a:srcRect t="6269" b="26222"/>
            <a:stretch/>
          </p:blipFill>
          <p:spPr>
            <a:xfrm>
              <a:off x="6413869" y="3326107"/>
              <a:ext cx="166824" cy="140778"/>
            </a:xfrm>
            <a:prstGeom prst="rect">
              <a:avLst/>
            </a:prstGeom>
          </p:spPr>
        </p:pic>
        <p:pic>
          <p:nvPicPr>
            <p:cNvPr id="90" name="Grafik 89">
              <a:extLst>
                <a:ext uri="{FF2B5EF4-FFF2-40B4-BE49-F238E27FC236}">
                  <a16:creationId xmlns:a16="http://schemas.microsoft.com/office/drawing/2014/main" id="{E8FE69C9-C909-45AB-A063-4C54FB28A057}"/>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b="19600"/>
            <a:stretch/>
          </p:blipFill>
          <p:spPr>
            <a:xfrm>
              <a:off x="10273571" y="3308279"/>
              <a:ext cx="114494" cy="176434"/>
            </a:xfrm>
            <a:prstGeom prst="rect">
              <a:avLst/>
            </a:prstGeom>
          </p:spPr>
        </p:pic>
      </p:grpSp>
      <p:cxnSp>
        <p:nvCxnSpPr>
          <p:cNvPr id="91" name="Gerader Verbinder 90">
            <a:extLst>
              <a:ext uri="{FF2B5EF4-FFF2-40B4-BE49-F238E27FC236}">
                <a16:creationId xmlns:a16="http://schemas.microsoft.com/office/drawing/2014/main" id="{455CA53D-85D1-45B4-B6B0-8876E7462B46}"/>
              </a:ext>
            </a:extLst>
          </p:cNvPr>
          <p:cNvCxnSpPr>
            <a:cxnSpLocks/>
          </p:cNvCxnSpPr>
          <p:nvPr/>
        </p:nvCxnSpPr>
        <p:spPr>
          <a:xfrm flipV="1">
            <a:off x="376656" y="2975979"/>
            <a:ext cx="10621460" cy="5906"/>
          </a:xfrm>
          <a:prstGeom prst="line">
            <a:avLst/>
          </a:prstGeom>
          <a:ln w="12700" cap="rnd">
            <a:solidFill>
              <a:schemeClr val="tx2"/>
            </a:solidFill>
            <a:prstDash val="dash"/>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2" name="Gerader Verbinder 91">
            <a:extLst>
              <a:ext uri="{FF2B5EF4-FFF2-40B4-BE49-F238E27FC236}">
                <a16:creationId xmlns:a16="http://schemas.microsoft.com/office/drawing/2014/main" id="{F1F75321-81A0-4B8A-B07B-CED74601487F}"/>
              </a:ext>
            </a:extLst>
          </p:cNvPr>
          <p:cNvCxnSpPr>
            <a:cxnSpLocks/>
          </p:cNvCxnSpPr>
          <p:nvPr/>
        </p:nvCxnSpPr>
        <p:spPr>
          <a:xfrm flipV="1">
            <a:off x="376656" y="3271944"/>
            <a:ext cx="10621460" cy="5906"/>
          </a:xfrm>
          <a:prstGeom prst="line">
            <a:avLst/>
          </a:prstGeom>
          <a:ln w="12700" cap="rnd">
            <a:solidFill>
              <a:schemeClr val="tx2"/>
            </a:solidFill>
            <a:prstDash val="dash"/>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3" name="Gerader Verbinder 92">
            <a:extLst>
              <a:ext uri="{FF2B5EF4-FFF2-40B4-BE49-F238E27FC236}">
                <a16:creationId xmlns:a16="http://schemas.microsoft.com/office/drawing/2014/main" id="{4001D610-4BFC-4614-8012-7910FCDE271E}"/>
              </a:ext>
            </a:extLst>
          </p:cNvPr>
          <p:cNvCxnSpPr>
            <a:cxnSpLocks/>
          </p:cNvCxnSpPr>
          <p:nvPr/>
        </p:nvCxnSpPr>
        <p:spPr>
          <a:xfrm flipV="1">
            <a:off x="376656" y="3567909"/>
            <a:ext cx="10621460" cy="5906"/>
          </a:xfrm>
          <a:prstGeom prst="line">
            <a:avLst/>
          </a:prstGeom>
          <a:ln w="12700" cap="rnd">
            <a:solidFill>
              <a:schemeClr val="tx2"/>
            </a:solidFill>
            <a:prstDash val="dash"/>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4" name="Gerader Verbinder 93">
            <a:extLst>
              <a:ext uri="{FF2B5EF4-FFF2-40B4-BE49-F238E27FC236}">
                <a16:creationId xmlns:a16="http://schemas.microsoft.com/office/drawing/2014/main" id="{4530A6F1-A296-41C1-BC12-33E1A764F6D8}"/>
              </a:ext>
            </a:extLst>
          </p:cNvPr>
          <p:cNvCxnSpPr>
            <a:cxnSpLocks/>
          </p:cNvCxnSpPr>
          <p:nvPr/>
        </p:nvCxnSpPr>
        <p:spPr>
          <a:xfrm flipV="1">
            <a:off x="376656" y="3863874"/>
            <a:ext cx="10621460" cy="5906"/>
          </a:xfrm>
          <a:prstGeom prst="line">
            <a:avLst/>
          </a:prstGeom>
          <a:ln w="12700" cap="rnd">
            <a:solidFill>
              <a:schemeClr val="tx2"/>
            </a:solidFill>
            <a:prstDash val="dash"/>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5" name="Gerader Verbinder 94">
            <a:extLst>
              <a:ext uri="{FF2B5EF4-FFF2-40B4-BE49-F238E27FC236}">
                <a16:creationId xmlns:a16="http://schemas.microsoft.com/office/drawing/2014/main" id="{F7E9B427-51D4-4D9A-9738-279DA29F98EE}"/>
              </a:ext>
            </a:extLst>
          </p:cNvPr>
          <p:cNvCxnSpPr>
            <a:cxnSpLocks/>
          </p:cNvCxnSpPr>
          <p:nvPr/>
        </p:nvCxnSpPr>
        <p:spPr>
          <a:xfrm flipV="1">
            <a:off x="376656" y="4159839"/>
            <a:ext cx="10621460" cy="5906"/>
          </a:xfrm>
          <a:prstGeom prst="line">
            <a:avLst/>
          </a:prstGeom>
          <a:ln w="12700" cap="rnd">
            <a:solidFill>
              <a:schemeClr val="tx2"/>
            </a:solidFill>
            <a:prstDash val="dash"/>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6" name="Gerader Verbinder 95">
            <a:extLst>
              <a:ext uri="{FF2B5EF4-FFF2-40B4-BE49-F238E27FC236}">
                <a16:creationId xmlns:a16="http://schemas.microsoft.com/office/drawing/2014/main" id="{CE3B75C5-6CCD-4E1C-AD23-C6C2E704093B}"/>
              </a:ext>
            </a:extLst>
          </p:cNvPr>
          <p:cNvCxnSpPr>
            <a:cxnSpLocks/>
          </p:cNvCxnSpPr>
          <p:nvPr/>
        </p:nvCxnSpPr>
        <p:spPr>
          <a:xfrm flipV="1">
            <a:off x="376656" y="4455804"/>
            <a:ext cx="10621460" cy="5906"/>
          </a:xfrm>
          <a:prstGeom prst="line">
            <a:avLst/>
          </a:prstGeom>
          <a:ln w="12700" cap="rnd">
            <a:solidFill>
              <a:schemeClr val="tx2"/>
            </a:solidFill>
            <a:prstDash val="dash"/>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7" name="Gerader Verbinder 96">
            <a:extLst>
              <a:ext uri="{FF2B5EF4-FFF2-40B4-BE49-F238E27FC236}">
                <a16:creationId xmlns:a16="http://schemas.microsoft.com/office/drawing/2014/main" id="{A7134626-7CCB-456D-AB59-E36270FDAEF5}"/>
              </a:ext>
            </a:extLst>
          </p:cNvPr>
          <p:cNvCxnSpPr>
            <a:cxnSpLocks/>
          </p:cNvCxnSpPr>
          <p:nvPr/>
        </p:nvCxnSpPr>
        <p:spPr>
          <a:xfrm flipV="1">
            <a:off x="376656" y="4751769"/>
            <a:ext cx="10621460" cy="5906"/>
          </a:xfrm>
          <a:prstGeom prst="line">
            <a:avLst/>
          </a:prstGeom>
          <a:ln w="12700" cap="rnd">
            <a:solidFill>
              <a:schemeClr val="tx2"/>
            </a:solidFill>
            <a:prstDash val="dash"/>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8" name="Gerader Verbinder 97">
            <a:extLst>
              <a:ext uri="{FF2B5EF4-FFF2-40B4-BE49-F238E27FC236}">
                <a16:creationId xmlns:a16="http://schemas.microsoft.com/office/drawing/2014/main" id="{7B14B476-2971-43F1-9091-2C6BF40F1416}"/>
              </a:ext>
            </a:extLst>
          </p:cNvPr>
          <p:cNvCxnSpPr>
            <a:cxnSpLocks/>
          </p:cNvCxnSpPr>
          <p:nvPr/>
        </p:nvCxnSpPr>
        <p:spPr>
          <a:xfrm flipV="1">
            <a:off x="376656" y="5047734"/>
            <a:ext cx="10621460" cy="5906"/>
          </a:xfrm>
          <a:prstGeom prst="line">
            <a:avLst/>
          </a:prstGeom>
          <a:ln w="12700" cap="rnd">
            <a:solidFill>
              <a:schemeClr val="tx2"/>
            </a:solidFill>
            <a:prstDash val="dash"/>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01" name="Textfeld 100">
            <a:extLst>
              <a:ext uri="{FF2B5EF4-FFF2-40B4-BE49-F238E27FC236}">
                <a16:creationId xmlns:a16="http://schemas.microsoft.com/office/drawing/2014/main" id="{503A6E6B-D24A-43BC-9911-AABD2FDE2DBF}"/>
              </a:ext>
            </a:extLst>
          </p:cNvPr>
          <p:cNvSpPr txBox="1"/>
          <p:nvPr/>
        </p:nvSpPr>
        <p:spPr bwMode="gray">
          <a:xfrm>
            <a:off x="8151162" y="5091024"/>
            <a:ext cx="2987999" cy="996798"/>
          </a:xfrm>
          <a:prstGeom prst="roundRect">
            <a:avLst/>
          </a:prstGeom>
          <a:noFill/>
          <a:ln w="9525">
            <a:noFill/>
            <a:miter lim="800000"/>
            <a:headEnd/>
            <a:tailEnd/>
          </a:ln>
        </p:spPr>
        <p:txBody>
          <a:bodyPr vert="horz" wrap="square" lIns="36000" tIns="0" rIns="36000" bIns="0" numCol="1" rtlCol="0" anchor="t" anchorCtr="0" compatLnSpc="1">
            <a:prstTxWarp prst="textNoShape">
              <a:avLst/>
            </a:prstTxWarp>
            <a:spAutoFit/>
          </a:bodyPr>
          <a:lstStyle>
            <a:defPPr>
              <a:defRPr lang="de-DE"/>
            </a:defPPr>
            <a:lvl1pPr marL="171450" indent="-171450" defTabSz="483635">
              <a:buClr>
                <a:schemeClr val="tx2"/>
              </a:buClr>
              <a:buFont typeface="Wingdings" panose="05000000000000000000" pitchFamily="2" charset="2"/>
              <a:buChar char="§"/>
              <a:defRPr sz="1000">
                <a:latin typeface="TeleGrotesk Next"/>
                <a:ea typeface="TeleGrotesk Next" pitchFamily="2" charset="0"/>
                <a:cs typeface="TeleGrotesk Next" pitchFamily="2" charset="0"/>
              </a:defRPr>
            </a:lvl1pPr>
            <a:lvl4pPr marL="180975" lvl="3" indent="-171450" defTabSz="483635">
              <a:lnSpc>
                <a:spcPct val="150000"/>
              </a:lnSpc>
              <a:buClr>
                <a:schemeClr val="tx2"/>
              </a:buClr>
              <a:buFont typeface="Symbol" panose="05050102010706020507" pitchFamily="18" charset="2"/>
              <a:buChar char="-"/>
              <a:defRPr sz="700">
                <a:solidFill>
                  <a:schemeClr val="accent6">
                    <a:lumMod val="50000"/>
                  </a:schemeClr>
                </a:solidFill>
                <a:latin typeface="FlexoSoft" panose="02000000000000000000" pitchFamily="2" charset="0"/>
                <a:cs typeface="Calibri Light" panose="020F0302020204030204" pitchFamily="34" charset="0"/>
              </a:defRPr>
            </a:lvl4pPr>
          </a:lstStyle>
          <a:p>
            <a:pPr lvl="3"/>
            <a:r>
              <a:rPr lang="en-US" sz="800"/>
              <a:t>Easy and fast setup.</a:t>
            </a:r>
          </a:p>
          <a:p>
            <a:pPr lvl="3"/>
            <a:r>
              <a:rPr lang="en-US" sz="800"/>
              <a:t>No bureaucratic and legal overhead costs for launch.</a:t>
            </a:r>
          </a:p>
          <a:p>
            <a:pPr lvl="3"/>
            <a:r>
              <a:rPr lang="en-US" sz="800"/>
              <a:t>Provides the infrastructure for API development and collaborative projects.</a:t>
            </a:r>
          </a:p>
          <a:p>
            <a:pPr lvl="3"/>
            <a:r>
              <a:rPr lang="en-US" sz="800"/>
              <a:t>Limited to the hosts rules and conditions.</a:t>
            </a:r>
          </a:p>
        </p:txBody>
      </p:sp>
    </p:spTree>
    <p:extLst>
      <p:ext uri="{BB962C8B-B14F-4D97-AF65-F5344CB8AC3E}">
        <p14:creationId xmlns:p14="http://schemas.microsoft.com/office/powerpoint/2010/main" val="10789890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Objekt 44" hidden="1">
            <a:extLst>
              <a:ext uri="{FF2B5EF4-FFF2-40B4-BE49-F238E27FC236}">
                <a16:creationId xmlns:a16="http://schemas.microsoft.com/office/drawing/2014/main" id="{249ACC2C-4245-439C-935F-45259A18C2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45" name="Objekt 44" hidden="1">
                        <a:extLst>
                          <a:ext uri="{FF2B5EF4-FFF2-40B4-BE49-F238E27FC236}">
                            <a16:creationId xmlns:a16="http://schemas.microsoft.com/office/drawing/2014/main" id="{249ACC2C-4245-439C-935F-45259A18C2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30CB9C5-1D04-4B1D-9E06-9EECBAD81A55}"/>
              </a:ext>
            </a:extLst>
          </p:cNvPr>
          <p:cNvSpPr>
            <a:spLocks noGrp="1"/>
          </p:cNvSpPr>
          <p:nvPr>
            <p:ph type="title"/>
          </p:nvPr>
        </p:nvSpPr>
        <p:spPr/>
        <p:txBody>
          <a:bodyPr vert="horz"/>
          <a:lstStyle/>
          <a:p>
            <a:r>
              <a:rPr lang="en-US">
                <a:solidFill>
                  <a:schemeClr val="accent6">
                    <a:lumMod val="50000"/>
                  </a:schemeClr>
                </a:solidFill>
              </a:rPr>
              <a:t>A hybrid approach (GSMA + CNCF) might be a reasonable solution.</a:t>
            </a:r>
            <a:endParaRPr lang="en-US"/>
          </a:p>
        </p:txBody>
      </p:sp>
      <p:grpSp>
        <p:nvGrpSpPr>
          <p:cNvPr id="46" name="Gruppieren 45">
            <a:extLst>
              <a:ext uri="{FF2B5EF4-FFF2-40B4-BE49-F238E27FC236}">
                <a16:creationId xmlns:a16="http://schemas.microsoft.com/office/drawing/2014/main" id="{494554DB-DD51-4544-B796-32E4E2D89C4A}"/>
              </a:ext>
            </a:extLst>
          </p:cNvPr>
          <p:cNvGrpSpPr/>
          <p:nvPr/>
        </p:nvGrpSpPr>
        <p:grpSpPr>
          <a:xfrm>
            <a:off x="511090" y="1567868"/>
            <a:ext cx="10499892" cy="4071035"/>
            <a:chOff x="511090" y="1585285"/>
            <a:chExt cx="10499892" cy="4071035"/>
          </a:xfrm>
        </p:grpSpPr>
        <p:cxnSp>
          <p:nvCxnSpPr>
            <p:cNvPr id="40" name="Gerade Verbindung mit Pfeil 39">
              <a:extLst>
                <a:ext uri="{FF2B5EF4-FFF2-40B4-BE49-F238E27FC236}">
                  <a16:creationId xmlns:a16="http://schemas.microsoft.com/office/drawing/2014/main" id="{E1D3F91A-4A38-4208-9CA0-207377F8B7A1}"/>
                </a:ext>
              </a:extLst>
            </p:cNvPr>
            <p:cNvCxnSpPr>
              <a:cxnSpLocks/>
              <a:stCxn id="61" idx="6"/>
            </p:cNvCxnSpPr>
            <p:nvPr/>
          </p:nvCxnSpPr>
          <p:spPr>
            <a:xfrm>
              <a:off x="8818137" y="4054767"/>
              <a:ext cx="2059413" cy="0"/>
            </a:xfrm>
            <a:prstGeom prst="straightConnector1">
              <a:avLst/>
            </a:prstGeom>
            <a:ln w="28575" cap="rnd">
              <a:solidFill>
                <a:schemeClr val="tx2">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 name="Textfeld 3">
              <a:extLst>
                <a:ext uri="{FF2B5EF4-FFF2-40B4-BE49-F238E27FC236}">
                  <a16:creationId xmlns:a16="http://schemas.microsoft.com/office/drawing/2014/main" id="{6C478F80-31A9-45DC-8571-557F49B50F52}"/>
                </a:ext>
              </a:extLst>
            </p:cNvPr>
            <p:cNvSpPr txBox="1"/>
            <p:nvPr/>
          </p:nvSpPr>
          <p:spPr bwMode="gray">
            <a:xfrm>
              <a:off x="1884079" y="3271456"/>
              <a:ext cx="1245314" cy="591215"/>
            </a:xfrm>
            <a:prstGeom prst="roundRect">
              <a:avLst/>
            </a:prstGeom>
            <a:solidFill>
              <a:srgbClr val="002060">
                <a:alpha val="10196"/>
              </a:srgbClr>
            </a:solidFill>
            <a:ln w="28575">
              <a:solidFill>
                <a:schemeClr val="bg1"/>
              </a:solidFill>
              <a:prstDash val="solid"/>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vert="horz" wrap="square" lIns="36000" tIns="36000" rIns="36000" bIns="36000" numCol="1" rtlCol="0" anchor="ctr" anchorCtr="0" compatLnSpc="1">
              <a:prstTxWarp prst="textNoShape">
                <a:avLst/>
              </a:prstTxWarp>
              <a:noAutofit/>
            </a:bodyPr>
            <a:lstStyle>
              <a:defPPr>
                <a:defRPr lang="de-DE"/>
              </a:defPPr>
              <a:lvl1pPr indent="0" algn="ctr" defTabSz="483635">
                <a:lnSpc>
                  <a:spcPct val="100000"/>
                </a:lnSpc>
                <a:buClr>
                  <a:schemeClr val="tx2"/>
                </a:buClr>
                <a:buFont typeface="Wingdings" panose="05000000000000000000" pitchFamily="2" charset="2"/>
                <a:buNone/>
                <a:defRPr sz="1000" b="1">
                  <a:solidFill>
                    <a:srgbClr val="004750"/>
                  </a:solidFill>
                  <a:latin typeface="FlexoSoft" panose="02000000000000000000" pitchFamily="2" charset="0"/>
                  <a:cs typeface="Calibri Light" panose="020F0302020204030204" pitchFamily="34" charset="0"/>
                </a:defRPr>
              </a:lvl1pPr>
            </a:lstStyle>
            <a:p>
              <a:r>
                <a:rPr lang="en-US"/>
                <a:t>Private Global API Team</a:t>
              </a:r>
            </a:p>
          </p:txBody>
        </p:sp>
        <p:sp>
          <p:nvSpPr>
            <p:cNvPr id="5" name="Textfeld 4">
              <a:extLst>
                <a:ext uri="{FF2B5EF4-FFF2-40B4-BE49-F238E27FC236}">
                  <a16:creationId xmlns:a16="http://schemas.microsoft.com/office/drawing/2014/main" id="{19C23119-6B3F-4305-8AB2-66A8BEF24B4B}"/>
                </a:ext>
              </a:extLst>
            </p:cNvPr>
            <p:cNvSpPr txBox="1"/>
            <p:nvPr/>
          </p:nvSpPr>
          <p:spPr bwMode="gray">
            <a:xfrm>
              <a:off x="9032893" y="4220082"/>
              <a:ext cx="1978089" cy="987771"/>
            </a:xfrm>
            <a:prstGeom prst="rect">
              <a:avLst/>
            </a:prstGeom>
            <a:ln w="12700">
              <a:noFill/>
              <a:prstDash val="dash"/>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vert="horz" wrap="square" lIns="36000" tIns="0" rIns="36000" bIns="0" numCol="1" rtlCol="0" anchor="t" anchorCtr="0" compatLnSpc="1">
              <a:prstTxWarp prst="textNoShape">
                <a:avLst/>
              </a:prstTxWarp>
              <a:spAutoFit/>
            </a:bodyPr>
            <a:lstStyle>
              <a:defPPr>
                <a:defRPr lang="de-DE"/>
              </a:defPPr>
              <a:lvl1pPr indent="0" defTabSz="483635">
                <a:lnSpc>
                  <a:spcPct val="150000"/>
                </a:lnSpc>
                <a:buClr>
                  <a:schemeClr val="tx2"/>
                </a:buClr>
                <a:buFont typeface="Wingdings" panose="05000000000000000000" pitchFamily="2" charset="2"/>
                <a:buNone/>
                <a:defRPr sz="1100">
                  <a:solidFill>
                    <a:schemeClr val="accent6">
                      <a:lumMod val="50000"/>
                    </a:schemeClr>
                  </a:solidFill>
                  <a:latin typeface="FlexoSoft" panose="02000000000000000000" pitchFamily="2" charset="0"/>
                  <a:cs typeface="Calibri Light" panose="020F0302020204030204" pitchFamily="34" charset="0"/>
                </a:defRPr>
              </a:lvl1pPr>
              <a:lvl3pPr marL="171450" lvl="2" indent="-171450" defTabSz="483635">
                <a:lnSpc>
                  <a:spcPct val="150000"/>
                </a:lnSpc>
                <a:buClr>
                  <a:schemeClr val="tx2"/>
                </a:buClr>
                <a:buFont typeface="Arial" panose="020B0604020202020204" pitchFamily="34" charset="0"/>
                <a:buChar char="•"/>
                <a:defRPr sz="1050">
                  <a:solidFill>
                    <a:srgbClr val="004750"/>
                  </a:solidFill>
                  <a:latin typeface="FlexoSoft" panose="02000000000000000000" pitchFamily="2" charset="0"/>
                  <a:cs typeface="Calibri Light" panose="020F0302020204030204" pitchFamily="34" charset="0"/>
                </a:defRPr>
              </a:lvl3pPr>
            </a:lstStyle>
            <a:p>
              <a:pPr marL="0" lvl="2" indent="0">
                <a:buNone/>
              </a:pPr>
              <a:r>
                <a:rPr lang="en-US" sz="1000" b="1">
                  <a:solidFill>
                    <a:schemeClr val="tx2">
                      <a:lumMod val="50000"/>
                      <a:lumOff val="50000"/>
                    </a:schemeClr>
                  </a:solidFill>
                </a:rPr>
                <a:t>API deployment and go-to-market (Out of scope)</a:t>
              </a:r>
              <a:endParaRPr lang="en-US" sz="700">
                <a:solidFill>
                  <a:schemeClr val="tx2">
                    <a:lumMod val="50000"/>
                    <a:lumOff val="50000"/>
                  </a:schemeClr>
                </a:solidFill>
              </a:endParaRPr>
            </a:p>
            <a:p>
              <a:pPr marL="0" lvl="2" indent="0">
                <a:buNone/>
              </a:pPr>
              <a:endParaRPr lang="en-US" sz="700">
                <a:solidFill>
                  <a:schemeClr val="tx2">
                    <a:lumMod val="50000"/>
                    <a:lumOff val="50000"/>
                  </a:schemeClr>
                </a:solidFill>
              </a:endParaRPr>
            </a:p>
            <a:p>
              <a:pPr marL="0" lvl="2" indent="0">
                <a:buNone/>
              </a:pPr>
              <a:endParaRPr lang="en-US" sz="700">
                <a:solidFill>
                  <a:schemeClr val="tx2">
                    <a:lumMod val="50000"/>
                    <a:lumOff val="50000"/>
                  </a:schemeClr>
                </a:solidFill>
              </a:endParaRPr>
            </a:p>
            <a:p>
              <a:pPr marL="0" lvl="2" indent="0">
                <a:buNone/>
              </a:pPr>
              <a:endParaRPr lang="en-US" sz="1000" b="1">
                <a:solidFill>
                  <a:schemeClr val="tx2">
                    <a:lumMod val="50000"/>
                    <a:lumOff val="50000"/>
                  </a:schemeClr>
                </a:solidFill>
              </a:endParaRPr>
            </a:p>
          </p:txBody>
        </p:sp>
        <p:cxnSp>
          <p:nvCxnSpPr>
            <p:cNvPr id="6" name="Gerade Verbindung mit Pfeil 5">
              <a:extLst>
                <a:ext uri="{FF2B5EF4-FFF2-40B4-BE49-F238E27FC236}">
                  <a16:creationId xmlns:a16="http://schemas.microsoft.com/office/drawing/2014/main" id="{F5F09235-9BFD-42B2-9F0D-0673B2C53BA9}"/>
                </a:ext>
              </a:extLst>
            </p:cNvPr>
            <p:cNvCxnSpPr>
              <a:cxnSpLocks/>
              <a:endCxn id="61" idx="2"/>
            </p:cNvCxnSpPr>
            <p:nvPr/>
          </p:nvCxnSpPr>
          <p:spPr>
            <a:xfrm flipV="1">
              <a:off x="590588" y="4054767"/>
              <a:ext cx="8118260" cy="4272"/>
            </a:xfrm>
            <a:prstGeom prst="straightConnector1">
              <a:avLst/>
            </a:prstGeom>
            <a:ln w="28575" cap="rnd">
              <a:solidFill>
                <a:srgbClr val="004750"/>
              </a:solidFill>
              <a:tailEnd type="triangle"/>
            </a:ln>
          </p:spPr>
          <p:style>
            <a:lnRef idx="1">
              <a:schemeClr val="accent1"/>
            </a:lnRef>
            <a:fillRef idx="0">
              <a:schemeClr val="accent1"/>
            </a:fillRef>
            <a:effectRef idx="0">
              <a:schemeClr val="accent1"/>
            </a:effectRef>
            <a:fontRef idx="minor">
              <a:schemeClr val="tx1"/>
            </a:fontRef>
          </p:style>
        </p:cxnSp>
        <p:sp>
          <p:nvSpPr>
            <p:cNvPr id="7" name="Textfeld 6">
              <a:extLst>
                <a:ext uri="{FF2B5EF4-FFF2-40B4-BE49-F238E27FC236}">
                  <a16:creationId xmlns:a16="http://schemas.microsoft.com/office/drawing/2014/main" id="{B5DA88EF-E33B-4858-BC9E-EB4585EDB775}"/>
                </a:ext>
              </a:extLst>
            </p:cNvPr>
            <p:cNvSpPr txBox="1"/>
            <p:nvPr/>
          </p:nvSpPr>
          <p:spPr bwMode="gray">
            <a:xfrm>
              <a:off x="822811" y="4244715"/>
              <a:ext cx="1978089" cy="1411605"/>
            </a:xfrm>
            <a:prstGeom prst="rect">
              <a:avLst/>
            </a:prstGeom>
            <a:ln w="12700">
              <a:noFill/>
              <a:prstDash val="dash"/>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vert="horz" wrap="square" lIns="36000" tIns="0" rIns="36000" bIns="0" numCol="1" rtlCol="0" anchor="t" anchorCtr="0" compatLnSpc="1">
              <a:prstTxWarp prst="textNoShape">
                <a:avLst/>
              </a:prstTxWarp>
              <a:spAutoFit/>
            </a:bodyPr>
            <a:lstStyle>
              <a:defPPr>
                <a:defRPr lang="de-DE"/>
              </a:defPPr>
              <a:lvl1pPr indent="0" defTabSz="483635">
                <a:lnSpc>
                  <a:spcPct val="150000"/>
                </a:lnSpc>
                <a:buClr>
                  <a:schemeClr val="tx2"/>
                </a:buClr>
                <a:buFont typeface="Wingdings" panose="05000000000000000000" pitchFamily="2" charset="2"/>
                <a:buNone/>
                <a:defRPr sz="1100">
                  <a:solidFill>
                    <a:schemeClr val="accent6">
                      <a:lumMod val="50000"/>
                    </a:schemeClr>
                  </a:solidFill>
                  <a:latin typeface="FlexoSoft" panose="02000000000000000000" pitchFamily="2" charset="0"/>
                  <a:cs typeface="Calibri Light" panose="020F0302020204030204" pitchFamily="34" charset="0"/>
                </a:defRPr>
              </a:lvl1pPr>
            </a:lstStyle>
            <a:p>
              <a:pPr marL="0" lvl="2" defTabSz="483635">
                <a:lnSpc>
                  <a:spcPct val="150000"/>
                </a:lnSpc>
                <a:buClr>
                  <a:schemeClr val="tx2"/>
                </a:buClr>
              </a:pPr>
              <a:r>
                <a:rPr lang="en-US" sz="1000" b="1">
                  <a:solidFill>
                    <a:srgbClr val="004750"/>
                  </a:solidFill>
                  <a:latin typeface="FlexoSoft" panose="02000000000000000000" pitchFamily="2" charset="0"/>
                  <a:cs typeface="Calibri Light" panose="020F0302020204030204" pitchFamily="34" charset="0"/>
                </a:rPr>
                <a:t>1. Develop pre-standards APIs </a:t>
              </a:r>
            </a:p>
            <a:p>
              <a:pPr marL="0" lvl="2" defTabSz="483635">
                <a:lnSpc>
                  <a:spcPct val="150000"/>
                </a:lnSpc>
                <a:buClr>
                  <a:schemeClr val="tx2"/>
                </a:buClr>
              </a:pPr>
              <a:r>
                <a:rPr lang="en-US" sz="1000" b="1">
                  <a:solidFill>
                    <a:srgbClr val="004750"/>
                  </a:solidFill>
                  <a:latin typeface="FlexoSoft" panose="02000000000000000000" pitchFamily="2" charset="0"/>
                  <a:cs typeface="Calibri Light" panose="020F0302020204030204" pitchFamily="34" charset="0"/>
                </a:rPr>
                <a:t>in CNCF</a:t>
              </a:r>
            </a:p>
            <a:p>
              <a:pPr marL="171450" lvl="2" indent="-171450" defTabSz="483635">
                <a:lnSpc>
                  <a:spcPct val="150000"/>
                </a:lnSpc>
                <a:buClr>
                  <a:schemeClr val="tx2"/>
                </a:buClr>
                <a:buFont typeface="Wingdings" panose="05000000000000000000" pitchFamily="2" charset="2"/>
                <a:buChar char="§"/>
              </a:pPr>
              <a:r>
                <a:rPr lang="en-US" sz="700">
                  <a:solidFill>
                    <a:srgbClr val="004750"/>
                  </a:solidFill>
                  <a:latin typeface="FlexoSoft" panose="02000000000000000000" pitchFamily="2" charset="0"/>
                  <a:cs typeface="Calibri Light" panose="020F0302020204030204" pitchFamily="34" charset="0"/>
                </a:rPr>
                <a:t>Create visibility with target developers</a:t>
              </a:r>
            </a:p>
            <a:p>
              <a:pPr marL="171450" lvl="2" indent="-171450" defTabSz="483635">
                <a:lnSpc>
                  <a:spcPct val="150000"/>
                </a:lnSpc>
                <a:buClr>
                  <a:schemeClr val="tx2"/>
                </a:buClr>
                <a:buFont typeface="Wingdings" panose="05000000000000000000" pitchFamily="2" charset="2"/>
                <a:buChar char="§"/>
              </a:pPr>
              <a:r>
                <a:rPr lang="en-US" sz="700">
                  <a:solidFill>
                    <a:srgbClr val="004750"/>
                  </a:solidFill>
                  <a:latin typeface="FlexoSoft" panose="02000000000000000000" pitchFamily="2" charset="0"/>
                  <a:cs typeface="Calibri Light" panose="020F0302020204030204" pitchFamily="34" charset="0"/>
                </a:rPr>
                <a:t>Provide intent-based APIs through familiar technologies (</a:t>
              </a:r>
              <a:r>
                <a:rPr lang="en-US" sz="700" err="1">
                  <a:solidFill>
                    <a:srgbClr val="004750"/>
                  </a:solidFill>
                  <a:latin typeface="FlexoSoft" panose="02000000000000000000" pitchFamily="2" charset="0"/>
                  <a:cs typeface="Calibri Light" panose="020F0302020204030204" pitchFamily="34" charset="0"/>
                </a:rPr>
                <a:t>etc</a:t>
              </a:r>
              <a:r>
                <a:rPr lang="en-US" sz="700">
                  <a:solidFill>
                    <a:srgbClr val="004750"/>
                  </a:solidFill>
                  <a:latin typeface="FlexoSoft" panose="02000000000000000000" pitchFamily="2" charset="0"/>
                  <a:cs typeface="Calibri Light" panose="020F0302020204030204" pitchFamily="34" charset="0"/>
                </a:rPr>
                <a:t>, NATS)</a:t>
              </a:r>
            </a:p>
            <a:p>
              <a:pPr marL="171450" lvl="2" indent="-171450" defTabSz="483635">
                <a:lnSpc>
                  <a:spcPct val="150000"/>
                </a:lnSpc>
                <a:buClr>
                  <a:schemeClr val="tx2"/>
                </a:buClr>
                <a:buFont typeface="Wingdings" panose="05000000000000000000" pitchFamily="2" charset="2"/>
                <a:buChar char="§"/>
              </a:pPr>
              <a:r>
                <a:rPr lang="en-US" sz="700">
                  <a:solidFill>
                    <a:srgbClr val="004750"/>
                  </a:solidFill>
                  <a:latin typeface="FlexoSoft" panose="02000000000000000000" pitchFamily="2" charset="0"/>
                  <a:cs typeface="Calibri Light" panose="020F0302020204030204" pitchFamily="34" charset="0"/>
                </a:rPr>
                <a:t>Showcase operator partnerships to rest of the industry</a:t>
              </a:r>
            </a:p>
            <a:p>
              <a:pPr marL="171450" lvl="2" indent="-171450" defTabSz="483635">
                <a:lnSpc>
                  <a:spcPct val="150000"/>
                </a:lnSpc>
                <a:buClr>
                  <a:schemeClr val="tx2"/>
                </a:buClr>
                <a:buFont typeface="Wingdings" panose="05000000000000000000" pitchFamily="2" charset="2"/>
                <a:buChar char="§"/>
              </a:pPr>
              <a:endParaRPr lang="en-US" sz="700">
                <a:solidFill>
                  <a:srgbClr val="004750"/>
                </a:solidFill>
                <a:latin typeface="FlexoSoft" panose="02000000000000000000" pitchFamily="2" charset="0"/>
                <a:cs typeface="Calibri Light" panose="020F0302020204030204" pitchFamily="34" charset="0"/>
              </a:endParaRPr>
            </a:p>
          </p:txBody>
        </p:sp>
        <p:sp>
          <p:nvSpPr>
            <p:cNvPr id="8" name="Textfeld 7">
              <a:extLst>
                <a:ext uri="{FF2B5EF4-FFF2-40B4-BE49-F238E27FC236}">
                  <a16:creationId xmlns:a16="http://schemas.microsoft.com/office/drawing/2014/main" id="{64A0438E-37C1-4D00-8052-C1252BACE6D9}"/>
                </a:ext>
              </a:extLst>
            </p:cNvPr>
            <p:cNvSpPr txBox="1"/>
            <p:nvPr/>
          </p:nvSpPr>
          <p:spPr bwMode="gray">
            <a:xfrm>
              <a:off x="4009255" y="4220082"/>
              <a:ext cx="1978089" cy="1411605"/>
            </a:xfrm>
            <a:prstGeom prst="rect">
              <a:avLst/>
            </a:prstGeom>
            <a:ln w="12700">
              <a:noFill/>
              <a:prstDash val="dash"/>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vert="horz" wrap="square" lIns="36000" tIns="0" rIns="36000" bIns="0" numCol="1" rtlCol="0" anchor="t" anchorCtr="0" compatLnSpc="1">
              <a:prstTxWarp prst="textNoShape">
                <a:avLst/>
              </a:prstTxWarp>
              <a:spAutoFit/>
            </a:bodyPr>
            <a:lstStyle>
              <a:defPPr>
                <a:defRPr lang="de-DE"/>
              </a:defPPr>
              <a:lvl1pPr indent="0" defTabSz="483635">
                <a:lnSpc>
                  <a:spcPct val="150000"/>
                </a:lnSpc>
                <a:buClr>
                  <a:schemeClr val="tx2"/>
                </a:buClr>
                <a:buFont typeface="Wingdings" panose="05000000000000000000" pitchFamily="2" charset="2"/>
                <a:buNone/>
                <a:defRPr sz="1100">
                  <a:solidFill>
                    <a:schemeClr val="accent6">
                      <a:lumMod val="50000"/>
                    </a:schemeClr>
                  </a:solidFill>
                  <a:latin typeface="FlexoSoft" panose="02000000000000000000" pitchFamily="2" charset="0"/>
                  <a:cs typeface="Calibri Light" panose="020F0302020204030204" pitchFamily="34" charset="0"/>
                </a:defRPr>
              </a:lvl1pPr>
              <a:lvl3pPr marL="171450" lvl="2" indent="-171450" defTabSz="483635">
                <a:lnSpc>
                  <a:spcPct val="150000"/>
                </a:lnSpc>
                <a:buClr>
                  <a:schemeClr val="tx2"/>
                </a:buClr>
                <a:buFont typeface="Arial" panose="020B0604020202020204" pitchFamily="34" charset="0"/>
                <a:buChar char="•"/>
                <a:defRPr sz="1050">
                  <a:solidFill>
                    <a:srgbClr val="004750"/>
                  </a:solidFill>
                  <a:latin typeface="FlexoSoft" panose="02000000000000000000" pitchFamily="2" charset="0"/>
                  <a:cs typeface="Calibri Light" panose="020F0302020204030204" pitchFamily="34" charset="0"/>
                </a:defRPr>
              </a:lvl3pPr>
            </a:lstStyle>
            <a:p>
              <a:pPr marL="0" lvl="2" indent="0">
                <a:buNone/>
              </a:pPr>
              <a:r>
                <a:rPr lang="en-US" sz="1000" b="1"/>
                <a:t>2. Test the pre-standards with Telcos</a:t>
              </a:r>
            </a:p>
            <a:p>
              <a:pPr lvl="2">
                <a:buFont typeface="Wingdings" panose="05000000000000000000" pitchFamily="2" charset="2"/>
                <a:buChar char="§"/>
              </a:pPr>
              <a:r>
                <a:rPr lang="en-US" sz="700"/>
                <a:t>Identify developer pain, performance bottlenecks, and poor scaling</a:t>
              </a:r>
            </a:p>
            <a:p>
              <a:pPr lvl="2">
                <a:buFont typeface="Wingdings" panose="05000000000000000000" pitchFamily="2" charset="2"/>
                <a:buChar char="§"/>
              </a:pPr>
              <a:r>
                <a:rPr lang="en-US" sz="700"/>
                <a:t>Adjust protocols and implementations as problems arise</a:t>
              </a:r>
            </a:p>
            <a:p>
              <a:pPr lvl="2">
                <a:buFont typeface="Wingdings" panose="05000000000000000000" pitchFamily="2" charset="2"/>
                <a:buChar char="§"/>
              </a:pPr>
              <a:r>
                <a:rPr lang="en-US" sz="700"/>
                <a:t>Engage with projects through Linux membership or CNCF End User Community</a:t>
              </a:r>
            </a:p>
          </p:txBody>
        </p:sp>
        <p:sp>
          <p:nvSpPr>
            <p:cNvPr id="9" name="Ellipse 8">
              <a:extLst>
                <a:ext uri="{FF2B5EF4-FFF2-40B4-BE49-F238E27FC236}">
                  <a16:creationId xmlns:a16="http://schemas.microsoft.com/office/drawing/2014/main" id="{659CCC11-AB1A-4F15-8AC6-54878824FF89}"/>
                </a:ext>
              </a:extLst>
            </p:cNvPr>
            <p:cNvSpPr/>
            <p:nvPr/>
          </p:nvSpPr>
          <p:spPr>
            <a:xfrm>
              <a:off x="1757212" y="4004394"/>
              <a:ext cx="109289" cy="109289"/>
            </a:xfrm>
            <a:prstGeom prst="ellipse">
              <a:avLst/>
            </a:prstGeom>
            <a:solidFill>
              <a:schemeClr val="bg1"/>
            </a:solidFill>
            <a:ln>
              <a:solidFill>
                <a:srgbClr val="0047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4073AA1F-F9E5-40D8-9E97-C0734C1469FA}"/>
                </a:ext>
              </a:extLst>
            </p:cNvPr>
            <p:cNvSpPr/>
            <p:nvPr/>
          </p:nvSpPr>
          <p:spPr>
            <a:xfrm>
              <a:off x="4941776" y="4004394"/>
              <a:ext cx="109289" cy="109289"/>
            </a:xfrm>
            <a:prstGeom prst="ellipse">
              <a:avLst/>
            </a:prstGeom>
            <a:solidFill>
              <a:schemeClr val="bg1"/>
            </a:solidFill>
            <a:ln>
              <a:solidFill>
                <a:srgbClr val="0047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Ellipse 10">
              <a:extLst>
                <a:ext uri="{FF2B5EF4-FFF2-40B4-BE49-F238E27FC236}">
                  <a16:creationId xmlns:a16="http://schemas.microsoft.com/office/drawing/2014/main" id="{7180B60B-4CF4-4FC2-8E02-82DAAA37F157}"/>
                </a:ext>
              </a:extLst>
            </p:cNvPr>
            <p:cNvSpPr/>
            <p:nvPr/>
          </p:nvSpPr>
          <p:spPr>
            <a:xfrm>
              <a:off x="9967294" y="4004394"/>
              <a:ext cx="109289" cy="109289"/>
            </a:xfrm>
            <a:prstGeom prst="ellipse">
              <a:avLst/>
            </a:prstGeom>
            <a:solidFill>
              <a:schemeClr val="bg1"/>
            </a:solidFill>
            <a:ln>
              <a:solidFill>
                <a:schemeClr val="tx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Ellipse 11">
              <a:extLst>
                <a:ext uri="{FF2B5EF4-FFF2-40B4-BE49-F238E27FC236}">
                  <a16:creationId xmlns:a16="http://schemas.microsoft.com/office/drawing/2014/main" id="{3A0DF386-41D7-454A-9F38-CAC1CBBA491A}"/>
                </a:ext>
              </a:extLst>
            </p:cNvPr>
            <p:cNvSpPr/>
            <p:nvPr/>
          </p:nvSpPr>
          <p:spPr>
            <a:xfrm>
              <a:off x="7454535" y="4004394"/>
              <a:ext cx="109289" cy="109289"/>
            </a:xfrm>
            <a:prstGeom prst="ellipse">
              <a:avLst/>
            </a:prstGeom>
            <a:solidFill>
              <a:schemeClr val="bg1"/>
            </a:solidFill>
            <a:ln>
              <a:solidFill>
                <a:srgbClr val="0047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E6D7FBB7-27B6-449E-A378-8A388907AE59}"/>
                </a:ext>
              </a:extLst>
            </p:cNvPr>
            <p:cNvSpPr txBox="1"/>
            <p:nvPr/>
          </p:nvSpPr>
          <p:spPr bwMode="gray">
            <a:xfrm>
              <a:off x="6520134" y="4206380"/>
              <a:ext cx="1978089" cy="1080104"/>
            </a:xfrm>
            <a:prstGeom prst="rect">
              <a:avLst/>
            </a:prstGeom>
            <a:ln w="12700">
              <a:noFill/>
              <a:prstDash val="dash"/>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vert="horz" wrap="square" lIns="36000" tIns="0" rIns="36000" bIns="0" numCol="1" rtlCol="0" anchor="t" anchorCtr="0" compatLnSpc="1">
              <a:prstTxWarp prst="textNoShape">
                <a:avLst/>
              </a:prstTxWarp>
              <a:spAutoFit/>
            </a:bodyPr>
            <a:lstStyle>
              <a:defPPr>
                <a:defRPr lang="de-DE"/>
              </a:defPPr>
              <a:lvl1pPr indent="0" defTabSz="483635">
                <a:lnSpc>
                  <a:spcPct val="150000"/>
                </a:lnSpc>
                <a:buClr>
                  <a:schemeClr val="tx2"/>
                </a:buClr>
                <a:buFont typeface="Wingdings" panose="05000000000000000000" pitchFamily="2" charset="2"/>
                <a:buNone/>
                <a:defRPr sz="1100">
                  <a:solidFill>
                    <a:schemeClr val="accent6">
                      <a:lumMod val="50000"/>
                    </a:schemeClr>
                  </a:solidFill>
                  <a:latin typeface="FlexoSoft" panose="02000000000000000000" pitchFamily="2" charset="0"/>
                  <a:cs typeface="Calibri Light" panose="020F0302020204030204" pitchFamily="34" charset="0"/>
                </a:defRPr>
              </a:lvl1pPr>
              <a:lvl3pPr marL="171450" lvl="2" indent="-171450" defTabSz="483635">
                <a:lnSpc>
                  <a:spcPct val="150000"/>
                </a:lnSpc>
                <a:buClr>
                  <a:schemeClr val="tx2"/>
                </a:buClr>
                <a:buFont typeface="Arial" panose="020B0604020202020204" pitchFamily="34" charset="0"/>
                <a:buChar char="•"/>
                <a:defRPr sz="1050">
                  <a:solidFill>
                    <a:srgbClr val="004750"/>
                  </a:solidFill>
                  <a:latin typeface="FlexoSoft" panose="02000000000000000000" pitchFamily="2" charset="0"/>
                  <a:cs typeface="Calibri Light" panose="020F0302020204030204" pitchFamily="34" charset="0"/>
                </a:defRPr>
              </a:lvl3pPr>
            </a:lstStyle>
            <a:p>
              <a:pPr marL="0" lvl="2" indent="0">
                <a:buNone/>
              </a:pPr>
              <a:r>
                <a:rPr lang="en-US" sz="1000" b="1"/>
                <a:t>3. Publish APIs in GSMA</a:t>
              </a:r>
            </a:p>
            <a:p>
              <a:pPr lvl="2">
                <a:buFont typeface="Wingdings" panose="05000000000000000000" pitchFamily="2" charset="2"/>
                <a:buChar char="§"/>
              </a:pPr>
              <a:r>
                <a:rPr lang="en-US" sz="700"/>
                <a:t>Document APIs and releases in parallel to development</a:t>
              </a:r>
            </a:p>
            <a:p>
              <a:pPr lvl="2">
                <a:buFont typeface="Wingdings" panose="05000000000000000000" pitchFamily="2" charset="2"/>
                <a:buChar char="§"/>
              </a:pPr>
              <a:r>
                <a:rPr lang="en-US" sz="700"/>
                <a:t>Define use cases</a:t>
              </a:r>
            </a:p>
            <a:p>
              <a:pPr marL="0" lvl="2" indent="0">
                <a:buNone/>
              </a:pPr>
              <a:endParaRPr lang="en-US" sz="700"/>
            </a:p>
            <a:p>
              <a:pPr algn="ctr"/>
              <a:endParaRPr lang="en-US" sz="1000" b="1"/>
            </a:p>
          </p:txBody>
        </p:sp>
        <p:sp>
          <p:nvSpPr>
            <p:cNvPr id="14" name="Textfeld 13">
              <a:extLst>
                <a:ext uri="{FF2B5EF4-FFF2-40B4-BE49-F238E27FC236}">
                  <a16:creationId xmlns:a16="http://schemas.microsoft.com/office/drawing/2014/main" id="{0D263BEC-1038-4D75-869B-4D85D4C614D0}"/>
                </a:ext>
              </a:extLst>
            </p:cNvPr>
            <p:cNvSpPr txBox="1"/>
            <p:nvPr/>
          </p:nvSpPr>
          <p:spPr bwMode="gray">
            <a:xfrm>
              <a:off x="7079762" y="3206155"/>
              <a:ext cx="1121555" cy="540138"/>
            </a:xfrm>
            <a:prstGeom prst="roundRect">
              <a:avLst/>
            </a:prstGeom>
            <a:solidFill>
              <a:srgbClr val="FFE5E5"/>
            </a:solidFill>
            <a:ln w="28575">
              <a:solidFill>
                <a:schemeClr val="bg1"/>
              </a:solidFill>
              <a:prstDash val="solid"/>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vert="horz" wrap="square" lIns="36000" tIns="36000" rIns="36000" bIns="36000" numCol="1" rtlCol="0" anchor="t" anchorCtr="0" compatLnSpc="1">
              <a:prstTxWarp prst="textNoShape">
                <a:avLst/>
              </a:prstTxWarp>
              <a:noAutofit/>
            </a:bodyPr>
            <a:lstStyle>
              <a:defPPr>
                <a:defRPr lang="de-DE"/>
              </a:defPPr>
              <a:lvl1pPr indent="0" defTabSz="483635">
                <a:lnSpc>
                  <a:spcPct val="150000"/>
                </a:lnSpc>
                <a:buClr>
                  <a:schemeClr val="tx2"/>
                </a:buClr>
                <a:buFont typeface="Wingdings" panose="05000000000000000000" pitchFamily="2" charset="2"/>
                <a:buNone/>
                <a:defRPr sz="1100">
                  <a:solidFill>
                    <a:schemeClr val="accent6">
                      <a:lumMod val="50000"/>
                    </a:schemeClr>
                  </a:solidFill>
                  <a:latin typeface="FlexoSoft" panose="02000000000000000000" pitchFamily="2" charset="0"/>
                  <a:cs typeface="Calibri Light" panose="020F0302020204030204" pitchFamily="34" charset="0"/>
                </a:defRPr>
              </a:lvl1pPr>
            </a:lstStyle>
            <a:p>
              <a:pPr algn="ctr">
                <a:lnSpc>
                  <a:spcPct val="100000"/>
                </a:lnSpc>
              </a:pPr>
              <a:endParaRPr lang="en-US" sz="1000">
                <a:solidFill>
                  <a:srgbClr val="004750"/>
                </a:solidFill>
              </a:endParaRPr>
            </a:p>
          </p:txBody>
        </p:sp>
        <p:sp>
          <p:nvSpPr>
            <p:cNvPr id="15" name="Textfeld 14">
              <a:extLst>
                <a:ext uri="{FF2B5EF4-FFF2-40B4-BE49-F238E27FC236}">
                  <a16:creationId xmlns:a16="http://schemas.microsoft.com/office/drawing/2014/main" id="{7EE770AC-CD19-467B-B0AD-4F9661326345}"/>
                </a:ext>
              </a:extLst>
            </p:cNvPr>
            <p:cNvSpPr txBox="1"/>
            <p:nvPr/>
          </p:nvSpPr>
          <p:spPr bwMode="gray">
            <a:xfrm>
              <a:off x="7009839" y="3275283"/>
              <a:ext cx="1121555" cy="540138"/>
            </a:xfrm>
            <a:prstGeom prst="roundRect">
              <a:avLst/>
            </a:prstGeom>
            <a:solidFill>
              <a:srgbClr val="FFE5E5"/>
            </a:solidFill>
            <a:ln w="28575">
              <a:solidFill>
                <a:schemeClr val="bg1"/>
              </a:solidFill>
              <a:prstDash val="solid"/>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vert="horz" wrap="square" lIns="36000" tIns="36000" rIns="36000" bIns="36000" numCol="1" rtlCol="0" anchor="t" anchorCtr="0" compatLnSpc="1">
              <a:prstTxWarp prst="textNoShape">
                <a:avLst/>
              </a:prstTxWarp>
              <a:noAutofit/>
            </a:bodyPr>
            <a:lstStyle>
              <a:defPPr>
                <a:defRPr lang="de-DE"/>
              </a:defPPr>
              <a:lvl1pPr indent="0" defTabSz="483635">
                <a:lnSpc>
                  <a:spcPct val="150000"/>
                </a:lnSpc>
                <a:buClr>
                  <a:schemeClr val="tx2"/>
                </a:buClr>
                <a:buFont typeface="Wingdings" panose="05000000000000000000" pitchFamily="2" charset="2"/>
                <a:buNone/>
                <a:defRPr sz="1100">
                  <a:solidFill>
                    <a:schemeClr val="accent6">
                      <a:lumMod val="50000"/>
                    </a:schemeClr>
                  </a:solidFill>
                  <a:latin typeface="FlexoSoft" panose="02000000000000000000" pitchFamily="2" charset="0"/>
                  <a:cs typeface="Calibri Light" panose="020F0302020204030204" pitchFamily="34" charset="0"/>
                </a:defRPr>
              </a:lvl1pPr>
            </a:lstStyle>
            <a:p>
              <a:pPr algn="ctr">
                <a:lnSpc>
                  <a:spcPct val="100000"/>
                </a:lnSpc>
              </a:pPr>
              <a:endParaRPr lang="en-US" sz="1000">
                <a:solidFill>
                  <a:srgbClr val="004750"/>
                </a:solidFill>
              </a:endParaRPr>
            </a:p>
          </p:txBody>
        </p:sp>
        <p:sp>
          <p:nvSpPr>
            <p:cNvPr id="16" name="Textfeld 15">
              <a:extLst>
                <a:ext uri="{FF2B5EF4-FFF2-40B4-BE49-F238E27FC236}">
                  <a16:creationId xmlns:a16="http://schemas.microsoft.com/office/drawing/2014/main" id="{27FE5210-7723-42B9-AD85-4563B924D294}"/>
                </a:ext>
              </a:extLst>
            </p:cNvPr>
            <p:cNvSpPr txBox="1"/>
            <p:nvPr/>
          </p:nvSpPr>
          <p:spPr bwMode="gray">
            <a:xfrm>
              <a:off x="6947960" y="3347855"/>
              <a:ext cx="1121555" cy="540000"/>
            </a:xfrm>
            <a:prstGeom prst="roundRect">
              <a:avLst/>
            </a:prstGeom>
            <a:solidFill>
              <a:srgbClr val="FFE5E5"/>
            </a:solidFill>
            <a:ln w="28575">
              <a:solidFill>
                <a:schemeClr val="bg1"/>
              </a:solidFill>
              <a:prstDash val="solid"/>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vert="horz" wrap="square" lIns="36000" tIns="36000" rIns="36000" bIns="36000" numCol="1" rtlCol="0" anchor="ctr" anchorCtr="0" compatLnSpc="1">
              <a:prstTxWarp prst="textNoShape">
                <a:avLst/>
              </a:prstTxWarp>
              <a:noAutofit/>
            </a:bodyPr>
            <a:lstStyle>
              <a:defPPr>
                <a:defRPr lang="de-DE"/>
              </a:defPPr>
              <a:lvl1pPr indent="0" defTabSz="483635">
                <a:lnSpc>
                  <a:spcPct val="150000"/>
                </a:lnSpc>
                <a:buClr>
                  <a:schemeClr val="tx2"/>
                </a:buClr>
                <a:buFont typeface="Wingdings" panose="05000000000000000000" pitchFamily="2" charset="2"/>
                <a:buNone/>
                <a:defRPr sz="1100">
                  <a:solidFill>
                    <a:schemeClr val="accent6">
                      <a:lumMod val="50000"/>
                    </a:schemeClr>
                  </a:solidFill>
                  <a:latin typeface="FlexoSoft" panose="02000000000000000000" pitchFamily="2" charset="0"/>
                  <a:cs typeface="Calibri Light" panose="020F0302020204030204" pitchFamily="34" charset="0"/>
                </a:defRPr>
              </a:lvl1pPr>
            </a:lstStyle>
            <a:p>
              <a:pPr algn="ctr">
                <a:lnSpc>
                  <a:spcPct val="100000"/>
                </a:lnSpc>
              </a:pPr>
              <a:r>
                <a:rPr lang="en-US" sz="1000" b="1">
                  <a:solidFill>
                    <a:srgbClr val="004750"/>
                  </a:solidFill>
                </a:rPr>
                <a:t>Working Group</a:t>
              </a:r>
            </a:p>
          </p:txBody>
        </p:sp>
        <p:sp>
          <p:nvSpPr>
            <p:cNvPr id="17" name="Textfeld 16">
              <a:extLst>
                <a:ext uri="{FF2B5EF4-FFF2-40B4-BE49-F238E27FC236}">
                  <a16:creationId xmlns:a16="http://schemas.microsoft.com/office/drawing/2014/main" id="{8B78DD78-4CB4-46E3-970B-CF3289FE325D}"/>
                </a:ext>
              </a:extLst>
            </p:cNvPr>
            <p:cNvSpPr txBox="1"/>
            <p:nvPr/>
          </p:nvSpPr>
          <p:spPr bwMode="gray">
            <a:xfrm>
              <a:off x="3883854" y="1585285"/>
              <a:ext cx="1684855" cy="420956"/>
            </a:xfrm>
            <a:prstGeom prst="roundRect">
              <a:avLst/>
            </a:prstGeom>
            <a:solidFill>
              <a:srgbClr val="004750">
                <a:alpha val="10196"/>
              </a:srgbClr>
            </a:solidFill>
            <a:ln w="28575">
              <a:solidFill>
                <a:schemeClr val="bg1"/>
              </a:solidFill>
              <a:prstDash val="solid"/>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vert="horz" wrap="square" lIns="36000" tIns="36000" rIns="36000" bIns="36000" numCol="1" rtlCol="0" anchor="ctr" anchorCtr="0" compatLnSpc="1">
              <a:prstTxWarp prst="textNoShape">
                <a:avLst/>
              </a:prstTxWarp>
              <a:spAutoFit/>
            </a:bodyPr>
            <a:lstStyle>
              <a:defPPr>
                <a:defRPr lang="de-DE"/>
              </a:defPPr>
              <a:lvl1pPr indent="0" algn="ctr" defTabSz="483635">
                <a:lnSpc>
                  <a:spcPct val="100000"/>
                </a:lnSpc>
                <a:buClr>
                  <a:schemeClr val="tx2"/>
                </a:buClr>
                <a:buFont typeface="Wingdings" panose="05000000000000000000" pitchFamily="2" charset="2"/>
                <a:buNone/>
                <a:defRPr sz="1050" b="1">
                  <a:solidFill>
                    <a:srgbClr val="004750"/>
                  </a:solidFill>
                  <a:latin typeface="FlexoSoft" panose="02000000000000000000" pitchFamily="2" charset="0"/>
                  <a:cs typeface="Calibri Light" panose="020F0302020204030204" pitchFamily="34" charset="0"/>
                </a:defRPr>
              </a:lvl1pPr>
            </a:lstStyle>
            <a:p>
              <a:r>
                <a:rPr lang="en-US" sz="1000"/>
                <a:t>Project Steering Committee</a:t>
              </a:r>
            </a:p>
          </p:txBody>
        </p:sp>
        <p:sp>
          <p:nvSpPr>
            <p:cNvPr id="18" name="Textfeld 17">
              <a:extLst>
                <a:ext uri="{FF2B5EF4-FFF2-40B4-BE49-F238E27FC236}">
                  <a16:creationId xmlns:a16="http://schemas.microsoft.com/office/drawing/2014/main" id="{68EB19FE-966D-4176-ADE3-D35C825144E8}"/>
                </a:ext>
              </a:extLst>
            </p:cNvPr>
            <p:cNvSpPr txBox="1"/>
            <p:nvPr/>
          </p:nvSpPr>
          <p:spPr bwMode="gray">
            <a:xfrm>
              <a:off x="1116045" y="2578255"/>
              <a:ext cx="1409780" cy="250697"/>
            </a:xfrm>
            <a:prstGeom prst="roundRect">
              <a:avLst/>
            </a:prstGeom>
            <a:solidFill>
              <a:srgbClr val="002060">
                <a:alpha val="10196"/>
              </a:srgbClr>
            </a:solidFill>
            <a:ln w="28575">
              <a:solidFill>
                <a:schemeClr val="bg1"/>
              </a:solidFill>
              <a:prstDash val="solid"/>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vert="horz" wrap="square" lIns="36000" tIns="36000" rIns="36000" bIns="36000" numCol="1" rtlCol="0" anchor="ctr" anchorCtr="0" compatLnSpc="1">
              <a:prstTxWarp prst="textNoShape">
                <a:avLst/>
              </a:prstTxWarp>
              <a:spAutoFit/>
            </a:bodyPr>
            <a:lstStyle>
              <a:defPPr>
                <a:defRPr lang="de-DE"/>
              </a:defPPr>
              <a:lvl1pPr indent="0" algn="ctr" defTabSz="483635">
                <a:lnSpc>
                  <a:spcPct val="100000"/>
                </a:lnSpc>
                <a:buClr>
                  <a:schemeClr val="tx2"/>
                </a:buClr>
                <a:buFont typeface="Wingdings" panose="05000000000000000000" pitchFamily="2" charset="2"/>
                <a:buNone/>
                <a:defRPr sz="1100" b="1">
                  <a:solidFill>
                    <a:srgbClr val="004750"/>
                  </a:solidFill>
                  <a:latin typeface="FlexoSoft" panose="02000000000000000000" pitchFamily="2" charset="0"/>
                  <a:cs typeface="Calibri Light" panose="020F0302020204030204" pitchFamily="34" charset="0"/>
                </a:defRPr>
              </a:lvl1pPr>
            </a:lstStyle>
            <a:p>
              <a:r>
                <a:rPr lang="en-US" sz="1000"/>
                <a:t>Project Maintainers</a:t>
              </a:r>
              <a:endParaRPr lang="en-US" sz="600" b="0"/>
            </a:p>
          </p:txBody>
        </p:sp>
        <p:pic>
          <p:nvPicPr>
            <p:cNvPr id="20" name="Picture 1">
              <a:extLst>
                <a:ext uri="{FF2B5EF4-FFF2-40B4-BE49-F238E27FC236}">
                  <a16:creationId xmlns:a16="http://schemas.microsoft.com/office/drawing/2014/main" id="{3C17EC33-9747-4789-B3D8-0898CDE1B8A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424595" y="1585285"/>
              <a:ext cx="367118" cy="367118"/>
            </a:xfrm>
            <a:prstGeom prst="rect">
              <a:avLst/>
            </a:prstGeom>
          </p:spPr>
        </p:pic>
        <p:sp>
          <p:nvSpPr>
            <p:cNvPr id="21" name="Textfeld 20">
              <a:extLst>
                <a:ext uri="{FF2B5EF4-FFF2-40B4-BE49-F238E27FC236}">
                  <a16:creationId xmlns:a16="http://schemas.microsoft.com/office/drawing/2014/main" id="{B9E2C3AB-FAEE-4FBE-AD4C-A265070BB4D1}"/>
                </a:ext>
              </a:extLst>
            </p:cNvPr>
            <p:cNvSpPr txBox="1"/>
            <p:nvPr/>
          </p:nvSpPr>
          <p:spPr bwMode="gray">
            <a:xfrm>
              <a:off x="6972776" y="2573998"/>
              <a:ext cx="1345828" cy="259210"/>
            </a:xfrm>
            <a:prstGeom prst="roundRect">
              <a:avLst/>
            </a:prstGeom>
            <a:solidFill>
              <a:srgbClr val="FF0000">
                <a:alpha val="10196"/>
              </a:srgbClr>
            </a:solidFill>
            <a:ln w="28575">
              <a:solidFill>
                <a:schemeClr val="bg1"/>
              </a:solidFill>
              <a:prstDash val="solid"/>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vert="horz" wrap="square" lIns="36000" tIns="36000" rIns="36000" bIns="36000" numCol="1" rtlCol="0" anchor="ctr" anchorCtr="0" compatLnSpc="1">
              <a:prstTxWarp prst="textNoShape">
                <a:avLst/>
              </a:prstTxWarp>
              <a:spAutoFit/>
            </a:bodyPr>
            <a:lstStyle>
              <a:defPPr>
                <a:defRPr lang="de-DE"/>
              </a:defPPr>
              <a:lvl1pPr indent="0" algn="ctr" defTabSz="483635">
                <a:lnSpc>
                  <a:spcPct val="100000"/>
                </a:lnSpc>
                <a:buClr>
                  <a:schemeClr val="tx2"/>
                </a:buClr>
                <a:buFont typeface="Wingdings" panose="05000000000000000000" pitchFamily="2" charset="2"/>
                <a:buNone/>
                <a:defRPr sz="1100" b="1">
                  <a:solidFill>
                    <a:srgbClr val="004750"/>
                  </a:solidFill>
                  <a:latin typeface="FlexoSoft" panose="02000000000000000000" pitchFamily="2" charset="0"/>
                  <a:cs typeface="Calibri Light" panose="020F0302020204030204" pitchFamily="34" charset="0"/>
                </a:defRPr>
              </a:lvl1pPr>
            </a:lstStyle>
            <a:p>
              <a:r>
                <a:rPr lang="en-US" sz="1000"/>
                <a:t>Project Manager</a:t>
              </a:r>
            </a:p>
          </p:txBody>
        </p:sp>
        <p:cxnSp>
          <p:nvCxnSpPr>
            <p:cNvPr id="22" name="Verbinder: gewinkelt 21">
              <a:extLst>
                <a:ext uri="{FF2B5EF4-FFF2-40B4-BE49-F238E27FC236}">
                  <a16:creationId xmlns:a16="http://schemas.microsoft.com/office/drawing/2014/main" id="{8544B6DE-5F5D-468A-8EC9-80D4BA477067}"/>
                </a:ext>
              </a:extLst>
            </p:cNvPr>
            <p:cNvCxnSpPr>
              <a:cxnSpLocks/>
              <a:stCxn id="21" idx="2"/>
              <a:endCxn id="16" idx="0"/>
            </p:cNvCxnSpPr>
            <p:nvPr/>
          </p:nvCxnSpPr>
          <p:spPr>
            <a:xfrm rot="5400000">
              <a:off x="7319891" y="3022055"/>
              <a:ext cx="514647" cy="136952"/>
            </a:xfrm>
            <a:prstGeom prst="bentConnector3">
              <a:avLst>
                <a:gd name="adj1" fmla="val 50000"/>
              </a:avLst>
            </a:prstGeom>
            <a:ln cap="rnd">
              <a:solidFill>
                <a:srgbClr val="004750"/>
              </a:solidFill>
            </a:ln>
          </p:spPr>
          <p:style>
            <a:lnRef idx="1">
              <a:schemeClr val="accent1"/>
            </a:lnRef>
            <a:fillRef idx="0">
              <a:schemeClr val="accent1"/>
            </a:fillRef>
            <a:effectRef idx="0">
              <a:schemeClr val="accent1"/>
            </a:effectRef>
            <a:fontRef idx="minor">
              <a:schemeClr val="tx1"/>
            </a:fontRef>
          </p:style>
        </p:cxnSp>
        <p:cxnSp>
          <p:nvCxnSpPr>
            <p:cNvPr id="23" name="Verbinder: gewinkelt 22">
              <a:extLst>
                <a:ext uri="{FF2B5EF4-FFF2-40B4-BE49-F238E27FC236}">
                  <a16:creationId xmlns:a16="http://schemas.microsoft.com/office/drawing/2014/main" id="{9D0B7576-9F36-4FF2-9A0E-CEFE72B65BE6}"/>
                </a:ext>
              </a:extLst>
            </p:cNvPr>
            <p:cNvCxnSpPr>
              <a:cxnSpLocks/>
              <a:stCxn id="21" idx="2"/>
              <a:endCxn id="15" idx="0"/>
            </p:cNvCxnSpPr>
            <p:nvPr/>
          </p:nvCxnSpPr>
          <p:spPr>
            <a:xfrm rot="5400000">
              <a:off x="7387117" y="3016709"/>
              <a:ext cx="442075" cy="75073"/>
            </a:xfrm>
            <a:prstGeom prst="bentConnector3">
              <a:avLst>
                <a:gd name="adj1" fmla="val 50000"/>
              </a:avLst>
            </a:prstGeom>
            <a:ln cap="rnd">
              <a:solidFill>
                <a:srgbClr val="004750"/>
              </a:solidFill>
            </a:ln>
          </p:spPr>
          <p:style>
            <a:lnRef idx="1">
              <a:schemeClr val="accent1"/>
            </a:lnRef>
            <a:fillRef idx="0">
              <a:schemeClr val="accent1"/>
            </a:fillRef>
            <a:effectRef idx="0">
              <a:schemeClr val="accent1"/>
            </a:effectRef>
            <a:fontRef idx="minor">
              <a:schemeClr val="tx1"/>
            </a:fontRef>
          </p:style>
        </p:cxnSp>
        <p:cxnSp>
          <p:nvCxnSpPr>
            <p:cNvPr id="24" name="Gerade Verbindung mit Pfeil 23">
              <a:extLst>
                <a:ext uri="{FF2B5EF4-FFF2-40B4-BE49-F238E27FC236}">
                  <a16:creationId xmlns:a16="http://schemas.microsoft.com/office/drawing/2014/main" id="{8F7AEA99-66FB-4032-A1E5-522F2CB4220B}"/>
                </a:ext>
              </a:extLst>
            </p:cNvPr>
            <p:cNvCxnSpPr>
              <a:cxnSpLocks/>
              <a:stCxn id="14" idx="0"/>
              <a:endCxn id="21" idx="2"/>
            </p:cNvCxnSpPr>
            <p:nvPr/>
          </p:nvCxnSpPr>
          <p:spPr>
            <a:xfrm flipV="1">
              <a:off x="7640540" y="2833208"/>
              <a:ext cx="5150" cy="372947"/>
            </a:xfrm>
            <a:prstGeom prst="straightConnector1">
              <a:avLst/>
            </a:prstGeom>
            <a:ln cap="rnd">
              <a:solidFill>
                <a:srgbClr val="004750"/>
              </a:solidFill>
            </a:ln>
          </p:spPr>
          <p:style>
            <a:lnRef idx="1">
              <a:schemeClr val="accent1"/>
            </a:lnRef>
            <a:fillRef idx="0">
              <a:schemeClr val="accent1"/>
            </a:fillRef>
            <a:effectRef idx="0">
              <a:schemeClr val="accent1"/>
            </a:effectRef>
            <a:fontRef idx="minor">
              <a:schemeClr val="tx1"/>
            </a:fontRef>
          </p:style>
        </p:cxnSp>
        <p:pic>
          <p:nvPicPr>
            <p:cNvPr id="26" name="Picture 2" descr="Cloud Native Computing Boston (Boston, MA) | Meetup">
              <a:extLst>
                <a:ext uri="{FF2B5EF4-FFF2-40B4-BE49-F238E27FC236}">
                  <a16:creationId xmlns:a16="http://schemas.microsoft.com/office/drawing/2014/main" id="{58813FB7-2948-45F9-A28E-D99B70D235C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40119" y="1585285"/>
              <a:ext cx="761632" cy="552183"/>
            </a:xfrm>
            <a:prstGeom prst="rect">
              <a:avLst/>
            </a:prstGeom>
            <a:noFill/>
            <a:extLst>
              <a:ext uri="{909E8E84-426E-40DD-AFC4-6F175D3DCCD1}">
                <a14:hiddenFill xmlns:a14="http://schemas.microsoft.com/office/drawing/2010/main">
                  <a:solidFill>
                    <a:srgbClr val="FFFFFF"/>
                  </a:solidFill>
                </a14:hiddenFill>
              </a:ext>
            </a:extLst>
          </p:spPr>
        </p:pic>
        <p:sp>
          <p:nvSpPr>
            <p:cNvPr id="27" name="Ellipse 26">
              <a:extLst>
                <a:ext uri="{FF2B5EF4-FFF2-40B4-BE49-F238E27FC236}">
                  <a16:creationId xmlns:a16="http://schemas.microsoft.com/office/drawing/2014/main" id="{8C5FB3E2-33BB-4DBA-AE70-840F1E9AA934}"/>
                </a:ext>
              </a:extLst>
            </p:cNvPr>
            <p:cNvSpPr/>
            <p:nvPr/>
          </p:nvSpPr>
          <p:spPr>
            <a:xfrm>
              <a:off x="6198155" y="4000122"/>
              <a:ext cx="109289" cy="109289"/>
            </a:xfrm>
            <a:prstGeom prst="ellipse">
              <a:avLst/>
            </a:prstGeom>
            <a:solidFill>
              <a:schemeClr val="bg1"/>
            </a:solidFill>
            <a:ln>
              <a:solidFill>
                <a:srgbClr val="7ECB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Ellipse 28">
              <a:extLst>
                <a:ext uri="{FF2B5EF4-FFF2-40B4-BE49-F238E27FC236}">
                  <a16:creationId xmlns:a16="http://schemas.microsoft.com/office/drawing/2014/main" id="{2F99AE01-AF99-46A7-A693-68AF2548D92C}"/>
                </a:ext>
              </a:extLst>
            </p:cNvPr>
            <p:cNvSpPr/>
            <p:nvPr/>
          </p:nvSpPr>
          <p:spPr>
            <a:xfrm>
              <a:off x="3686300" y="4000122"/>
              <a:ext cx="109289" cy="109289"/>
            </a:xfrm>
            <a:prstGeom prst="ellipse">
              <a:avLst/>
            </a:prstGeom>
            <a:solidFill>
              <a:schemeClr val="bg1"/>
            </a:solidFill>
            <a:ln>
              <a:solidFill>
                <a:srgbClr val="7ECB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Textfeld 29">
              <a:extLst>
                <a:ext uri="{FF2B5EF4-FFF2-40B4-BE49-F238E27FC236}">
                  <a16:creationId xmlns:a16="http://schemas.microsoft.com/office/drawing/2014/main" id="{B47163EB-EBD0-43BB-9412-BFB0B96B07D4}"/>
                </a:ext>
              </a:extLst>
            </p:cNvPr>
            <p:cNvSpPr txBox="1"/>
            <p:nvPr/>
          </p:nvSpPr>
          <p:spPr bwMode="gray">
            <a:xfrm>
              <a:off x="3262238" y="3301727"/>
              <a:ext cx="977732" cy="581121"/>
            </a:xfrm>
            <a:prstGeom prst="rect">
              <a:avLst/>
            </a:prstGeom>
            <a:ln w="12700">
              <a:noFill/>
              <a:prstDash val="dash"/>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vert="horz" wrap="square" lIns="36000" tIns="0" rIns="36000" bIns="0" numCol="1" rtlCol="0" anchor="t" anchorCtr="0" compatLnSpc="1">
              <a:prstTxWarp prst="textNoShape">
                <a:avLst/>
              </a:prstTxWarp>
              <a:spAutoFit/>
            </a:bodyPr>
            <a:lstStyle>
              <a:defPPr>
                <a:defRPr lang="de-DE"/>
              </a:defPPr>
              <a:lvl1pPr indent="0" defTabSz="483635">
                <a:lnSpc>
                  <a:spcPct val="150000"/>
                </a:lnSpc>
                <a:buClr>
                  <a:schemeClr val="tx2"/>
                </a:buClr>
                <a:buFont typeface="Wingdings" panose="05000000000000000000" pitchFamily="2" charset="2"/>
                <a:buNone/>
                <a:defRPr sz="1100">
                  <a:solidFill>
                    <a:schemeClr val="accent6">
                      <a:lumMod val="50000"/>
                    </a:schemeClr>
                  </a:solidFill>
                  <a:latin typeface="FlexoSoft" panose="02000000000000000000" pitchFamily="2" charset="0"/>
                  <a:cs typeface="Calibri Light" panose="020F0302020204030204" pitchFamily="34" charset="0"/>
                </a:defRPr>
              </a:lvl1pPr>
            </a:lstStyle>
            <a:p>
              <a:pPr marL="0" lvl="2" algn="ctr" defTabSz="483635">
                <a:lnSpc>
                  <a:spcPct val="150000"/>
                </a:lnSpc>
                <a:buClr>
                  <a:schemeClr val="tx2"/>
                </a:buClr>
              </a:pPr>
              <a:r>
                <a:rPr lang="en-US" sz="1000" b="1">
                  <a:solidFill>
                    <a:srgbClr val="004750"/>
                  </a:solidFill>
                  <a:latin typeface="FlexoSoft" panose="02000000000000000000" pitchFamily="2" charset="0"/>
                  <a:cs typeface="Calibri Light" panose="020F0302020204030204" pitchFamily="34" charset="0"/>
                </a:rPr>
                <a:t>Gate 1</a:t>
              </a:r>
            </a:p>
            <a:p>
              <a:pPr marL="0" lvl="2" algn="ctr" defTabSz="483635">
                <a:lnSpc>
                  <a:spcPct val="150000"/>
                </a:lnSpc>
                <a:buClr>
                  <a:schemeClr val="tx2"/>
                </a:buClr>
              </a:pPr>
              <a:r>
                <a:rPr lang="en-US" sz="800">
                  <a:solidFill>
                    <a:srgbClr val="004750"/>
                  </a:solidFill>
                  <a:latin typeface="FlexoSoft" panose="02000000000000000000" pitchFamily="2" charset="0"/>
                  <a:cs typeface="Calibri Light" panose="020F0302020204030204" pitchFamily="34" charset="0"/>
                </a:rPr>
                <a:t>API ready </a:t>
              </a:r>
            </a:p>
            <a:p>
              <a:pPr marL="0" lvl="2" algn="ctr" defTabSz="483635">
                <a:lnSpc>
                  <a:spcPct val="150000"/>
                </a:lnSpc>
                <a:buClr>
                  <a:schemeClr val="tx2"/>
                </a:buClr>
              </a:pPr>
              <a:r>
                <a:rPr lang="en-US" sz="800">
                  <a:solidFill>
                    <a:srgbClr val="004750"/>
                  </a:solidFill>
                  <a:latin typeface="FlexoSoft" panose="02000000000000000000" pitchFamily="2" charset="0"/>
                  <a:cs typeface="Calibri Light" panose="020F0302020204030204" pitchFamily="34" charset="0"/>
                </a:rPr>
                <a:t>for testing</a:t>
              </a:r>
            </a:p>
          </p:txBody>
        </p:sp>
        <p:sp>
          <p:nvSpPr>
            <p:cNvPr id="35" name="Textfeld 34">
              <a:extLst>
                <a:ext uri="{FF2B5EF4-FFF2-40B4-BE49-F238E27FC236}">
                  <a16:creationId xmlns:a16="http://schemas.microsoft.com/office/drawing/2014/main" id="{FC56408E-740E-4A3A-8452-FD75FD306484}"/>
                </a:ext>
              </a:extLst>
            </p:cNvPr>
            <p:cNvSpPr txBox="1"/>
            <p:nvPr/>
          </p:nvSpPr>
          <p:spPr bwMode="gray">
            <a:xfrm>
              <a:off x="511090" y="3271457"/>
              <a:ext cx="1245314" cy="591216"/>
            </a:xfrm>
            <a:prstGeom prst="roundRect">
              <a:avLst/>
            </a:prstGeom>
            <a:solidFill>
              <a:srgbClr val="002060">
                <a:alpha val="10196"/>
              </a:srgbClr>
            </a:solidFill>
            <a:ln w="28575">
              <a:solidFill>
                <a:schemeClr val="bg1"/>
              </a:solidFill>
              <a:prstDash val="solid"/>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vert="horz" wrap="square" lIns="36000" tIns="36000" rIns="36000" bIns="36000" numCol="1" rtlCol="0" anchor="ctr" anchorCtr="0" compatLnSpc="1">
              <a:prstTxWarp prst="textNoShape">
                <a:avLst/>
              </a:prstTxWarp>
              <a:noAutofit/>
            </a:bodyPr>
            <a:lstStyle>
              <a:defPPr>
                <a:defRPr lang="de-DE"/>
              </a:defPPr>
              <a:lvl1pPr indent="0" algn="ctr" defTabSz="483635">
                <a:lnSpc>
                  <a:spcPct val="100000"/>
                </a:lnSpc>
                <a:buClr>
                  <a:schemeClr val="tx2"/>
                </a:buClr>
                <a:buFont typeface="Wingdings" panose="05000000000000000000" pitchFamily="2" charset="2"/>
                <a:buNone/>
                <a:defRPr sz="1100" b="1">
                  <a:solidFill>
                    <a:srgbClr val="004750"/>
                  </a:solidFill>
                  <a:latin typeface="FlexoSoft" panose="02000000000000000000" pitchFamily="2" charset="0"/>
                  <a:cs typeface="Calibri Light" panose="020F0302020204030204" pitchFamily="34" charset="0"/>
                </a:defRPr>
              </a:lvl1pPr>
            </a:lstStyle>
            <a:p>
              <a:r>
                <a:rPr lang="en-US" sz="1000"/>
                <a:t>Open Source Developer Community</a:t>
              </a:r>
            </a:p>
          </p:txBody>
        </p:sp>
        <p:cxnSp>
          <p:nvCxnSpPr>
            <p:cNvPr id="36" name="Verbinder: gewinkelt 35">
              <a:extLst>
                <a:ext uri="{FF2B5EF4-FFF2-40B4-BE49-F238E27FC236}">
                  <a16:creationId xmlns:a16="http://schemas.microsoft.com/office/drawing/2014/main" id="{AAEAD611-6A54-4BE2-998A-3636ECF86B3B}"/>
                </a:ext>
              </a:extLst>
            </p:cNvPr>
            <p:cNvCxnSpPr>
              <a:cxnSpLocks/>
              <a:stCxn id="18" idx="2"/>
              <a:endCxn id="35" idx="0"/>
            </p:cNvCxnSpPr>
            <p:nvPr/>
          </p:nvCxnSpPr>
          <p:spPr>
            <a:xfrm rot="5400000">
              <a:off x="1256089" y="2706610"/>
              <a:ext cx="442505" cy="687188"/>
            </a:xfrm>
            <a:prstGeom prst="bentConnector3">
              <a:avLst>
                <a:gd name="adj1" fmla="val 50000"/>
              </a:avLst>
            </a:prstGeom>
            <a:ln cap="rnd">
              <a:solidFill>
                <a:srgbClr val="004750"/>
              </a:solidFill>
            </a:ln>
          </p:spPr>
          <p:style>
            <a:lnRef idx="1">
              <a:schemeClr val="accent1"/>
            </a:lnRef>
            <a:fillRef idx="0">
              <a:schemeClr val="accent1"/>
            </a:fillRef>
            <a:effectRef idx="0">
              <a:schemeClr val="accent1"/>
            </a:effectRef>
            <a:fontRef idx="minor">
              <a:schemeClr val="tx1"/>
            </a:fontRef>
          </p:style>
        </p:cxnSp>
        <p:cxnSp>
          <p:nvCxnSpPr>
            <p:cNvPr id="38" name="Verbinder: gewinkelt 37">
              <a:extLst>
                <a:ext uri="{FF2B5EF4-FFF2-40B4-BE49-F238E27FC236}">
                  <a16:creationId xmlns:a16="http://schemas.microsoft.com/office/drawing/2014/main" id="{0A95B66F-6716-465A-A5D7-E2927C5B36DB}"/>
                </a:ext>
              </a:extLst>
            </p:cNvPr>
            <p:cNvCxnSpPr>
              <a:cxnSpLocks/>
              <a:stCxn id="18" idx="2"/>
              <a:endCxn id="4" idx="0"/>
            </p:cNvCxnSpPr>
            <p:nvPr/>
          </p:nvCxnSpPr>
          <p:spPr>
            <a:xfrm rot="16200000" flipH="1">
              <a:off x="1942583" y="2707303"/>
              <a:ext cx="442504" cy="685801"/>
            </a:xfrm>
            <a:prstGeom prst="bentConnector3">
              <a:avLst>
                <a:gd name="adj1" fmla="val 50000"/>
              </a:avLst>
            </a:prstGeom>
            <a:ln cap="rnd">
              <a:solidFill>
                <a:srgbClr val="004750"/>
              </a:solidFill>
            </a:ln>
          </p:spPr>
          <p:style>
            <a:lnRef idx="1">
              <a:schemeClr val="accent1"/>
            </a:lnRef>
            <a:fillRef idx="0">
              <a:schemeClr val="accent1"/>
            </a:fillRef>
            <a:effectRef idx="0">
              <a:schemeClr val="accent1"/>
            </a:effectRef>
            <a:fontRef idx="minor">
              <a:schemeClr val="tx1"/>
            </a:fontRef>
          </p:style>
        </p:cxnSp>
        <p:cxnSp>
          <p:nvCxnSpPr>
            <p:cNvPr id="41" name="Gerade Verbindung mit Pfeil 40">
              <a:extLst>
                <a:ext uri="{FF2B5EF4-FFF2-40B4-BE49-F238E27FC236}">
                  <a16:creationId xmlns:a16="http://schemas.microsoft.com/office/drawing/2014/main" id="{4F7A62BB-4A73-45E5-88BE-9CC9738EDE3C}"/>
                </a:ext>
              </a:extLst>
            </p:cNvPr>
            <p:cNvCxnSpPr>
              <a:cxnSpLocks/>
              <a:stCxn id="4" idx="1"/>
              <a:endCxn id="35" idx="3"/>
            </p:cNvCxnSpPr>
            <p:nvPr/>
          </p:nvCxnSpPr>
          <p:spPr>
            <a:xfrm flipH="1">
              <a:off x="1756404" y="3567064"/>
              <a:ext cx="127675" cy="1"/>
            </a:xfrm>
            <a:prstGeom prst="straightConnector1">
              <a:avLst/>
            </a:prstGeom>
            <a:ln cap="rnd">
              <a:solidFill>
                <a:srgbClr val="004750"/>
              </a:solidFill>
            </a:ln>
          </p:spPr>
          <p:style>
            <a:lnRef idx="1">
              <a:schemeClr val="accent1"/>
            </a:lnRef>
            <a:fillRef idx="0">
              <a:schemeClr val="accent1"/>
            </a:fillRef>
            <a:effectRef idx="0">
              <a:schemeClr val="accent1"/>
            </a:effectRef>
            <a:fontRef idx="minor">
              <a:schemeClr val="tx1"/>
            </a:fontRef>
          </p:style>
        </p:cxnSp>
        <p:sp>
          <p:nvSpPr>
            <p:cNvPr id="60" name="Textfeld 59">
              <a:extLst>
                <a:ext uri="{FF2B5EF4-FFF2-40B4-BE49-F238E27FC236}">
                  <a16:creationId xmlns:a16="http://schemas.microsoft.com/office/drawing/2014/main" id="{0B67F420-0069-4633-B2E8-511AD5B6FA68}"/>
                </a:ext>
              </a:extLst>
            </p:cNvPr>
            <p:cNvSpPr txBox="1"/>
            <p:nvPr/>
          </p:nvSpPr>
          <p:spPr bwMode="gray">
            <a:xfrm>
              <a:off x="5850845" y="3296218"/>
              <a:ext cx="805092" cy="577787"/>
            </a:xfrm>
            <a:prstGeom prst="rect">
              <a:avLst/>
            </a:prstGeom>
            <a:ln w="12700">
              <a:noFill/>
              <a:prstDash val="dash"/>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vert="horz" wrap="square" lIns="36000" tIns="0" rIns="36000" bIns="0" numCol="1" rtlCol="0" anchor="t" anchorCtr="0" compatLnSpc="1">
              <a:prstTxWarp prst="textNoShape">
                <a:avLst/>
              </a:prstTxWarp>
              <a:spAutoFit/>
            </a:bodyPr>
            <a:lstStyle>
              <a:defPPr>
                <a:defRPr lang="de-DE"/>
              </a:defPPr>
              <a:lvl1pPr indent="0" defTabSz="483635">
                <a:lnSpc>
                  <a:spcPct val="150000"/>
                </a:lnSpc>
                <a:buClr>
                  <a:schemeClr val="tx2"/>
                </a:buClr>
                <a:buFont typeface="Wingdings" panose="05000000000000000000" pitchFamily="2" charset="2"/>
                <a:buNone/>
                <a:defRPr sz="1100">
                  <a:solidFill>
                    <a:schemeClr val="accent6">
                      <a:lumMod val="50000"/>
                    </a:schemeClr>
                  </a:solidFill>
                  <a:latin typeface="FlexoSoft" panose="02000000000000000000" pitchFamily="2" charset="0"/>
                  <a:cs typeface="Calibri Light" panose="020F0302020204030204" pitchFamily="34" charset="0"/>
                </a:defRPr>
              </a:lvl1pPr>
            </a:lstStyle>
            <a:p>
              <a:pPr marL="0" lvl="2" algn="ctr" defTabSz="483635">
                <a:lnSpc>
                  <a:spcPct val="150000"/>
                </a:lnSpc>
                <a:buClr>
                  <a:schemeClr val="tx2"/>
                </a:buClr>
              </a:pPr>
              <a:r>
                <a:rPr lang="en-US" sz="1000" b="1">
                  <a:solidFill>
                    <a:srgbClr val="004750"/>
                  </a:solidFill>
                  <a:latin typeface="FlexoSoft" panose="02000000000000000000" pitchFamily="2" charset="0"/>
                  <a:cs typeface="Calibri Light" panose="020F0302020204030204" pitchFamily="34" charset="0"/>
                </a:rPr>
                <a:t>Gate 2</a:t>
              </a:r>
            </a:p>
            <a:p>
              <a:pPr marL="0" lvl="2" algn="ctr" defTabSz="483635">
                <a:lnSpc>
                  <a:spcPct val="150000"/>
                </a:lnSpc>
                <a:buClr>
                  <a:schemeClr val="tx2"/>
                </a:buClr>
              </a:pPr>
              <a:r>
                <a:rPr lang="en-US" sz="800">
                  <a:solidFill>
                    <a:srgbClr val="004750"/>
                  </a:solidFill>
                  <a:latin typeface="FlexoSoft" panose="02000000000000000000" pitchFamily="2" charset="0"/>
                  <a:cs typeface="Calibri Light" panose="020F0302020204030204" pitchFamily="34" charset="0"/>
                </a:rPr>
                <a:t>API tests concluded</a:t>
              </a:r>
            </a:p>
          </p:txBody>
        </p:sp>
        <p:sp>
          <p:nvSpPr>
            <p:cNvPr id="61" name="Ellipse 60">
              <a:extLst>
                <a:ext uri="{FF2B5EF4-FFF2-40B4-BE49-F238E27FC236}">
                  <a16:creationId xmlns:a16="http://schemas.microsoft.com/office/drawing/2014/main" id="{2489A030-9C8F-4E7F-815E-85147CD782C0}"/>
                </a:ext>
              </a:extLst>
            </p:cNvPr>
            <p:cNvSpPr/>
            <p:nvPr/>
          </p:nvSpPr>
          <p:spPr>
            <a:xfrm>
              <a:off x="8708848" y="4000122"/>
              <a:ext cx="109289" cy="109289"/>
            </a:xfrm>
            <a:prstGeom prst="ellipse">
              <a:avLst/>
            </a:prstGeom>
            <a:solidFill>
              <a:schemeClr val="bg1"/>
            </a:solidFill>
            <a:ln>
              <a:solidFill>
                <a:srgbClr val="7ECB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2" name="Textfeld 61">
              <a:extLst>
                <a:ext uri="{FF2B5EF4-FFF2-40B4-BE49-F238E27FC236}">
                  <a16:creationId xmlns:a16="http://schemas.microsoft.com/office/drawing/2014/main" id="{F0E1AD20-CC60-4360-BF96-BD740B61FD77}"/>
                </a:ext>
              </a:extLst>
            </p:cNvPr>
            <p:cNvSpPr txBox="1"/>
            <p:nvPr/>
          </p:nvSpPr>
          <p:spPr bwMode="gray">
            <a:xfrm>
              <a:off x="8361538" y="3296218"/>
              <a:ext cx="805092" cy="577787"/>
            </a:xfrm>
            <a:prstGeom prst="rect">
              <a:avLst/>
            </a:prstGeom>
            <a:ln w="12700">
              <a:noFill/>
              <a:prstDash val="dash"/>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vert="horz" wrap="square" lIns="36000" tIns="0" rIns="36000" bIns="0" numCol="1" rtlCol="0" anchor="t" anchorCtr="0" compatLnSpc="1">
              <a:prstTxWarp prst="textNoShape">
                <a:avLst/>
              </a:prstTxWarp>
              <a:spAutoFit/>
            </a:bodyPr>
            <a:lstStyle>
              <a:defPPr>
                <a:defRPr lang="de-DE"/>
              </a:defPPr>
              <a:lvl1pPr indent="0" defTabSz="483635">
                <a:lnSpc>
                  <a:spcPct val="150000"/>
                </a:lnSpc>
                <a:buClr>
                  <a:schemeClr val="tx2"/>
                </a:buClr>
                <a:buFont typeface="Wingdings" panose="05000000000000000000" pitchFamily="2" charset="2"/>
                <a:buNone/>
                <a:defRPr sz="1100">
                  <a:solidFill>
                    <a:schemeClr val="accent6">
                      <a:lumMod val="50000"/>
                    </a:schemeClr>
                  </a:solidFill>
                  <a:latin typeface="FlexoSoft" panose="02000000000000000000" pitchFamily="2" charset="0"/>
                  <a:cs typeface="Calibri Light" panose="020F0302020204030204" pitchFamily="34" charset="0"/>
                </a:defRPr>
              </a:lvl1pPr>
            </a:lstStyle>
            <a:p>
              <a:pPr marL="0" lvl="2" algn="ctr" defTabSz="483635">
                <a:lnSpc>
                  <a:spcPct val="150000"/>
                </a:lnSpc>
                <a:buClr>
                  <a:schemeClr val="tx2"/>
                </a:buClr>
              </a:pPr>
              <a:r>
                <a:rPr lang="en-US" sz="1000" b="1">
                  <a:solidFill>
                    <a:srgbClr val="004750"/>
                  </a:solidFill>
                  <a:latin typeface="FlexoSoft" panose="02000000000000000000" pitchFamily="2" charset="0"/>
                  <a:cs typeface="Calibri Light" panose="020F0302020204030204" pitchFamily="34" charset="0"/>
                </a:rPr>
                <a:t>Gate 3</a:t>
              </a:r>
            </a:p>
            <a:p>
              <a:pPr marL="0" lvl="2" algn="ctr" defTabSz="483635">
                <a:lnSpc>
                  <a:spcPct val="150000"/>
                </a:lnSpc>
                <a:buClr>
                  <a:schemeClr val="tx2"/>
                </a:buClr>
              </a:pPr>
              <a:r>
                <a:rPr lang="en-US" sz="800">
                  <a:solidFill>
                    <a:srgbClr val="004750"/>
                  </a:solidFill>
                  <a:latin typeface="FlexoSoft" panose="02000000000000000000" pitchFamily="2" charset="0"/>
                  <a:cs typeface="Calibri Light" panose="020F0302020204030204" pitchFamily="34" charset="0"/>
                </a:rPr>
                <a:t>API ready for deployment</a:t>
              </a:r>
            </a:p>
          </p:txBody>
        </p:sp>
      </p:grpSp>
      <p:cxnSp>
        <p:nvCxnSpPr>
          <p:cNvPr id="42" name="Verbinder: gewinkelt 41">
            <a:extLst>
              <a:ext uri="{FF2B5EF4-FFF2-40B4-BE49-F238E27FC236}">
                <a16:creationId xmlns:a16="http://schemas.microsoft.com/office/drawing/2014/main" id="{B0826434-DB2B-444C-9A10-69D62294BCA0}"/>
              </a:ext>
            </a:extLst>
          </p:cNvPr>
          <p:cNvCxnSpPr>
            <a:cxnSpLocks/>
          </p:cNvCxnSpPr>
          <p:nvPr/>
        </p:nvCxnSpPr>
        <p:spPr>
          <a:xfrm rot="5400000">
            <a:off x="2987602" y="822158"/>
            <a:ext cx="572014" cy="2905347"/>
          </a:xfrm>
          <a:prstGeom prst="bentConnector3">
            <a:avLst>
              <a:gd name="adj1" fmla="val 50000"/>
            </a:avLst>
          </a:prstGeom>
          <a:ln cap="rnd">
            <a:solidFill>
              <a:srgbClr val="004750"/>
            </a:solidFill>
          </a:ln>
        </p:spPr>
        <p:style>
          <a:lnRef idx="1">
            <a:schemeClr val="accent1"/>
          </a:lnRef>
          <a:fillRef idx="0">
            <a:schemeClr val="accent1"/>
          </a:fillRef>
          <a:effectRef idx="0">
            <a:schemeClr val="accent1"/>
          </a:effectRef>
          <a:fontRef idx="minor">
            <a:schemeClr val="tx1"/>
          </a:fontRef>
        </p:style>
      </p:cxnSp>
      <p:cxnSp>
        <p:nvCxnSpPr>
          <p:cNvPr id="44" name="Verbinder: gewinkelt 43">
            <a:extLst>
              <a:ext uri="{FF2B5EF4-FFF2-40B4-BE49-F238E27FC236}">
                <a16:creationId xmlns:a16="http://schemas.microsoft.com/office/drawing/2014/main" id="{7CC4E60B-F81D-4A07-986A-C14EB8D3DA3E}"/>
              </a:ext>
            </a:extLst>
          </p:cNvPr>
          <p:cNvCxnSpPr>
            <a:cxnSpLocks/>
          </p:cNvCxnSpPr>
          <p:nvPr/>
        </p:nvCxnSpPr>
        <p:spPr>
          <a:xfrm rot="16200000" flipH="1">
            <a:off x="5902108" y="812998"/>
            <a:ext cx="567757" cy="2919408"/>
          </a:xfrm>
          <a:prstGeom prst="bentConnector3">
            <a:avLst>
              <a:gd name="adj1" fmla="val 50000"/>
            </a:avLst>
          </a:prstGeom>
          <a:ln cap="rnd">
            <a:solidFill>
              <a:srgbClr val="0047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99350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D2710882-1DA8-468F-8A88-A523683F1827}"/>
              </a:ext>
            </a:extLst>
          </p:cNvPr>
          <p:cNvSpPr>
            <a:spLocks noGrp="1"/>
          </p:cNvSpPr>
          <p:nvPr>
            <p:ph idx="1"/>
          </p:nvPr>
        </p:nvSpPr>
        <p:spPr>
          <a:xfrm>
            <a:off x="5516885" y="1988964"/>
            <a:ext cx="4370066" cy="2507010"/>
          </a:xfrm>
        </p:spPr>
        <p:txBody>
          <a:bodyPr/>
          <a:lstStyle/>
          <a:p>
            <a:pPr marL="228600" indent="-228600">
              <a:lnSpc>
                <a:spcPct val="150000"/>
              </a:lnSpc>
              <a:buFont typeface="+mj-lt"/>
              <a:buAutoNum type="arabicPeriod"/>
            </a:pPr>
            <a:r>
              <a:rPr lang="en-US" b="1"/>
              <a:t>Reach agreement with </a:t>
            </a:r>
            <a:r>
              <a:rPr lang="en-US" sz="1200" b="1">
                <a:solidFill>
                  <a:srgbClr val="004750"/>
                </a:solidFill>
                <a:latin typeface="FlexoSoft" panose="02000000000000000000" pitchFamily="2" charset="0"/>
                <a:ea typeface="+mn-ea"/>
                <a:cs typeface="Calibri Light" panose="020F0302020204030204" pitchFamily="34" charset="0"/>
              </a:rPr>
              <a:t>partners on the approach to take.</a:t>
            </a:r>
          </a:p>
          <a:p>
            <a:pPr marL="228600" indent="-228600">
              <a:lnSpc>
                <a:spcPct val="150000"/>
              </a:lnSpc>
              <a:buFont typeface="+mj-lt"/>
              <a:buAutoNum type="arabicPeriod"/>
            </a:pPr>
            <a:r>
              <a:rPr lang="en-US" b="1"/>
              <a:t>R</a:t>
            </a:r>
            <a:r>
              <a:rPr lang="en-US" sz="1200" b="1">
                <a:solidFill>
                  <a:srgbClr val="004750"/>
                </a:solidFill>
                <a:latin typeface="FlexoSoft" panose="02000000000000000000" pitchFamily="2" charset="0"/>
                <a:ea typeface="+mn-ea"/>
                <a:cs typeface="Calibri Light" panose="020F0302020204030204" pitchFamily="34" charset="0"/>
              </a:rPr>
              <a:t>each out to GSMA and CNCF to start the processes. </a:t>
            </a:r>
          </a:p>
          <a:p>
            <a:pPr marL="228600" indent="-228600" rtl="0">
              <a:lnSpc>
                <a:spcPct val="150000"/>
              </a:lnSpc>
              <a:buFont typeface="+mj-lt"/>
              <a:buAutoNum type="arabicPeriod"/>
            </a:pPr>
            <a:r>
              <a:rPr lang="en-US" sz="1200" b="1">
                <a:solidFill>
                  <a:srgbClr val="004750"/>
                </a:solidFill>
                <a:latin typeface="FlexoSoft" panose="02000000000000000000" pitchFamily="2" charset="0"/>
                <a:ea typeface="+mn-ea"/>
                <a:cs typeface="Calibri Light" panose="020F0302020204030204" pitchFamily="34" charset="0"/>
              </a:rPr>
              <a:t>Define collaboration structure.</a:t>
            </a:r>
          </a:p>
          <a:p>
            <a:pPr marL="408600" lvl="1" indent="-228600">
              <a:lnSpc>
                <a:spcPct val="150000"/>
              </a:lnSpc>
              <a:buFont typeface="Wingdings" panose="05000000000000000000" pitchFamily="2" charset="2"/>
              <a:buChar char="§"/>
            </a:pPr>
            <a:r>
              <a:rPr lang="en-US">
                <a:solidFill>
                  <a:srgbClr val="004750"/>
                </a:solidFill>
                <a:latin typeface="FlexoSoft" panose="02000000000000000000" pitchFamily="2" charset="0"/>
                <a:ea typeface="+mn-ea"/>
                <a:cs typeface="Calibri Light" panose="020F0302020204030204" pitchFamily="34" charset="0"/>
              </a:rPr>
              <a:t>Define communication between CNCF and GSMA.</a:t>
            </a:r>
          </a:p>
          <a:p>
            <a:pPr marL="408600" lvl="1" indent="-228600">
              <a:lnSpc>
                <a:spcPct val="150000"/>
              </a:lnSpc>
              <a:buFont typeface="Wingdings" panose="05000000000000000000" pitchFamily="2" charset="2"/>
              <a:buChar char="§"/>
            </a:pPr>
            <a:r>
              <a:rPr lang="en-US"/>
              <a:t>Identify stakeholders.</a:t>
            </a:r>
            <a:endParaRPr lang="en-US">
              <a:solidFill>
                <a:srgbClr val="004750"/>
              </a:solidFill>
              <a:latin typeface="FlexoSoft" panose="02000000000000000000" pitchFamily="2" charset="0"/>
              <a:ea typeface="+mn-ea"/>
              <a:cs typeface="Calibri Light" panose="020F0302020204030204" pitchFamily="34" charset="0"/>
            </a:endParaRPr>
          </a:p>
          <a:p>
            <a:pPr marL="408600" lvl="1" indent="-228600">
              <a:lnSpc>
                <a:spcPct val="150000"/>
              </a:lnSpc>
              <a:buFont typeface="Wingdings" panose="05000000000000000000" pitchFamily="2" charset="2"/>
              <a:buChar char="§"/>
            </a:pPr>
            <a:r>
              <a:rPr lang="en-US"/>
              <a:t>Define stakeholder responsibilities.</a:t>
            </a:r>
          </a:p>
          <a:p>
            <a:pPr marL="408600" lvl="1" indent="-228600">
              <a:lnSpc>
                <a:spcPct val="150000"/>
              </a:lnSpc>
              <a:buFont typeface="Wingdings" panose="05000000000000000000" pitchFamily="2" charset="2"/>
              <a:buChar char="§"/>
            </a:pPr>
            <a:r>
              <a:rPr lang="en-US">
                <a:solidFill>
                  <a:srgbClr val="004750"/>
                </a:solidFill>
                <a:latin typeface="FlexoSoft" panose="02000000000000000000" pitchFamily="2" charset="0"/>
                <a:ea typeface="+mn-ea"/>
                <a:cs typeface="Calibri Light" panose="020F0302020204030204" pitchFamily="34" charset="0"/>
              </a:rPr>
              <a:t>Define project governance.</a:t>
            </a:r>
            <a:endParaRPr lang="en-US" sz="1200" b="1">
              <a:solidFill>
                <a:srgbClr val="004750"/>
              </a:solidFill>
              <a:latin typeface="FlexoSoft" panose="02000000000000000000" pitchFamily="2" charset="0"/>
              <a:ea typeface="+mn-ea"/>
              <a:cs typeface="Calibri Light" panose="020F0302020204030204" pitchFamily="34" charset="0"/>
            </a:endParaRPr>
          </a:p>
          <a:p>
            <a:pPr marL="228600" indent="-228600" rtl="0">
              <a:lnSpc>
                <a:spcPct val="150000"/>
              </a:lnSpc>
              <a:buFont typeface="+mj-lt"/>
              <a:buAutoNum type="arabicPeriod"/>
            </a:pPr>
            <a:r>
              <a:rPr lang="en-US" b="1"/>
              <a:t>Define project name.</a:t>
            </a:r>
            <a:endParaRPr lang="en-US" sz="1200" b="1">
              <a:solidFill>
                <a:srgbClr val="004750"/>
              </a:solidFill>
              <a:latin typeface="FlexoSoft" panose="02000000000000000000" pitchFamily="2" charset="0"/>
              <a:ea typeface="+mn-ea"/>
              <a:cs typeface="Calibri Light" panose="020F0302020204030204" pitchFamily="34" charset="0"/>
            </a:endParaRPr>
          </a:p>
        </p:txBody>
      </p:sp>
      <p:sp>
        <p:nvSpPr>
          <p:cNvPr id="4" name="Inhaltsplatzhalter 2">
            <a:extLst>
              <a:ext uri="{FF2B5EF4-FFF2-40B4-BE49-F238E27FC236}">
                <a16:creationId xmlns:a16="http://schemas.microsoft.com/office/drawing/2014/main" id="{715F7621-7F2C-4E80-AE35-45AB9E46CFD6}"/>
              </a:ext>
            </a:extLst>
          </p:cNvPr>
          <p:cNvSpPr txBox="1">
            <a:spLocks/>
          </p:cNvSpPr>
          <p:nvPr/>
        </p:nvSpPr>
        <p:spPr>
          <a:xfrm>
            <a:off x="836641" y="3051882"/>
            <a:ext cx="1865919" cy="381174"/>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a:lstStyle>
          <a:p>
            <a:pPr defTabSz="914400">
              <a:lnSpc>
                <a:spcPct val="90000"/>
              </a:lnSpc>
              <a:spcBef>
                <a:spcPct val="0"/>
              </a:spcBef>
            </a:pPr>
            <a:r>
              <a:rPr lang="en-US" sz="2800" b="1">
                <a:ea typeface="Typold Book" panose="020B0004030204060B03" pitchFamily="34" charset="0"/>
                <a:cs typeface="Arial" panose="020B0604020202020204" pitchFamily="34" charset="0"/>
              </a:rPr>
              <a:t>Next steps</a:t>
            </a:r>
          </a:p>
        </p:txBody>
      </p:sp>
      <p:cxnSp>
        <p:nvCxnSpPr>
          <p:cNvPr id="5" name="Gerader Verbinder 4">
            <a:extLst>
              <a:ext uri="{FF2B5EF4-FFF2-40B4-BE49-F238E27FC236}">
                <a16:creationId xmlns:a16="http://schemas.microsoft.com/office/drawing/2014/main" id="{A917E9BA-10B2-4874-9986-4DED666A4BB1}"/>
              </a:ext>
            </a:extLst>
          </p:cNvPr>
          <p:cNvCxnSpPr>
            <a:cxnSpLocks/>
          </p:cNvCxnSpPr>
          <p:nvPr/>
        </p:nvCxnSpPr>
        <p:spPr>
          <a:xfrm>
            <a:off x="4109722" y="2627194"/>
            <a:ext cx="0" cy="1230550"/>
          </a:xfrm>
          <a:prstGeom prst="line">
            <a:avLst/>
          </a:prstGeom>
          <a:ln w="28575" cap="rnd">
            <a:solidFill>
              <a:srgbClr val="14AFE4"/>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008417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ppt/theme/themeOverride2.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ppt/theme/themeOverride3.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24C5545BBAEFE4C85E64A56D9CC513C" ma:contentTypeVersion="0" ma:contentTypeDescription="Create a new document." ma:contentTypeScope="" ma:versionID="c6697763d9815dbb3b446f5c492ce322">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28B3AEC-1B9B-4DB5-801E-C1A65C3DCD7E}">
  <ds:schemaRefs>
    <ds:schemaRef ds:uri="http://www.w3.org/XML/1998/namespace"/>
    <ds:schemaRef ds:uri="http://schemas.microsoft.com/office/2006/documentManagement/types"/>
    <ds:schemaRef ds:uri="97396690-0b91-46d2-ad5a-06f45914e19c"/>
    <ds:schemaRef ds:uri="http://purl.org/dc/elements/1.1/"/>
    <ds:schemaRef ds:uri="http://schemas.microsoft.com/office/infopath/2007/PartnerControls"/>
    <ds:schemaRef ds:uri="http://purl.org/dc/dcmitype/"/>
    <ds:schemaRef ds:uri="http://schemas.microsoft.com/office/2006/metadata/properties"/>
    <ds:schemaRef ds:uri="http://schemas.openxmlformats.org/package/2006/metadata/core-properties"/>
    <ds:schemaRef ds:uri="6126070c-0864-4b03-b2dc-aab5d8c39348"/>
    <ds:schemaRef ds:uri="http://purl.org/dc/terms/"/>
  </ds:schemaRefs>
</ds:datastoreItem>
</file>

<file path=customXml/itemProps2.xml><?xml version="1.0" encoding="utf-8"?>
<ds:datastoreItem xmlns:ds="http://schemas.openxmlformats.org/officeDocument/2006/customXml" ds:itemID="{3F09FA64-CACF-4066-9081-E7E6F4611EB3}"/>
</file>

<file path=customXml/itemProps3.xml><?xml version="1.0" encoding="utf-8"?>
<ds:datastoreItem xmlns:ds="http://schemas.openxmlformats.org/officeDocument/2006/customXml" ds:itemID="{8CBEDB7D-B7A7-43D6-93BF-49B559E2E9B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795</Words>
  <Application>Microsoft Office PowerPoint</Application>
  <PresentationFormat>Benutzerdefiniert</PresentationFormat>
  <Paragraphs>119</Paragraphs>
  <Slides>6</Slides>
  <Notes>1</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6</vt:i4>
      </vt:variant>
    </vt:vector>
  </HeadingPairs>
  <TitlesOfParts>
    <vt:vector size="15" baseType="lpstr">
      <vt:lpstr>Arial</vt:lpstr>
      <vt:lpstr>Calibri</vt:lpstr>
      <vt:lpstr>FlexoSoft</vt:lpstr>
      <vt:lpstr>FlexoSoft Medium</vt:lpstr>
      <vt:lpstr>Symbol</vt:lpstr>
      <vt:lpstr>Wingdings</vt:lpstr>
      <vt:lpstr>Wingdings 2</vt:lpstr>
      <vt:lpstr>Detecon_Master</vt:lpstr>
      <vt:lpstr>think-cell Folie</vt:lpstr>
      <vt:lpstr>PowerPoint-Präsentation</vt:lpstr>
      <vt:lpstr>A global partnership could address much of the challenges in scaling API services across heterogenous operator architectures.</vt:lpstr>
      <vt:lpstr>APIs grouped by services and bundled up into “Service APIs” reduce the complexity of accessing capabilities for developers and enterprises.</vt:lpstr>
      <vt:lpstr>DT has evaluated three options to start the alliance.</vt:lpstr>
      <vt:lpstr>A hybrid approach (GSMA + CNCF) might be a reasonable solution.</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isliuk, Adrian (ext)</cp:lastModifiedBy>
  <cp:revision>1</cp:revision>
  <cp:lastPrinted>2016-06-09T08:54:05Z</cp:lastPrinted>
  <dcterms:created xsi:type="dcterms:W3CDTF">2021-01-08T13:06:59Z</dcterms:created>
  <dcterms:modified xsi:type="dcterms:W3CDTF">2021-06-21T15:43: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ContentTypeId">
    <vt:lpwstr>0x010100E24C5545BBAEFE4C85E64A56D9CC513C</vt:lpwstr>
  </property>
  <property fmtid="{D5CDD505-2E9C-101B-9397-08002B2CF9AE}" pid="5" name="_dlc_DocIdItemGuid">
    <vt:lpwstr>58fe302c-7cce-45b2-bf48-5d508fa50c0d</vt:lpwstr>
  </property>
</Properties>
</file>